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00.xml" ContentType="application/vnd.ms-office.chartcolorstyle+xml"/>
  <Override PartName="/ppt/charts/colors1001.xml" ContentType="application/vnd.ms-office.chartcolorstyle+xml"/>
  <Override PartName="/ppt/charts/colors1002.xml" ContentType="application/vnd.ms-office.chartcolorstyle+xml"/>
  <Override PartName="/ppt/charts/colors1003.xml" ContentType="application/vnd.ms-office.chartcolorstyle+xml"/>
  <Override PartName="/ppt/charts/colors1004.xml" ContentType="application/vnd.ms-office.chartcolorstyle+xml"/>
  <Override PartName="/ppt/charts/colors1005.xml" ContentType="application/vnd.ms-office.chartcolorstyle+xml"/>
  <Override PartName="/ppt/charts/colors1006.xml" ContentType="application/vnd.ms-office.chartcolorstyle+xml"/>
  <Override PartName="/ppt/charts/colors1007.xml" ContentType="application/vnd.ms-office.chartcolorstyle+xml"/>
  <Override PartName="/ppt/charts/colors1008.xml" ContentType="application/vnd.ms-office.chartcolorstyle+xml"/>
  <Override PartName="/ppt/charts/colors1009.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17.xml" ContentType="application/vnd.ms-office.chartcolorstyle+xml"/>
  <Override PartName="/ppt/charts/colors818.xml" ContentType="application/vnd.ms-office.chartcolorstyle+xml"/>
  <Override PartName="/ppt/charts/colors819.xml" ContentType="application/vnd.ms-office.chartcolorstyle+xml"/>
  <Override PartName="/ppt/charts/colors82.xml" ContentType="application/vnd.ms-office.chartcolorstyle+xml"/>
  <Override PartName="/ppt/charts/colors820.xml" ContentType="application/vnd.ms-office.chartcolorstyle+xml"/>
  <Override PartName="/ppt/charts/colors821.xml" ContentType="application/vnd.ms-office.chartcolorstyle+xml"/>
  <Override PartName="/ppt/charts/colors822.xml" ContentType="application/vnd.ms-office.chartcolorstyle+xml"/>
  <Override PartName="/ppt/charts/colors823.xml" ContentType="application/vnd.ms-office.chartcolorstyle+xml"/>
  <Override PartName="/ppt/charts/colors824.xml" ContentType="application/vnd.ms-office.chartcolorstyle+xml"/>
  <Override PartName="/ppt/charts/colors825.xml" ContentType="application/vnd.ms-office.chartcolorstyle+xml"/>
  <Override PartName="/ppt/charts/colors826.xml" ContentType="application/vnd.ms-office.chartcolorstyle+xml"/>
  <Override PartName="/ppt/charts/colors827.xml" ContentType="application/vnd.ms-office.chartcolorstyle+xml"/>
  <Override PartName="/ppt/charts/colors828.xml" ContentType="application/vnd.ms-office.chartcolorstyle+xml"/>
  <Override PartName="/ppt/charts/colors829.xml" ContentType="application/vnd.ms-office.chartcolorstyle+xml"/>
  <Override PartName="/ppt/charts/colors83.xml" ContentType="application/vnd.ms-office.chartcolorstyle+xml"/>
  <Override PartName="/ppt/charts/colors830.xml" ContentType="application/vnd.ms-office.chartcolorstyle+xml"/>
  <Override PartName="/ppt/charts/colors831.xml" ContentType="application/vnd.ms-office.chartcolorstyle+xml"/>
  <Override PartName="/ppt/charts/colors832.xml" ContentType="application/vnd.ms-office.chartcolorstyle+xml"/>
  <Override PartName="/ppt/charts/colors833.xml" ContentType="application/vnd.ms-office.chartcolorstyle+xml"/>
  <Override PartName="/ppt/charts/colors834.xml" ContentType="application/vnd.ms-office.chartcolorstyle+xml"/>
  <Override PartName="/ppt/charts/colors835.xml" ContentType="application/vnd.ms-office.chartcolorstyle+xml"/>
  <Override PartName="/ppt/charts/colors836.xml" ContentType="application/vnd.ms-office.chartcolorstyle+xml"/>
  <Override PartName="/ppt/charts/colors837.xml" ContentType="application/vnd.ms-office.chartcolorstyle+xml"/>
  <Override PartName="/ppt/charts/colors838.xml" ContentType="application/vnd.ms-office.chartcolorstyle+xml"/>
  <Override PartName="/ppt/charts/colors839.xml" ContentType="application/vnd.ms-office.chartcolorstyle+xml"/>
  <Override PartName="/ppt/charts/colors84.xml" ContentType="application/vnd.ms-office.chartcolorstyle+xml"/>
  <Override PartName="/ppt/charts/colors840.xml" ContentType="application/vnd.ms-office.chartcolorstyle+xml"/>
  <Override PartName="/ppt/charts/colors841.xml" ContentType="application/vnd.ms-office.chartcolorstyle+xml"/>
  <Override PartName="/ppt/charts/colors842.xml" ContentType="application/vnd.ms-office.chartcolorstyle+xml"/>
  <Override PartName="/ppt/charts/colors843.xml" ContentType="application/vnd.ms-office.chartcolorstyle+xml"/>
  <Override PartName="/ppt/charts/colors844.xml" ContentType="application/vnd.ms-office.chartcolorstyle+xml"/>
  <Override PartName="/ppt/charts/colors845.xml" ContentType="application/vnd.ms-office.chartcolorstyle+xml"/>
  <Override PartName="/ppt/charts/colors846.xml" ContentType="application/vnd.ms-office.chartcolorstyle+xml"/>
  <Override PartName="/ppt/charts/colors847.xml" ContentType="application/vnd.ms-office.chartcolorstyle+xml"/>
  <Override PartName="/ppt/charts/colors848.xml" ContentType="application/vnd.ms-office.chartcolorstyle+xml"/>
  <Override PartName="/ppt/charts/colors849.xml" ContentType="application/vnd.ms-office.chartcolorstyle+xml"/>
  <Override PartName="/ppt/charts/colors85.xml" ContentType="application/vnd.ms-office.chartcolorstyle+xml"/>
  <Override PartName="/ppt/charts/colors850.xml" ContentType="application/vnd.ms-office.chartcolorstyle+xml"/>
  <Override PartName="/ppt/charts/colors851.xml" ContentType="application/vnd.ms-office.chartcolorstyle+xml"/>
  <Override PartName="/ppt/charts/colors852.xml" ContentType="application/vnd.ms-office.chartcolorstyle+xml"/>
  <Override PartName="/ppt/charts/colors853.xml" ContentType="application/vnd.ms-office.chartcolorstyle+xml"/>
  <Override PartName="/ppt/charts/colors854.xml" ContentType="application/vnd.ms-office.chartcolorstyle+xml"/>
  <Override PartName="/ppt/charts/colors855.xml" ContentType="application/vnd.ms-office.chartcolorstyle+xml"/>
  <Override PartName="/ppt/charts/colors856.xml" ContentType="application/vnd.ms-office.chartcolorstyle+xml"/>
  <Override PartName="/ppt/charts/colors857.xml" ContentType="application/vnd.ms-office.chartcolorstyle+xml"/>
  <Override PartName="/ppt/charts/colors858.xml" ContentType="application/vnd.ms-office.chartcolorstyle+xml"/>
  <Override PartName="/ppt/charts/colors859.xml" ContentType="application/vnd.ms-office.chartcolorstyle+xml"/>
  <Override PartName="/ppt/charts/colors86.xml" ContentType="application/vnd.ms-office.chartcolorstyle+xml"/>
  <Override PartName="/ppt/charts/colors860.xml" ContentType="application/vnd.ms-office.chartcolorstyle+xml"/>
  <Override PartName="/ppt/charts/colors861.xml" ContentType="application/vnd.ms-office.chartcolorstyle+xml"/>
  <Override PartName="/ppt/charts/colors862.xml" ContentType="application/vnd.ms-office.chartcolorstyle+xml"/>
  <Override PartName="/ppt/charts/colors863.xml" ContentType="application/vnd.ms-office.chartcolorstyle+xml"/>
  <Override PartName="/ppt/charts/colors864.xml" ContentType="application/vnd.ms-office.chartcolorstyle+xml"/>
  <Override PartName="/ppt/charts/colors865.xml" ContentType="application/vnd.ms-office.chartcolorstyle+xml"/>
  <Override PartName="/ppt/charts/colors866.xml" ContentType="application/vnd.ms-office.chartcolorstyle+xml"/>
  <Override PartName="/ppt/charts/colors867.xml" ContentType="application/vnd.ms-office.chartcolorstyle+xml"/>
  <Override PartName="/ppt/charts/colors868.xml" ContentType="application/vnd.ms-office.chartcolorstyle+xml"/>
  <Override PartName="/ppt/charts/colors869.xml" ContentType="application/vnd.ms-office.chartcolorstyle+xml"/>
  <Override PartName="/ppt/charts/colors87.xml" ContentType="application/vnd.ms-office.chartcolorstyle+xml"/>
  <Override PartName="/ppt/charts/colors870.xml" ContentType="application/vnd.ms-office.chartcolorstyle+xml"/>
  <Override PartName="/ppt/charts/colors871.xml" ContentType="application/vnd.ms-office.chartcolorstyle+xml"/>
  <Override PartName="/ppt/charts/colors872.xml" ContentType="application/vnd.ms-office.chartcolorstyle+xml"/>
  <Override PartName="/ppt/charts/colors873.xml" ContentType="application/vnd.ms-office.chartcolorstyle+xml"/>
  <Override PartName="/ppt/charts/colors874.xml" ContentType="application/vnd.ms-office.chartcolorstyle+xml"/>
  <Override PartName="/ppt/charts/colors875.xml" ContentType="application/vnd.ms-office.chartcolorstyle+xml"/>
  <Override PartName="/ppt/charts/colors876.xml" ContentType="application/vnd.ms-office.chartcolorstyle+xml"/>
  <Override PartName="/ppt/charts/colors877.xml" ContentType="application/vnd.ms-office.chartcolorstyle+xml"/>
  <Override PartName="/ppt/charts/colors878.xml" ContentType="application/vnd.ms-office.chartcolorstyle+xml"/>
  <Override PartName="/ppt/charts/colors879.xml" ContentType="application/vnd.ms-office.chartcolorstyle+xml"/>
  <Override PartName="/ppt/charts/colors88.xml" ContentType="application/vnd.ms-office.chartcolorstyle+xml"/>
  <Override PartName="/ppt/charts/colors880.xml" ContentType="application/vnd.ms-office.chartcolorstyle+xml"/>
  <Override PartName="/ppt/charts/colors881.xml" ContentType="application/vnd.ms-office.chartcolorstyle+xml"/>
  <Override PartName="/ppt/charts/colors882.xml" ContentType="application/vnd.ms-office.chartcolorstyle+xml"/>
  <Override PartName="/ppt/charts/colors883.xml" ContentType="application/vnd.ms-office.chartcolorstyle+xml"/>
  <Override PartName="/ppt/charts/colors884.xml" ContentType="application/vnd.ms-office.chartcolorstyle+xml"/>
  <Override PartName="/ppt/charts/colors885.xml" ContentType="application/vnd.ms-office.chartcolorstyle+xml"/>
  <Override PartName="/ppt/charts/colors886.xml" ContentType="application/vnd.ms-office.chartcolorstyle+xml"/>
  <Override PartName="/ppt/charts/colors887.xml" ContentType="application/vnd.ms-office.chartcolorstyle+xml"/>
  <Override PartName="/ppt/charts/colors888.xml" ContentType="application/vnd.ms-office.chartcolorstyle+xml"/>
  <Override PartName="/ppt/charts/colors889.xml" ContentType="application/vnd.ms-office.chartcolorstyle+xml"/>
  <Override PartName="/ppt/charts/colors89.xml" ContentType="application/vnd.ms-office.chartcolorstyle+xml"/>
  <Override PartName="/ppt/charts/colors890.xml" ContentType="application/vnd.ms-office.chartcolorstyle+xml"/>
  <Override PartName="/ppt/charts/colors891.xml" ContentType="application/vnd.ms-office.chartcolorstyle+xml"/>
  <Override PartName="/ppt/charts/colors892.xml" ContentType="application/vnd.ms-office.chartcolorstyle+xml"/>
  <Override PartName="/ppt/charts/colors893.xml" ContentType="application/vnd.ms-office.chartcolorstyle+xml"/>
  <Override PartName="/ppt/charts/colors894.xml" ContentType="application/vnd.ms-office.chartcolorstyle+xml"/>
  <Override PartName="/ppt/charts/colors895.xml" ContentType="application/vnd.ms-office.chartcolorstyle+xml"/>
  <Override PartName="/ppt/charts/colors896.xml" ContentType="application/vnd.ms-office.chartcolorstyle+xml"/>
  <Override PartName="/ppt/charts/colors897.xml" ContentType="application/vnd.ms-office.chartcolorstyle+xml"/>
  <Override PartName="/ppt/charts/colors898.xml" ContentType="application/vnd.ms-office.chartcolorstyle+xml"/>
  <Override PartName="/ppt/charts/colors899.xml" ContentType="application/vnd.ms-office.chartcolorstyle+xml"/>
  <Override PartName="/ppt/charts/colors9.xml" ContentType="application/vnd.ms-office.chartcolorstyle+xml"/>
  <Override PartName="/ppt/charts/colors90.xml" ContentType="application/vnd.ms-office.chartcolorstyle+xml"/>
  <Override PartName="/ppt/charts/colors900.xml" ContentType="application/vnd.ms-office.chartcolorstyle+xml"/>
  <Override PartName="/ppt/charts/colors901.xml" ContentType="application/vnd.ms-office.chartcolorstyle+xml"/>
  <Override PartName="/ppt/charts/colors902.xml" ContentType="application/vnd.ms-office.chartcolorstyle+xml"/>
  <Override PartName="/ppt/charts/colors903.xml" ContentType="application/vnd.ms-office.chartcolorstyle+xml"/>
  <Override PartName="/ppt/charts/colors904.xml" ContentType="application/vnd.ms-office.chartcolorstyle+xml"/>
  <Override PartName="/ppt/charts/colors905.xml" ContentType="application/vnd.ms-office.chartcolorstyle+xml"/>
  <Override PartName="/ppt/charts/colors906.xml" ContentType="application/vnd.ms-office.chartcolorstyle+xml"/>
  <Override PartName="/ppt/charts/colors907.xml" ContentType="application/vnd.ms-office.chartcolorstyle+xml"/>
  <Override PartName="/ppt/charts/colors908.xml" ContentType="application/vnd.ms-office.chartcolorstyle+xml"/>
  <Override PartName="/ppt/charts/colors909.xml" ContentType="application/vnd.ms-office.chartcolorstyle+xml"/>
  <Override PartName="/ppt/charts/colors91.xml" ContentType="application/vnd.ms-office.chartcolorstyle+xml"/>
  <Override PartName="/ppt/charts/colors910.xml" ContentType="application/vnd.ms-office.chartcolorstyle+xml"/>
  <Override PartName="/ppt/charts/colors911.xml" ContentType="application/vnd.ms-office.chartcolorstyle+xml"/>
  <Override PartName="/ppt/charts/colors912.xml" ContentType="application/vnd.ms-office.chartcolorstyle+xml"/>
  <Override PartName="/ppt/charts/colors913.xml" ContentType="application/vnd.ms-office.chartcolorstyle+xml"/>
  <Override PartName="/ppt/charts/colors914.xml" ContentType="application/vnd.ms-office.chartcolorstyle+xml"/>
  <Override PartName="/ppt/charts/colors915.xml" ContentType="application/vnd.ms-office.chartcolorstyle+xml"/>
  <Override PartName="/ppt/charts/colors916.xml" ContentType="application/vnd.ms-office.chartcolorstyle+xml"/>
  <Override PartName="/ppt/charts/colors917.xml" ContentType="application/vnd.ms-office.chartcolorstyle+xml"/>
  <Override PartName="/ppt/charts/colors918.xml" ContentType="application/vnd.ms-office.chartcolorstyle+xml"/>
  <Override PartName="/ppt/charts/colors919.xml" ContentType="application/vnd.ms-office.chartcolorstyle+xml"/>
  <Override PartName="/ppt/charts/colors92.xml" ContentType="application/vnd.ms-office.chartcolorstyle+xml"/>
  <Override PartName="/ppt/charts/colors920.xml" ContentType="application/vnd.ms-office.chartcolorstyle+xml"/>
  <Override PartName="/ppt/charts/colors921.xml" ContentType="application/vnd.ms-office.chartcolorstyle+xml"/>
  <Override PartName="/ppt/charts/colors922.xml" ContentType="application/vnd.ms-office.chartcolorstyle+xml"/>
  <Override PartName="/ppt/charts/colors923.xml" ContentType="application/vnd.ms-office.chartcolorstyle+xml"/>
  <Override PartName="/ppt/charts/colors924.xml" ContentType="application/vnd.ms-office.chartcolorstyle+xml"/>
  <Override PartName="/ppt/charts/colors925.xml" ContentType="application/vnd.ms-office.chartcolorstyle+xml"/>
  <Override PartName="/ppt/charts/colors926.xml" ContentType="application/vnd.ms-office.chartcolorstyle+xml"/>
  <Override PartName="/ppt/charts/colors927.xml" ContentType="application/vnd.ms-office.chartcolorstyle+xml"/>
  <Override PartName="/ppt/charts/colors928.xml" ContentType="application/vnd.ms-office.chartcolorstyle+xml"/>
  <Override PartName="/ppt/charts/colors929.xml" ContentType="application/vnd.ms-office.chartcolorstyle+xml"/>
  <Override PartName="/ppt/charts/colors93.xml" ContentType="application/vnd.ms-office.chartcolorstyle+xml"/>
  <Override PartName="/ppt/charts/colors930.xml" ContentType="application/vnd.ms-office.chartcolorstyle+xml"/>
  <Override PartName="/ppt/charts/colors931.xml" ContentType="application/vnd.ms-office.chartcolorstyle+xml"/>
  <Override PartName="/ppt/charts/colors932.xml" ContentType="application/vnd.ms-office.chartcolorstyle+xml"/>
  <Override PartName="/ppt/charts/colors933.xml" ContentType="application/vnd.ms-office.chartcolorstyle+xml"/>
  <Override PartName="/ppt/charts/colors934.xml" ContentType="application/vnd.ms-office.chartcolorstyle+xml"/>
  <Override PartName="/ppt/charts/colors935.xml" ContentType="application/vnd.ms-office.chartcolorstyle+xml"/>
  <Override PartName="/ppt/charts/colors936.xml" ContentType="application/vnd.ms-office.chartcolorstyle+xml"/>
  <Override PartName="/ppt/charts/colors937.xml" ContentType="application/vnd.ms-office.chartcolorstyle+xml"/>
  <Override PartName="/ppt/charts/colors938.xml" ContentType="application/vnd.ms-office.chartcolorstyle+xml"/>
  <Override PartName="/ppt/charts/colors939.xml" ContentType="application/vnd.ms-office.chartcolorstyle+xml"/>
  <Override PartName="/ppt/charts/colors94.xml" ContentType="application/vnd.ms-office.chartcolorstyle+xml"/>
  <Override PartName="/ppt/charts/colors940.xml" ContentType="application/vnd.ms-office.chartcolorstyle+xml"/>
  <Override PartName="/ppt/charts/colors941.xml" ContentType="application/vnd.ms-office.chartcolorstyle+xml"/>
  <Override PartName="/ppt/charts/colors942.xml" ContentType="application/vnd.ms-office.chartcolorstyle+xml"/>
  <Override PartName="/ppt/charts/colors943.xml" ContentType="application/vnd.ms-office.chartcolorstyle+xml"/>
  <Override PartName="/ppt/charts/colors944.xml" ContentType="application/vnd.ms-office.chartcolorstyle+xml"/>
  <Override PartName="/ppt/charts/colors945.xml" ContentType="application/vnd.ms-office.chartcolorstyle+xml"/>
  <Override PartName="/ppt/charts/colors946.xml" ContentType="application/vnd.ms-office.chartcolorstyle+xml"/>
  <Override PartName="/ppt/charts/colors947.xml" ContentType="application/vnd.ms-office.chartcolorstyle+xml"/>
  <Override PartName="/ppt/charts/colors948.xml" ContentType="application/vnd.ms-office.chartcolorstyle+xml"/>
  <Override PartName="/ppt/charts/colors949.xml" ContentType="application/vnd.ms-office.chartcolorstyle+xml"/>
  <Override PartName="/ppt/charts/colors95.xml" ContentType="application/vnd.ms-office.chartcolorstyle+xml"/>
  <Override PartName="/ppt/charts/colors950.xml" ContentType="application/vnd.ms-office.chartcolorstyle+xml"/>
  <Override PartName="/ppt/charts/colors951.xml" ContentType="application/vnd.ms-office.chartcolorstyle+xml"/>
  <Override PartName="/ppt/charts/colors952.xml" ContentType="application/vnd.ms-office.chartcolorstyle+xml"/>
  <Override PartName="/ppt/charts/colors953.xml" ContentType="application/vnd.ms-office.chartcolorstyle+xml"/>
  <Override PartName="/ppt/charts/colors954.xml" ContentType="application/vnd.ms-office.chartcolorstyle+xml"/>
  <Override PartName="/ppt/charts/colors955.xml" ContentType="application/vnd.ms-office.chartcolorstyle+xml"/>
  <Override PartName="/ppt/charts/colors956.xml" ContentType="application/vnd.ms-office.chartcolorstyle+xml"/>
  <Override PartName="/ppt/charts/colors957.xml" ContentType="application/vnd.ms-office.chartcolorstyle+xml"/>
  <Override PartName="/ppt/charts/colors958.xml" ContentType="application/vnd.ms-office.chartcolorstyle+xml"/>
  <Override PartName="/ppt/charts/colors959.xml" ContentType="application/vnd.ms-office.chartcolorstyle+xml"/>
  <Override PartName="/ppt/charts/colors96.xml" ContentType="application/vnd.ms-office.chartcolorstyle+xml"/>
  <Override PartName="/ppt/charts/colors960.xml" ContentType="application/vnd.ms-office.chartcolorstyle+xml"/>
  <Override PartName="/ppt/charts/colors961.xml" ContentType="application/vnd.ms-office.chartcolorstyle+xml"/>
  <Override PartName="/ppt/charts/colors962.xml" ContentType="application/vnd.ms-office.chartcolorstyle+xml"/>
  <Override PartName="/ppt/charts/colors963.xml" ContentType="application/vnd.ms-office.chartcolorstyle+xml"/>
  <Override PartName="/ppt/charts/colors964.xml" ContentType="application/vnd.ms-office.chartcolorstyle+xml"/>
  <Override PartName="/ppt/charts/colors965.xml" ContentType="application/vnd.ms-office.chartcolorstyle+xml"/>
  <Override PartName="/ppt/charts/colors966.xml" ContentType="application/vnd.ms-office.chartcolorstyle+xml"/>
  <Override PartName="/ppt/charts/colors967.xml" ContentType="application/vnd.ms-office.chartcolorstyle+xml"/>
  <Override PartName="/ppt/charts/colors968.xml" ContentType="application/vnd.ms-office.chartcolorstyle+xml"/>
  <Override PartName="/ppt/charts/colors969.xml" ContentType="application/vnd.ms-office.chartcolorstyle+xml"/>
  <Override PartName="/ppt/charts/colors97.xml" ContentType="application/vnd.ms-office.chartcolorstyle+xml"/>
  <Override PartName="/ppt/charts/colors970.xml" ContentType="application/vnd.ms-office.chartcolorstyle+xml"/>
  <Override PartName="/ppt/charts/colors971.xml" ContentType="application/vnd.ms-office.chartcolorstyle+xml"/>
  <Override PartName="/ppt/charts/colors972.xml" ContentType="application/vnd.ms-office.chartcolorstyle+xml"/>
  <Override PartName="/ppt/charts/colors973.xml" ContentType="application/vnd.ms-office.chartcolorstyle+xml"/>
  <Override PartName="/ppt/charts/colors974.xml" ContentType="application/vnd.ms-office.chartcolorstyle+xml"/>
  <Override PartName="/ppt/charts/colors975.xml" ContentType="application/vnd.ms-office.chartcolorstyle+xml"/>
  <Override PartName="/ppt/charts/colors976.xml" ContentType="application/vnd.ms-office.chartcolorstyle+xml"/>
  <Override PartName="/ppt/charts/colors977.xml" ContentType="application/vnd.ms-office.chartcolorstyle+xml"/>
  <Override PartName="/ppt/charts/colors978.xml" ContentType="application/vnd.ms-office.chartcolorstyle+xml"/>
  <Override PartName="/ppt/charts/colors979.xml" ContentType="application/vnd.ms-office.chartcolorstyle+xml"/>
  <Override PartName="/ppt/charts/colors98.xml" ContentType="application/vnd.ms-office.chartcolorstyle+xml"/>
  <Override PartName="/ppt/charts/colors980.xml" ContentType="application/vnd.ms-office.chartcolorstyle+xml"/>
  <Override PartName="/ppt/charts/colors981.xml" ContentType="application/vnd.ms-office.chartcolorstyle+xml"/>
  <Override PartName="/ppt/charts/colors982.xml" ContentType="application/vnd.ms-office.chartcolorstyle+xml"/>
  <Override PartName="/ppt/charts/colors983.xml" ContentType="application/vnd.ms-office.chartcolorstyle+xml"/>
  <Override PartName="/ppt/charts/colors984.xml" ContentType="application/vnd.ms-office.chartcolorstyle+xml"/>
  <Override PartName="/ppt/charts/colors985.xml" ContentType="application/vnd.ms-office.chartcolorstyle+xml"/>
  <Override PartName="/ppt/charts/colors986.xml" ContentType="application/vnd.ms-office.chartcolorstyle+xml"/>
  <Override PartName="/ppt/charts/colors987.xml" ContentType="application/vnd.ms-office.chartcolorstyle+xml"/>
  <Override PartName="/ppt/charts/colors988.xml" ContentType="application/vnd.ms-office.chartcolorstyle+xml"/>
  <Override PartName="/ppt/charts/colors989.xml" ContentType="application/vnd.ms-office.chartcolorstyle+xml"/>
  <Override PartName="/ppt/charts/colors99.xml" ContentType="application/vnd.ms-office.chartcolorstyle+xml"/>
  <Override PartName="/ppt/charts/colors990.xml" ContentType="application/vnd.ms-office.chartcolorstyle+xml"/>
  <Override PartName="/ppt/charts/colors991.xml" ContentType="application/vnd.ms-office.chartcolorstyle+xml"/>
  <Override PartName="/ppt/charts/colors992.xml" ContentType="application/vnd.ms-office.chartcolorstyle+xml"/>
  <Override PartName="/ppt/charts/colors993.xml" ContentType="application/vnd.ms-office.chartcolorstyle+xml"/>
  <Override PartName="/ppt/charts/colors994.xml" ContentType="application/vnd.ms-office.chartcolorstyle+xml"/>
  <Override PartName="/ppt/charts/colors995.xml" ContentType="application/vnd.ms-office.chartcolorstyle+xml"/>
  <Override PartName="/ppt/charts/colors996.xml" ContentType="application/vnd.ms-office.chartcolorstyle+xml"/>
  <Override PartName="/ppt/charts/colors997.xml" ContentType="application/vnd.ms-office.chartcolorstyle+xml"/>
  <Override PartName="/ppt/charts/colors998.xml" ContentType="application/vnd.ms-office.chartcolorstyle+xml"/>
  <Override PartName="/ppt/charts/colors9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00.xml" ContentType="application/vnd.ms-office.chartstyle+xml"/>
  <Override PartName="/ppt/charts/style1001.xml" ContentType="application/vnd.ms-office.chartstyle+xml"/>
  <Override PartName="/ppt/charts/style1002.xml" ContentType="application/vnd.ms-office.chartstyle+xml"/>
  <Override PartName="/ppt/charts/style1003.xml" ContentType="application/vnd.ms-office.chartstyle+xml"/>
  <Override PartName="/ppt/charts/style1004.xml" ContentType="application/vnd.ms-office.chartstyle+xml"/>
  <Override PartName="/ppt/charts/style1005.xml" ContentType="application/vnd.ms-office.chartstyle+xml"/>
  <Override PartName="/ppt/charts/style1006.xml" ContentType="application/vnd.ms-office.chartstyle+xml"/>
  <Override PartName="/ppt/charts/style1007.xml" ContentType="application/vnd.ms-office.chartstyle+xml"/>
  <Override PartName="/ppt/charts/style1008.xml" ContentType="application/vnd.ms-office.chartstyle+xml"/>
  <Override PartName="/ppt/charts/style1009.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17.xml" ContentType="application/vnd.ms-office.chartstyle+xml"/>
  <Override PartName="/ppt/charts/style818.xml" ContentType="application/vnd.ms-office.chartstyle+xml"/>
  <Override PartName="/ppt/charts/style819.xml" ContentType="application/vnd.ms-office.chartstyle+xml"/>
  <Override PartName="/ppt/charts/style82.xml" ContentType="application/vnd.ms-office.chartstyle+xml"/>
  <Override PartName="/ppt/charts/style820.xml" ContentType="application/vnd.ms-office.chartstyle+xml"/>
  <Override PartName="/ppt/charts/style821.xml" ContentType="application/vnd.ms-office.chartstyle+xml"/>
  <Override PartName="/ppt/charts/style822.xml" ContentType="application/vnd.ms-office.chartstyle+xml"/>
  <Override PartName="/ppt/charts/style823.xml" ContentType="application/vnd.ms-office.chartstyle+xml"/>
  <Override PartName="/ppt/charts/style824.xml" ContentType="application/vnd.ms-office.chartstyle+xml"/>
  <Override PartName="/ppt/charts/style825.xml" ContentType="application/vnd.ms-office.chartstyle+xml"/>
  <Override PartName="/ppt/charts/style826.xml" ContentType="application/vnd.ms-office.chartstyle+xml"/>
  <Override PartName="/ppt/charts/style827.xml" ContentType="application/vnd.ms-office.chartstyle+xml"/>
  <Override PartName="/ppt/charts/style828.xml" ContentType="application/vnd.ms-office.chartstyle+xml"/>
  <Override PartName="/ppt/charts/style829.xml" ContentType="application/vnd.ms-office.chartstyle+xml"/>
  <Override PartName="/ppt/charts/style83.xml" ContentType="application/vnd.ms-office.chartstyle+xml"/>
  <Override PartName="/ppt/charts/style830.xml" ContentType="application/vnd.ms-office.chartstyle+xml"/>
  <Override PartName="/ppt/charts/style831.xml" ContentType="application/vnd.ms-office.chartstyle+xml"/>
  <Override PartName="/ppt/charts/style832.xml" ContentType="application/vnd.ms-office.chartstyle+xml"/>
  <Override PartName="/ppt/charts/style833.xml" ContentType="application/vnd.ms-office.chartstyle+xml"/>
  <Override PartName="/ppt/charts/style834.xml" ContentType="application/vnd.ms-office.chartstyle+xml"/>
  <Override PartName="/ppt/charts/style835.xml" ContentType="application/vnd.ms-office.chartstyle+xml"/>
  <Override PartName="/ppt/charts/style836.xml" ContentType="application/vnd.ms-office.chartstyle+xml"/>
  <Override PartName="/ppt/charts/style837.xml" ContentType="application/vnd.ms-office.chartstyle+xml"/>
  <Override PartName="/ppt/charts/style838.xml" ContentType="application/vnd.ms-office.chartstyle+xml"/>
  <Override PartName="/ppt/charts/style839.xml" ContentType="application/vnd.ms-office.chartstyle+xml"/>
  <Override PartName="/ppt/charts/style84.xml" ContentType="application/vnd.ms-office.chartstyle+xml"/>
  <Override PartName="/ppt/charts/style840.xml" ContentType="application/vnd.ms-office.chartstyle+xml"/>
  <Override PartName="/ppt/charts/style841.xml" ContentType="application/vnd.ms-office.chartstyle+xml"/>
  <Override PartName="/ppt/charts/style842.xml" ContentType="application/vnd.ms-office.chartstyle+xml"/>
  <Override PartName="/ppt/charts/style843.xml" ContentType="application/vnd.ms-office.chartstyle+xml"/>
  <Override PartName="/ppt/charts/style844.xml" ContentType="application/vnd.ms-office.chartstyle+xml"/>
  <Override PartName="/ppt/charts/style845.xml" ContentType="application/vnd.ms-office.chartstyle+xml"/>
  <Override PartName="/ppt/charts/style846.xml" ContentType="application/vnd.ms-office.chartstyle+xml"/>
  <Override PartName="/ppt/charts/style847.xml" ContentType="application/vnd.ms-office.chartstyle+xml"/>
  <Override PartName="/ppt/charts/style848.xml" ContentType="application/vnd.ms-office.chartstyle+xml"/>
  <Override PartName="/ppt/charts/style849.xml" ContentType="application/vnd.ms-office.chartstyle+xml"/>
  <Override PartName="/ppt/charts/style85.xml" ContentType="application/vnd.ms-office.chartstyle+xml"/>
  <Override PartName="/ppt/charts/style850.xml" ContentType="application/vnd.ms-office.chartstyle+xml"/>
  <Override PartName="/ppt/charts/style851.xml" ContentType="application/vnd.ms-office.chartstyle+xml"/>
  <Override PartName="/ppt/charts/style852.xml" ContentType="application/vnd.ms-office.chartstyle+xml"/>
  <Override PartName="/ppt/charts/style853.xml" ContentType="application/vnd.ms-office.chartstyle+xml"/>
  <Override PartName="/ppt/charts/style854.xml" ContentType="application/vnd.ms-office.chartstyle+xml"/>
  <Override PartName="/ppt/charts/style855.xml" ContentType="application/vnd.ms-office.chartstyle+xml"/>
  <Override PartName="/ppt/charts/style856.xml" ContentType="application/vnd.ms-office.chartstyle+xml"/>
  <Override PartName="/ppt/charts/style857.xml" ContentType="application/vnd.ms-office.chartstyle+xml"/>
  <Override PartName="/ppt/charts/style858.xml" ContentType="application/vnd.ms-office.chartstyle+xml"/>
  <Override PartName="/ppt/charts/style859.xml" ContentType="application/vnd.ms-office.chartstyle+xml"/>
  <Override PartName="/ppt/charts/style86.xml" ContentType="application/vnd.ms-office.chartstyle+xml"/>
  <Override PartName="/ppt/charts/style860.xml" ContentType="application/vnd.ms-office.chartstyle+xml"/>
  <Override PartName="/ppt/charts/style861.xml" ContentType="application/vnd.ms-office.chartstyle+xml"/>
  <Override PartName="/ppt/charts/style862.xml" ContentType="application/vnd.ms-office.chartstyle+xml"/>
  <Override PartName="/ppt/charts/style863.xml" ContentType="application/vnd.ms-office.chartstyle+xml"/>
  <Override PartName="/ppt/charts/style864.xml" ContentType="application/vnd.ms-office.chartstyle+xml"/>
  <Override PartName="/ppt/charts/style865.xml" ContentType="application/vnd.ms-office.chartstyle+xml"/>
  <Override PartName="/ppt/charts/style866.xml" ContentType="application/vnd.ms-office.chartstyle+xml"/>
  <Override PartName="/ppt/charts/style867.xml" ContentType="application/vnd.ms-office.chartstyle+xml"/>
  <Override PartName="/ppt/charts/style868.xml" ContentType="application/vnd.ms-office.chartstyle+xml"/>
  <Override PartName="/ppt/charts/style869.xml" ContentType="application/vnd.ms-office.chartstyle+xml"/>
  <Override PartName="/ppt/charts/style87.xml" ContentType="application/vnd.ms-office.chartstyle+xml"/>
  <Override PartName="/ppt/charts/style870.xml" ContentType="application/vnd.ms-office.chartstyle+xml"/>
  <Override PartName="/ppt/charts/style871.xml" ContentType="application/vnd.ms-office.chartstyle+xml"/>
  <Override PartName="/ppt/charts/style872.xml" ContentType="application/vnd.ms-office.chartstyle+xml"/>
  <Override PartName="/ppt/charts/style873.xml" ContentType="application/vnd.ms-office.chartstyle+xml"/>
  <Override PartName="/ppt/charts/style874.xml" ContentType="application/vnd.ms-office.chartstyle+xml"/>
  <Override PartName="/ppt/charts/style875.xml" ContentType="application/vnd.ms-office.chartstyle+xml"/>
  <Override PartName="/ppt/charts/style876.xml" ContentType="application/vnd.ms-office.chartstyle+xml"/>
  <Override PartName="/ppt/charts/style877.xml" ContentType="application/vnd.ms-office.chartstyle+xml"/>
  <Override PartName="/ppt/charts/style878.xml" ContentType="application/vnd.ms-office.chartstyle+xml"/>
  <Override PartName="/ppt/charts/style879.xml" ContentType="application/vnd.ms-office.chartstyle+xml"/>
  <Override PartName="/ppt/charts/style88.xml" ContentType="application/vnd.ms-office.chartstyle+xml"/>
  <Override PartName="/ppt/charts/style880.xml" ContentType="application/vnd.ms-office.chartstyle+xml"/>
  <Override PartName="/ppt/charts/style881.xml" ContentType="application/vnd.ms-office.chartstyle+xml"/>
  <Override PartName="/ppt/charts/style882.xml" ContentType="application/vnd.ms-office.chartstyle+xml"/>
  <Override PartName="/ppt/charts/style883.xml" ContentType="application/vnd.ms-office.chartstyle+xml"/>
  <Override PartName="/ppt/charts/style884.xml" ContentType="application/vnd.ms-office.chartstyle+xml"/>
  <Override PartName="/ppt/charts/style885.xml" ContentType="application/vnd.ms-office.chartstyle+xml"/>
  <Override PartName="/ppt/charts/style886.xml" ContentType="application/vnd.ms-office.chartstyle+xml"/>
  <Override PartName="/ppt/charts/style887.xml" ContentType="application/vnd.ms-office.chartstyle+xml"/>
  <Override PartName="/ppt/charts/style888.xml" ContentType="application/vnd.ms-office.chartstyle+xml"/>
  <Override PartName="/ppt/charts/style889.xml" ContentType="application/vnd.ms-office.chartstyle+xml"/>
  <Override PartName="/ppt/charts/style89.xml" ContentType="application/vnd.ms-office.chartstyle+xml"/>
  <Override PartName="/ppt/charts/style890.xml" ContentType="application/vnd.ms-office.chartstyle+xml"/>
  <Override PartName="/ppt/charts/style891.xml" ContentType="application/vnd.ms-office.chartstyle+xml"/>
  <Override PartName="/ppt/charts/style892.xml" ContentType="application/vnd.ms-office.chartstyle+xml"/>
  <Override PartName="/ppt/charts/style893.xml" ContentType="application/vnd.ms-office.chartstyle+xml"/>
  <Override PartName="/ppt/charts/style894.xml" ContentType="application/vnd.ms-office.chartstyle+xml"/>
  <Override PartName="/ppt/charts/style895.xml" ContentType="application/vnd.ms-office.chartstyle+xml"/>
  <Override PartName="/ppt/charts/style896.xml" ContentType="application/vnd.ms-office.chartstyle+xml"/>
  <Override PartName="/ppt/charts/style897.xml" ContentType="application/vnd.ms-office.chartstyle+xml"/>
  <Override PartName="/ppt/charts/style898.xml" ContentType="application/vnd.ms-office.chartstyle+xml"/>
  <Override PartName="/ppt/charts/style899.xml" ContentType="application/vnd.ms-office.chartstyle+xml"/>
  <Override PartName="/ppt/charts/style9.xml" ContentType="application/vnd.ms-office.chartstyle+xml"/>
  <Override PartName="/ppt/charts/style90.xml" ContentType="application/vnd.ms-office.chartstyle+xml"/>
  <Override PartName="/ppt/charts/style900.xml" ContentType="application/vnd.ms-office.chartstyle+xml"/>
  <Override PartName="/ppt/charts/style901.xml" ContentType="application/vnd.ms-office.chartstyle+xml"/>
  <Override PartName="/ppt/charts/style902.xml" ContentType="application/vnd.ms-office.chartstyle+xml"/>
  <Override PartName="/ppt/charts/style903.xml" ContentType="application/vnd.ms-office.chartstyle+xml"/>
  <Override PartName="/ppt/charts/style904.xml" ContentType="application/vnd.ms-office.chartstyle+xml"/>
  <Override PartName="/ppt/charts/style905.xml" ContentType="application/vnd.ms-office.chartstyle+xml"/>
  <Override PartName="/ppt/charts/style906.xml" ContentType="application/vnd.ms-office.chartstyle+xml"/>
  <Override PartName="/ppt/charts/style907.xml" ContentType="application/vnd.ms-office.chartstyle+xml"/>
  <Override PartName="/ppt/charts/style908.xml" ContentType="application/vnd.ms-office.chartstyle+xml"/>
  <Override PartName="/ppt/charts/style909.xml" ContentType="application/vnd.ms-office.chartstyle+xml"/>
  <Override PartName="/ppt/charts/style91.xml" ContentType="application/vnd.ms-office.chartstyle+xml"/>
  <Override PartName="/ppt/charts/style910.xml" ContentType="application/vnd.ms-office.chartstyle+xml"/>
  <Override PartName="/ppt/charts/style911.xml" ContentType="application/vnd.ms-office.chartstyle+xml"/>
  <Override PartName="/ppt/charts/style912.xml" ContentType="application/vnd.ms-office.chartstyle+xml"/>
  <Override PartName="/ppt/charts/style913.xml" ContentType="application/vnd.ms-office.chartstyle+xml"/>
  <Override PartName="/ppt/charts/style914.xml" ContentType="application/vnd.ms-office.chartstyle+xml"/>
  <Override PartName="/ppt/charts/style915.xml" ContentType="application/vnd.ms-office.chartstyle+xml"/>
  <Override PartName="/ppt/charts/style916.xml" ContentType="application/vnd.ms-office.chartstyle+xml"/>
  <Override PartName="/ppt/charts/style917.xml" ContentType="application/vnd.ms-office.chartstyle+xml"/>
  <Override PartName="/ppt/charts/style918.xml" ContentType="application/vnd.ms-office.chartstyle+xml"/>
  <Override PartName="/ppt/charts/style919.xml" ContentType="application/vnd.ms-office.chartstyle+xml"/>
  <Override PartName="/ppt/charts/style92.xml" ContentType="application/vnd.ms-office.chartstyle+xml"/>
  <Override PartName="/ppt/charts/style920.xml" ContentType="application/vnd.ms-office.chartstyle+xml"/>
  <Override PartName="/ppt/charts/style921.xml" ContentType="application/vnd.ms-office.chartstyle+xml"/>
  <Override PartName="/ppt/charts/style922.xml" ContentType="application/vnd.ms-office.chartstyle+xml"/>
  <Override PartName="/ppt/charts/style923.xml" ContentType="application/vnd.ms-office.chartstyle+xml"/>
  <Override PartName="/ppt/charts/style924.xml" ContentType="application/vnd.ms-office.chartstyle+xml"/>
  <Override PartName="/ppt/charts/style925.xml" ContentType="application/vnd.ms-office.chartstyle+xml"/>
  <Override PartName="/ppt/charts/style926.xml" ContentType="application/vnd.ms-office.chartstyle+xml"/>
  <Override PartName="/ppt/charts/style927.xml" ContentType="application/vnd.ms-office.chartstyle+xml"/>
  <Override PartName="/ppt/charts/style928.xml" ContentType="application/vnd.ms-office.chartstyle+xml"/>
  <Override PartName="/ppt/charts/style929.xml" ContentType="application/vnd.ms-office.chartstyle+xml"/>
  <Override PartName="/ppt/charts/style93.xml" ContentType="application/vnd.ms-office.chartstyle+xml"/>
  <Override PartName="/ppt/charts/style930.xml" ContentType="application/vnd.ms-office.chartstyle+xml"/>
  <Override PartName="/ppt/charts/style931.xml" ContentType="application/vnd.ms-office.chartstyle+xml"/>
  <Override PartName="/ppt/charts/style932.xml" ContentType="application/vnd.ms-office.chartstyle+xml"/>
  <Override PartName="/ppt/charts/style933.xml" ContentType="application/vnd.ms-office.chartstyle+xml"/>
  <Override PartName="/ppt/charts/style934.xml" ContentType="application/vnd.ms-office.chartstyle+xml"/>
  <Override PartName="/ppt/charts/style935.xml" ContentType="application/vnd.ms-office.chartstyle+xml"/>
  <Override PartName="/ppt/charts/style936.xml" ContentType="application/vnd.ms-office.chartstyle+xml"/>
  <Override PartName="/ppt/charts/style937.xml" ContentType="application/vnd.ms-office.chartstyle+xml"/>
  <Override PartName="/ppt/charts/style938.xml" ContentType="application/vnd.ms-office.chartstyle+xml"/>
  <Override PartName="/ppt/charts/style939.xml" ContentType="application/vnd.ms-office.chartstyle+xml"/>
  <Override PartName="/ppt/charts/style94.xml" ContentType="application/vnd.ms-office.chartstyle+xml"/>
  <Override PartName="/ppt/charts/style940.xml" ContentType="application/vnd.ms-office.chartstyle+xml"/>
  <Override PartName="/ppt/charts/style941.xml" ContentType="application/vnd.ms-office.chartstyle+xml"/>
  <Override PartName="/ppt/charts/style942.xml" ContentType="application/vnd.ms-office.chartstyle+xml"/>
  <Override PartName="/ppt/charts/style943.xml" ContentType="application/vnd.ms-office.chartstyle+xml"/>
  <Override PartName="/ppt/charts/style944.xml" ContentType="application/vnd.ms-office.chartstyle+xml"/>
  <Override PartName="/ppt/charts/style945.xml" ContentType="application/vnd.ms-office.chartstyle+xml"/>
  <Override PartName="/ppt/charts/style946.xml" ContentType="application/vnd.ms-office.chartstyle+xml"/>
  <Override PartName="/ppt/charts/style947.xml" ContentType="application/vnd.ms-office.chartstyle+xml"/>
  <Override PartName="/ppt/charts/style948.xml" ContentType="application/vnd.ms-office.chartstyle+xml"/>
  <Override PartName="/ppt/charts/style949.xml" ContentType="application/vnd.ms-office.chartstyle+xml"/>
  <Override PartName="/ppt/charts/style95.xml" ContentType="application/vnd.ms-office.chartstyle+xml"/>
  <Override PartName="/ppt/charts/style950.xml" ContentType="application/vnd.ms-office.chartstyle+xml"/>
  <Override PartName="/ppt/charts/style951.xml" ContentType="application/vnd.ms-office.chartstyle+xml"/>
  <Override PartName="/ppt/charts/style952.xml" ContentType="application/vnd.ms-office.chartstyle+xml"/>
  <Override PartName="/ppt/charts/style953.xml" ContentType="application/vnd.ms-office.chartstyle+xml"/>
  <Override PartName="/ppt/charts/style954.xml" ContentType="application/vnd.ms-office.chartstyle+xml"/>
  <Override PartName="/ppt/charts/style955.xml" ContentType="application/vnd.ms-office.chartstyle+xml"/>
  <Override PartName="/ppt/charts/style956.xml" ContentType="application/vnd.ms-office.chartstyle+xml"/>
  <Override PartName="/ppt/charts/style957.xml" ContentType="application/vnd.ms-office.chartstyle+xml"/>
  <Override PartName="/ppt/charts/style958.xml" ContentType="application/vnd.ms-office.chartstyle+xml"/>
  <Override PartName="/ppt/charts/style959.xml" ContentType="application/vnd.ms-office.chartstyle+xml"/>
  <Override PartName="/ppt/charts/style96.xml" ContentType="application/vnd.ms-office.chartstyle+xml"/>
  <Override PartName="/ppt/charts/style960.xml" ContentType="application/vnd.ms-office.chartstyle+xml"/>
  <Override PartName="/ppt/charts/style961.xml" ContentType="application/vnd.ms-office.chartstyle+xml"/>
  <Override PartName="/ppt/charts/style962.xml" ContentType="application/vnd.ms-office.chartstyle+xml"/>
  <Override PartName="/ppt/charts/style963.xml" ContentType="application/vnd.ms-office.chartstyle+xml"/>
  <Override PartName="/ppt/charts/style964.xml" ContentType="application/vnd.ms-office.chartstyle+xml"/>
  <Override PartName="/ppt/charts/style965.xml" ContentType="application/vnd.ms-office.chartstyle+xml"/>
  <Override PartName="/ppt/charts/style966.xml" ContentType="application/vnd.ms-office.chartstyle+xml"/>
  <Override PartName="/ppt/charts/style967.xml" ContentType="application/vnd.ms-office.chartstyle+xml"/>
  <Override PartName="/ppt/charts/style968.xml" ContentType="application/vnd.ms-office.chartstyle+xml"/>
  <Override PartName="/ppt/charts/style969.xml" ContentType="application/vnd.ms-office.chartstyle+xml"/>
  <Override PartName="/ppt/charts/style97.xml" ContentType="application/vnd.ms-office.chartstyle+xml"/>
  <Override PartName="/ppt/charts/style970.xml" ContentType="application/vnd.ms-office.chartstyle+xml"/>
  <Override PartName="/ppt/charts/style971.xml" ContentType="application/vnd.ms-office.chartstyle+xml"/>
  <Override PartName="/ppt/charts/style972.xml" ContentType="application/vnd.ms-office.chartstyle+xml"/>
  <Override PartName="/ppt/charts/style973.xml" ContentType="application/vnd.ms-office.chartstyle+xml"/>
  <Override PartName="/ppt/charts/style974.xml" ContentType="application/vnd.ms-office.chartstyle+xml"/>
  <Override PartName="/ppt/charts/style975.xml" ContentType="application/vnd.ms-office.chartstyle+xml"/>
  <Override PartName="/ppt/charts/style976.xml" ContentType="application/vnd.ms-office.chartstyle+xml"/>
  <Override PartName="/ppt/charts/style977.xml" ContentType="application/vnd.ms-office.chartstyle+xml"/>
  <Override PartName="/ppt/charts/style978.xml" ContentType="application/vnd.ms-office.chartstyle+xml"/>
  <Override PartName="/ppt/charts/style979.xml" ContentType="application/vnd.ms-office.chartstyle+xml"/>
  <Override PartName="/ppt/charts/style98.xml" ContentType="application/vnd.ms-office.chartstyle+xml"/>
  <Override PartName="/ppt/charts/style980.xml" ContentType="application/vnd.ms-office.chartstyle+xml"/>
  <Override PartName="/ppt/charts/style981.xml" ContentType="application/vnd.ms-office.chartstyle+xml"/>
  <Override PartName="/ppt/charts/style982.xml" ContentType="application/vnd.ms-office.chartstyle+xml"/>
  <Override PartName="/ppt/charts/style983.xml" ContentType="application/vnd.ms-office.chartstyle+xml"/>
  <Override PartName="/ppt/charts/style984.xml" ContentType="application/vnd.ms-office.chartstyle+xml"/>
  <Override PartName="/ppt/charts/style985.xml" ContentType="application/vnd.ms-office.chartstyle+xml"/>
  <Override PartName="/ppt/charts/style986.xml" ContentType="application/vnd.ms-office.chartstyle+xml"/>
  <Override PartName="/ppt/charts/style987.xml" ContentType="application/vnd.ms-office.chartstyle+xml"/>
  <Override PartName="/ppt/charts/style988.xml" ContentType="application/vnd.ms-office.chartstyle+xml"/>
  <Override PartName="/ppt/charts/style989.xml" ContentType="application/vnd.ms-office.chartstyle+xml"/>
  <Override PartName="/ppt/charts/style99.xml" ContentType="application/vnd.ms-office.chartstyle+xml"/>
  <Override PartName="/ppt/charts/style990.xml" ContentType="application/vnd.ms-office.chartstyle+xml"/>
  <Override PartName="/ppt/charts/style991.xml" ContentType="application/vnd.ms-office.chartstyle+xml"/>
  <Override PartName="/ppt/charts/style992.xml" ContentType="application/vnd.ms-office.chartstyle+xml"/>
  <Override PartName="/ppt/charts/style993.xml" ContentType="application/vnd.ms-office.chartstyle+xml"/>
  <Override PartName="/ppt/charts/style994.xml" ContentType="application/vnd.ms-office.chartstyle+xml"/>
  <Override PartName="/ppt/charts/style995.xml" ContentType="application/vnd.ms-office.chartstyle+xml"/>
  <Override PartName="/ppt/charts/style996.xml" ContentType="application/vnd.ms-office.chartstyle+xml"/>
  <Override PartName="/ppt/charts/style997.xml" ContentType="application/vnd.ms-office.chartstyle+xml"/>
  <Override PartName="/ppt/charts/style998.xml" ContentType="application/vnd.ms-office.chartstyle+xml"/>
  <Override PartName="/ppt/charts/style9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87.xml" ContentType="application/vnd.openxmlformats-officedocument.presentationml.notesSlide+xml"/>
  <Override PartName="/ppt/notesSlides/notesSlide1088.xml" ContentType="application/vnd.openxmlformats-officedocument.presentationml.notesSlide+xml"/>
  <Override PartName="/ppt/notesSlides/notesSlide1089.xml" ContentType="application/vnd.openxmlformats-officedocument.presentationml.notesSlide+xml"/>
  <Override PartName="/ppt/notesSlides/notesSlide109.xml" ContentType="application/vnd.openxmlformats-officedocument.presentationml.notesSlide+xml"/>
  <Override PartName="/ppt/notesSlides/notesSlide1090.xml" ContentType="application/vnd.openxmlformats-officedocument.presentationml.notesSlide+xml"/>
  <Override PartName="/ppt/notesSlides/notesSlide1091.xml" ContentType="application/vnd.openxmlformats-officedocument.presentationml.notesSlide+xml"/>
  <Override PartName="/ppt/notesSlides/notesSlide1092.xml" ContentType="application/vnd.openxmlformats-officedocument.presentationml.notesSlide+xml"/>
  <Override PartName="/ppt/notesSlides/notesSlide1093.xml" ContentType="application/vnd.openxmlformats-officedocument.presentationml.notesSlide+xml"/>
  <Override PartName="/ppt/notesSlides/notesSlide1094.xml" ContentType="application/vnd.openxmlformats-officedocument.presentationml.notesSlide+xml"/>
  <Override PartName="/ppt/notesSlides/notesSlide1095.xml" ContentType="application/vnd.openxmlformats-officedocument.presentationml.notesSlide+xml"/>
  <Override PartName="/ppt/notesSlides/notesSlide1096.xml" ContentType="application/vnd.openxmlformats-officedocument.presentationml.notesSlide+xml"/>
  <Override PartName="/ppt/notesSlides/notesSlide1097.xml" ContentType="application/vnd.openxmlformats-officedocument.presentationml.notesSlide+xml"/>
  <Override PartName="/ppt/notesSlides/notesSlide1098.xml" ContentType="application/vnd.openxmlformats-officedocument.presentationml.notesSlide+xml"/>
  <Override PartName="/ppt/notesSlides/notesSlide109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00.xml" ContentType="application/vnd.openxmlformats-officedocument.presentationml.notesSlide+xml"/>
  <Override PartName="/ppt/notesSlides/notesSlide1101.xml" ContentType="application/vnd.openxmlformats-officedocument.presentationml.notesSlide+xml"/>
  <Override PartName="/ppt/notesSlides/notesSlide1102.xml" ContentType="application/vnd.openxmlformats-officedocument.presentationml.notesSlide+xml"/>
  <Override PartName="/ppt/notesSlides/notesSlide1103.xml" ContentType="application/vnd.openxmlformats-officedocument.presentationml.notesSlide+xml"/>
  <Override PartName="/ppt/notesSlides/notesSlide1104.xml" ContentType="application/vnd.openxmlformats-officedocument.presentationml.notesSlide+xml"/>
  <Override PartName="/ppt/notesSlides/notesSlide1105.xml" ContentType="application/vnd.openxmlformats-officedocument.presentationml.notesSlide+xml"/>
  <Override PartName="/ppt/notesSlides/notesSlide1106.xml" ContentType="application/vnd.openxmlformats-officedocument.presentationml.notesSlide+xml"/>
  <Override PartName="/ppt/notesSlides/notesSlide1107.xml" ContentType="application/vnd.openxmlformats-officedocument.presentationml.notesSlide+xml"/>
  <Override PartName="/ppt/notesSlides/notesSlide1108.xml" ContentType="application/vnd.openxmlformats-officedocument.presentationml.notesSlide+xml"/>
  <Override PartName="/ppt/notesSlides/notesSlide1109.xml" ContentType="application/vnd.openxmlformats-officedocument.presentationml.notesSlide+xml"/>
  <Override PartName="/ppt/notesSlides/notesSlide111.xml" ContentType="application/vnd.openxmlformats-officedocument.presentationml.notesSlide+xml"/>
  <Override PartName="/ppt/notesSlides/notesSlide1110.xml" ContentType="application/vnd.openxmlformats-officedocument.presentationml.notesSlide+xml"/>
  <Override PartName="/ppt/notesSlides/notesSlide1111.xml" ContentType="application/vnd.openxmlformats-officedocument.presentationml.notesSlide+xml"/>
  <Override PartName="/ppt/notesSlides/notesSlide1112.xml" ContentType="application/vnd.openxmlformats-officedocument.presentationml.notesSlide+xml"/>
  <Override PartName="/ppt/notesSlides/notesSlide1113.xml" ContentType="application/vnd.openxmlformats-officedocument.presentationml.notesSlide+xml"/>
  <Override PartName="/ppt/notesSlides/notesSlide1114.xml" ContentType="application/vnd.openxmlformats-officedocument.presentationml.notesSlide+xml"/>
  <Override PartName="/ppt/notesSlides/notesSlide1115.xml" ContentType="application/vnd.openxmlformats-officedocument.presentationml.notesSlide+xml"/>
  <Override PartName="/ppt/notesSlides/notesSlide1116.xml" ContentType="application/vnd.openxmlformats-officedocument.presentationml.notesSlide+xml"/>
  <Override PartName="/ppt/notesSlides/notesSlide1117.xml" ContentType="application/vnd.openxmlformats-officedocument.presentationml.notesSlide+xml"/>
  <Override PartName="/ppt/notesSlides/notesSlide1118.xml" ContentType="application/vnd.openxmlformats-officedocument.presentationml.notesSlide+xml"/>
  <Override PartName="/ppt/notesSlides/notesSlide1119.xml" ContentType="application/vnd.openxmlformats-officedocument.presentationml.notesSlide+xml"/>
  <Override PartName="/ppt/notesSlides/notesSlide112.xml" ContentType="application/vnd.openxmlformats-officedocument.presentationml.notesSlide+xml"/>
  <Override PartName="/ppt/notesSlides/notesSlide1120.xml" ContentType="application/vnd.openxmlformats-officedocument.presentationml.notesSlide+xml"/>
  <Override PartName="/ppt/notesSlides/notesSlide1121.xml" ContentType="application/vnd.openxmlformats-officedocument.presentationml.notesSlide+xml"/>
  <Override PartName="/ppt/notesSlides/notesSlide1122.xml" ContentType="application/vnd.openxmlformats-officedocument.presentationml.notesSlide+xml"/>
  <Override PartName="/ppt/notesSlides/notesSlide1123.xml" ContentType="application/vnd.openxmlformats-officedocument.presentationml.notesSlide+xml"/>
  <Override PartName="/ppt/notesSlides/notesSlide1124.xml" ContentType="application/vnd.openxmlformats-officedocument.presentationml.notesSlide+xml"/>
  <Override PartName="/ppt/notesSlides/notesSlide1125.xml" ContentType="application/vnd.openxmlformats-officedocument.presentationml.notesSlide+xml"/>
  <Override PartName="/ppt/notesSlides/notesSlide1126.xml" ContentType="application/vnd.openxmlformats-officedocument.presentationml.notesSlide+xml"/>
  <Override PartName="/ppt/notesSlides/notesSlide1127.xml" ContentType="application/vnd.openxmlformats-officedocument.presentationml.notesSlide+xml"/>
  <Override PartName="/ppt/notesSlides/notesSlide1128.xml" ContentType="application/vnd.openxmlformats-officedocument.presentationml.notesSlide+xml"/>
  <Override PartName="/ppt/notesSlides/notesSlide1129.xml" ContentType="application/vnd.openxmlformats-officedocument.presentationml.notesSlide+xml"/>
  <Override PartName="/ppt/notesSlides/notesSlide113.xml" ContentType="application/vnd.openxmlformats-officedocument.presentationml.notesSlide+xml"/>
  <Override PartName="/ppt/notesSlides/notesSlide1130.xml" ContentType="application/vnd.openxmlformats-officedocument.presentationml.notesSlide+xml"/>
  <Override PartName="/ppt/notesSlides/notesSlide1131.xml" ContentType="application/vnd.openxmlformats-officedocument.presentationml.notesSlide+xml"/>
  <Override PartName="/ppt/notesSlides/notesSlide1132.xml" ContentType="application/vnd.openxmlformats-officedocument.presentationml.notesSlide+xml"/>
  <Override PartName="/ppt/notesSlides/notesSlide1133.xml" ContentType="application/vnd.openxmlformats-officedocument.presentationml.notesSlide+xml"/>
  <Override PartName="/ppt/notesSlides/notesSlide1134.xml" ContentType="application/vnd.openxmlformats-officedocument.presentationml.notesSlide+xml"/>
  <Override PartName="/ppt/notesSlides/notesSlide1135.xml" ContentType="application/vnd.openxmlformats-officedocument.presentationml.notesSlide+xml"/>
  <Override PartName="/ppt/notesSlides/notesSlide1136.xml" ContentType="application/vnd.openxmlformats-officedocument.presentationml.notesSlide+xml"/>
  <Override PartName="/ppt/notesSlides/notesSlide1137.xml" ContentType="application/vnd.openxmlformats-officedocument.presentationml.notesSlide+xml"/>
  <Override PartName="/ppt/notesSlides/notesSlide1138.xml" ContentType="application/vnd.openxmlformats-officedocument.presentationml.notesSlide+xml"/>
  <Override PartName="/ppt/notesSlides/notesSlide1139.xml" ContentType="application/vnd.openxmlformats-officedocument.presentationml.notesSlide+xml"/>
  <Override PartName="/ppt/notesSlides/notesSlide114.xml" ContentType="application/vnd.openxmlformats-officedocument.presentationml.notesSlide+xml"/>
  <Override PartName="/ppt/notesSlides/notesSlide1140.xml" ContentType="application/vnd.openxmlformats-officedocument.presentationml.notesSlide+xml"/>
  <Override PartName="/ppt/notesSlides/notesSlide1141.xml" ContentType="application/vnd.openxmlformats-officedocument.presentationml.notesSlide+xml"/>
  <Override PartName="/ppt/notesSlides/notesSlide1142.xml" ContentType="application/vnd.openxmlformats-officedocument.presentationml.notesSlide+xml"/>
  <Override PartName="/ppt/notesSlides/notesSlide1143.xml" ContentType="application/vnd.openxmlformats-officedocument.presentationml.notesSlide+xml"/>
  <Override PartName="/ppt/notesSlides/notesSlide1144.xml" ContentType="application/vnd.openxmlformats-officedocument.presentationml.notesSlide+xml"/>
  <Override PartName="/ppt/notesSlides/notesSlide1145.xml" ContentType="application/vnd.openxmlformats-officedocument.presentationml.notesSlide+xml"/>
  <Override PartName="/ppt/notesSlides/notesSlide1146.xml" ContentType="application/vnd.openxmlformats-officedocument.presentationml.notesSlide+xml"/>
  <Override PartName="/ppt/notesSlides/notesSlide1147.xml" ContentType="application/vnd.openxmlformats-officedocument.presentationml.notesSlide+xml"/>
  <Override PartName="/ppt/notesSlides/notesSlide1148.xml" ContentType="application/vnd.openxmlformats-officedocument.presentationml.notesSlide+xml"/>
  <Override PartName="/ppt/notesSlides/notesSlide1149.xml" ContentType="application/vnd.openxmlformats-officedocument.presentationml.notesSlide+xml"/>
  <Override PartName="/ppt/notesSlides/notesSlide115.xml" ContentType="application/vnd.openxmlformats-officedocument.presentationml.notesSlide+xml"/>
  <Override PartName="/ppt/notesSlides/notesSlide1150.xml" ContentType="application/vnd.openxmlformats-officedocument.presentationml.notesSlide+xml"/>
  <Override PartName="/ppt/notesSlides/notesSlide1151.xml" ContentType="application/vnd.openxmlformats-officedocument.presentationml.notesSlide+xml"/>
  <Override PartName="/ppt/notesSlides/notesSlide1152.xml" ContentType="application/vnd.openxmlformats-officedocument.presentationml.notesSlide+xml"/>
  <Override PartName="/ppt/notesSlides/notesSlide1153.xml" ContentType="application/vnd.openxmlformats-officedocument.presentationml.notesSlide+xml"/>
  <Override PartName="/ppt/notesSlides/notesSlide1154.xml" ContentType="application/vnd.openxmlformats-officedocument.presentationml.notesSlide+xml"/>
  <Override PartName="/ppt/notesSlides/notesSlide1155.xml" ContentType="application/vnd.openxmlformats-officedocument.presentationml.notesSlide+xml"/>
  <Override PartName="/ppt/notesSlides/notesSlide1156.xml" ContentType="application/vnd.openxmlformats-officedocument.presentationml.notesSlide+xml"/>
  <Override PartName="/ppt/notesSlides/notesSlide1157.xml" ContentType="application/vnd.openxmlformats-officedocument.presentationml.notesSlide+xml"/>
  <Override PartName="/ppt/notesSlides/notesSlide1158.xml" ContentType="application/vnd.openxmlformats-officedocument.presentationml.notesSlide+xml"/>
  <Override PartName="/ppt/notesSlides/notesSlide1159.xml" ContentType="application/vnd.openxmlformats-officedocument.presentationml.notesSlide+xml"/>
  <Override PartName="/ppt/notesSlides/notesSlide116.xml" ContentType="application/vnd.openxmlformats-officedocument.presentationml.notesSlide+xml"/>
  <Override PartName="/ppt/notesSlides/notesSlide1160.xml" ContentType="application/vnd.openxmlformats-officedocument.presentationml.notesSlide+xml"/>
  <Override PartName="/ppt/notesSlides/notesSlide1161.xml" ContentType="application/vnd.openxmlformats-officedocument.presentationml.notesSlide+xml"/>
  <Override PartName="/ppt/notesSlides/notesSlide1162.xml" ContentType="application/vnd.openxmlformats-officedocument.presentationml.notesSlide+xml"/>
  <Override PartName="/ppt/notesSlides/notesSlide1163.xml" ContentType="application/vnd.openxmlformats-officedocument.presentationml.notesSlide+xml"/>
  <Override PartName="/ppt/notesSlides/notesSlide1164.xml" ContentType="application/vnd.openxmlformats-officedocument.presentationml.notesSlide+xml"/>
  <Override PartName="/ppt/notesSlides/notesSlide1165.xml" ContentType="application/vnd.openxmlformats-officedocument.presentationml.notesSlide+xml"/>
  <Override PartName="/ppt/notesSlides/notesSlide1166.xml" ContentType="application/vnd.openxmlformats-officedocument.presentationml.notesSlide+xml"/>
  <Override PartName="/ppt/notesSlides/notesSlide1167.xml" ContentType="application/vnd.openxmlformats-officedocument.presentationml.notesSlide+xml"/>
  <Override PartName="/ppt/notesSlides/notesSlide1168.xml" ContentType="application/vnd.openxmlformats-officedocument.presentationml.notesSlide+xml"/>
  <Override PartName="/ppt/notesSlides/notesSlide1169.xml" ContentType="application/vnd.openxmlformats-officedocument.presentationml.notesSlide+xml"/>
  <Override PartName="/ppt/notesSlides/notesSlide117.xml" ContentType="application/vnd.openxmlformats-officedocument.presentationml.notesSlide+xml"/>
  <Override PartName="/ppt/notesSlides/notesSlide1170.xml" ContentType="application/vnd.openxmlformats-officedocument.presentationml.notesSlide+xml"/>
  <Override PartName="/ppt/notesSlides/notesSlide1171.xml" ContentType="application/vnd.openxmlformats-officedocument.presentationml.notesSlide+xml"/>
  <Override PartName="/ppt/notesSlides/notesSlide1172.xml" ContentType="application/vnd.openxmlformats-officedocument.presentationml.notesSlide+xml"/>
  <Override PartName="/ppt/notesSlides/notesSlide1173.xml" ContentType="application/vnd.openxmlformats-officedocument.presentationml.notesSlide+xml"/>
  <Override PartName="/ppt/notesSlides/notesSlide1174.xml" ContentType="application/vnd.openxmlformats-officedocument.presentationml.notesSlide+xml"/>
  <Override PartName="/ppt/notesSlides/notesSlide1175.xml" ContentType="application/vnd.openxmlformats-officedocument.presentationml.notesSlide+xml"/>
  <Override PartName="/ppt/notesSlides/notesSlide1176.xml" ContentType="application/vnd.openxmlformats-officedocument.presentationml.notesSlide+xml"/>
  <Override PartName="/ppt/notesSlides/notesSlide1177.xml" ContentType="application/vnd.openxmlformats-officedocument.presentationml.notesSlide+xml"/>
  <Override PartName="/ppt/notesSlides/notesSlide1178.xml" ContentType="application/vnd.openxmlformats-officedocument.presentationml.notesSlide+xml"/>
  <Override PartName="/ppt/notesSlides/notesSlide1179.xml" ContentType="application/vnd.openxmlformats-officedocument.presentationml.notesSlide+xml"/>
  <Override PartName="/ppt/notesSlides/notesSlide118.xml" ContentType="application/vnd.openxmlformats-officedocument.presentationml.notesSlide+xml"/>
  <Override PartName="/ppt/notesSlides/notesSlide1180.xml" ContentType="application/vnd.openxmlformats-officedocument.presentationml.notesSlide+xml"/>
  <Override PartName="/ppt/notesSlides/notesSlide1181.xml" ContentType="application/vnd.openxmlformats-officedocument.presentationml.notesSlide+xml"/>
  <Override PartName="/ppt/notesSlides/notesSlide1182.xml" ContentType="application/vnd.openxmlformats-officedocument.presentationml.notesSlide+xml"/>
  <Override PartName="/ppt/notesSlides/notesSlide1183.xml" ContentType="application/vnd.openxmlformats-officedocument.presentationml.notesSlide+xml"/>
  <Override PartName="/ppt/notesSlides/notesSlide1184.xml" ContentType="application/vnd.openxmlformats-officedocument.presentationml.notesSlide+xml"/>
  <Override PartName="/ppt/notesSlides/notesSlide1185.xml" ContentType="application/vnd.openxmlformats-officedocument.presentationml.notesSlide+xml"/>
  <Override PartName="/ppt/notesSlides/notesSlide1186.xml" ContentType="application/vnd.openxmlformats-officedocument.presentationml.notesSlide+xml"/>
  <Override PartName="/ppt/notesSlides/notesSlide1187.xml" ContentType="application/vnd.openxmlformats-officedocument.presentationml.notesSlide+xml"/>
  <Override PartName="/ppt/notesSlides/notesSlide1188.xml" ContentType="application/vnd.openxmlformats-officedocument.presentationml.notesSlide+xml"/>
  <Override PartName="/ppt/notesSlides/notesSlide1189.xml" ContentType="application/vnd.openxmlformats-officedocument.presentationml.notesSlide+xml"/>
  <Override PartName="/ppt/notesSlides/notesSlide119.xml" ContentType="application/vnd.openxmlformats-officedocument.presentationml.notesSlide+xml"/>
  <Override PartName="/ppt/notesSlides/notesSlide1190.xml" ContentType="application/vnd.openxmlformats-officedocument.presentationml.notesSlide+xml"/>
  <Override PartName="/ppt/notesSlides/notesSlide1191.xml" ContentType="application/vnd.openxmlformats-officedocument.presentationml.notesSlide+xml"/>
  <Override PartName="/ppt/notesSlides/notesSlide1192.xml" ContentType="application/vnd.openxmlformats-officedocument.presentationml.notesSlide+xml"/>
  <Override PartName="/ppt/notesSlides/notesSlide1193.xml" ContentType="application/vnd.openxmlformats-officedocument.presentationml.notesSlide+xml"/>
  <Override PartName="/ppt/notesSlides/notesSlide1194.xml" ContentType="application/vnd.openxmlformats-officedocument.presentationml.notesSlide+xml"/>
  <Override PartName="/ppt/notesSlides/notesSlide1195.xml" ContentType="application/vnd.openxmlformats-officedocument.presentationml.notesSlide+xml"/>
  <Override PartName="/ppt/notesSlides/notesSlide1196.xml" ContentType="application/vnd.openxmlformats-officedocument.presentationml.notesSlide+xml"/>
  <Override PartName="/ppt/notesSlides/notesSlide1197.xml" ContentType="application/vnd.openxmlformats-officedocument.presentationml.notesSlide+xml"/>
  <Override PartName="/ppt/notesSlides/notesSlide1198.xml" ContentType="application/vnd.openxmlformats-officedocument.presentationml.notesSlide+xml"/>
  <Override PartName="/ppt/notesSlides/notesSlide119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00.xml" ContentType="application/vnd.openxmlformats-officedocument.presentationml.notesSlide+xml"/>
  <Override PartName="/ppt/notesSlides/notesSlide1201.xml" ContentType="application/vnd.openxmlformats-officedocument.presentationml.notesSlide+xml"/>
  <Override PartName="/ppt/notesSlides/notesSlide1202.xml" ContentType="application/vnd.openxmlformats-officedocument.presentationml.notesSlide+xml"/>
  <Override PartName="/ppt/notesSlides/notesSlide1203.xml" ContentType="application/vnd.openxmlformats-officedocument.presentationml.notesSlide+xml"/>
  <Override PartName="/ppt/notesSlides/notesSlide1204.xml" ContentType="application/vnd.openxmlformats-officedocument.presentationml.notesSlide+xml"/>
  <Override PartName="/ppt/notesSlides/notesSlide1205.xml" ContentType="application/vnd.openxmlformats-officedocument.presentationml.notesSlide+xml"/>
  <Override PartName="/ppt/notesSlides/notesSlide1206.xml" ContentType="application/vnd.openxmlformats-officedocument.presentationml.notesSlide+xml"/>
  <Override PartName="/ppt/notesSlides/notesSlide1207.xml" ContentType="application/vnd.openxmlformats-officedocument.presentationml.notesSlide+xml"/>
  <Override PartName="/ppt/notesSlides/notesSlide1208.xml" ContentType="application/vnd.openxmlformats-officedocument.presentationml.notesSlide+xml"/>
  <Override PartName="/ppt/notesSlides/notesSlide1209.xml" ContentType="application/vnd.openxmlformats-officedocument.presentationml.notesSlide+xml"/>
  <Override PartName="/ppt/notesSlides/notesSlide121.xml" ContentType="application/vnd.openxmlformats-officedocument.presentationml.notesSlide+xml"/>
  <Override PartName="/ppt/notesSlides/notesSlide1210.xml" ContentType="application/vnd.openxmlformats-officedocument.presentationml.notesSlide+xml"/>
  <Override PartName="/ppt/notesSlides/notesSlide1211.xml" ContentType="application/vnd.openxmlformats-officedocument.presentationml.notesSlide+xml"/>
  <Override PartName="/ppt/notesSlides/notesSlide1212.xml" ContentType="application/vnd.openxmlformats-officedocument.presentationml.notesSlide+xml"/>
  <Override PartName="/ppt/notesSlides/notesSlide1213.xml" ContentType="application/vnd.openxmlformats-officedocument.presentationml.notesSlide+xml"/>
  <Override PartName="/ppt/notesSlides/notesSlide1214.xml" ContentType="application/vnd.openxmlformats-officedocument.presentationml.notesSlide+xml"/>
  <Override PartName="/ppt/notesSlides/notesSlide1215.xml" ContentType="application/vnd.openxmlformats-officedocument.presentationml.notesSlide+xml"/>
  <Override PartName="/ppt/notesSlides/notesSlide1216.xml" ContentType="application/vnd.openxmlformats-officedocument.presentationml.notesSlide+xml"/>
  <Override PartName="/ppt/notesSlides/notesSlide1217.xml" ContentType="application/vnd.openxmlformats-officedocument.presentationml.notesSlide+xml"/>
  <Override PartName="/ppt/notesSlides/notesSlide1218.xml" ContentType="application/vnd.openxmlformats-officedocument.presentationml.notesSlide+xml"/>
  <Override PartName="/ppt/notesSlides/notesSlide1219.xml" ContentType="application/vnd.openxmlformats-officedocument.presentationml.notesSlide+xml"/>
  <Override PartName="/ppt/notesSlides/notesSlide122.xml" ContentType="application/vnd.openxmlformats-officedocument.presentationml.notesSlide+xml"/>
  <Override PartName="/ppt/notesSlides/notesSlide1220.xml" ContentType="application/vnd.openxmlformats-officedocument.presentationml.notesSlide+xml"/>
  <Override PartName="/ppt/notesSlides/notesSlide1221.xml" ContentType="application/vnd.openxmlformats-officedocument.presentationml.notesSlide+xml"/>
  <Override PartName="/ppt/notesSlides/notesSlide1222.xml" ContentType="application/vnd.openxmlformats-officedocument.presentationml.notesSlide+xml"/>
  <Override PartName="/ppt/notesSlides/notesSlide1223.xml" ContentType="application/vnd.openxmlformats-officedocument.presentationml.notesSlide+xml"/>
  <Override PartName="/ppt/notesSlides/notesSlide1224.xml" ContentType="application/vnd.openxmlformats-officedocument.presentationml.notesSlide+xml"/>
  <Override PartName="/ppt/notesSlides/notesSlide1225.xml" ContentType="application/vnd.openxmlformats-officedocument.presentationml.notesSlide+xml"/>
  <Override PartName="/ppt/notesSlides/notesSlide1226.xml" ContentType="application/vnd.openxmlformats-officedocument.presentationml.notesSlide+xml"/>
  <Override PartName="/ppt/notesSlides/notesSlide1227.xml" ContentType="application/vnd.openxmlformats-officedocument.presentationml.notesSlide+xml"/>
  <Override PartName="/ppt/notesSlides/notesSlide1228.xml" ContentType="application/vnd.openxmlformats-officedocument.presentationml.notesSlide+xml"/>
  <Override PartName="/ppt/notesSlides/notesSlide1229.xml" ContentType="application/vnd.openxmlformats-officedocument.presentationml.notesSlide+xml"/>
  <Override PartName="/ppt/notesSlides/notesSlide123.xml" ContentType="application/vnd.openxmlformats-officedocument.presentationml.notesSlide+xml"/>
  <Override PartName="/ppt/notesSlides/notesSlide1230.xml" ContentType="application/vnd.openxmlformats-officedocument.presentationml.notesSlide+xml"/>
  <Override PartName="/ppt/notesSlides/notesSlide1231.xml" ContentType="application/vnd.openxmlformats-officedocument.presentationml.notesSlide+xml"/>
  <Override PartName="/ppt/notesSlides/notesSlide1232.xml" ContentType="application/vnd.openxmlformats-officedocument.presentationml.notesSlide+xml"/>
  <Override PartName="/ppt/notesSlides/notesSlide1233.xml" ContentType="application/vnd.openxmlformats-officedocument.presentationml.notesSlide+xml"/>
  <Override PartName="/ppt/notesSlides/notesSlide1234.xml" ContentType="application/vnd.openxmlformats-officedocument.presentationml.notesSlide+xml"/>
  <Override PartName="/ppt/notesSlides/notesSlide1235.xml" ContentType="application/vnd.openxmlformats-officedocument.presentationml.notesSlide+xml"/>
  <Override PartName="/ppt/notesSlides/notesSlide1236.xml" ContentType="application/vnd.openxmlformats-officedocument.presentationml.notesSlide+xml"/>
  <Override PartName="/ppt/notesSlides/notesSlide1237.xml" ContentType="application/vnd.openxmlformats-officedocument.presentationml.notesSlide+xml"/>
  <Override PartName="/ppt/notesSlides/notesSlide1238.xml" ContentType="application/vnd.openxmlformats-officedocument.presentationml.notesSlide+xml"/>
  <Override PartName="/ppt/notesSlides/notesSlide1239.xml" ContentType="application/vnd.openxmlformats-officedocument.presentationml.notesSlide+xml"/>
  <Override PartName="/ppt/notesSlides/notesSlide124.xml" ContentType="application/vnd.openxmlformats-officedocument.presentationml.notesSlide+xml"/>
  <Override PartName="/ppt/notesSlides/notesSlide1240.xml" ContentType="application/vnd.openxmlformats-officedocument.presentationml.notesSlide+xml"/>
  <Override PartName="/ppt/notesSlides/notesSlide1241.xml" ContentType="application/vnd.openxmlformats-officedocument.presentationml.notesSlide+xml"/>
  <Override PartName="/ppt/notesSlides/notesSlide1242.xml" ContentType="application/vnd.openxmlformats-officedocument.presentationml.notesSlide+xml"/>
  <Override PartName="/ppt/notesSlides/notesSlide1243.xml" ContentType="application/vnd.openxmlformats-officedocument.presentationml.notesSlide+xml"/>
  <Override PartName="/ppt/notesSlides/notesSlide1244.xml" ContentType="application/vnd.openxmlformats-officedocument.presentationml.notesSlide+xml"/>
  <Override PartName="/ppt/notesSlides/notesSlide1245.xml" ContentType="application/vnd.openxmlformats-officedocument.presentationml.notesSlide+xml"/>
  <Override PartName="/ppt/notesSlides/notesSlide1246.xml" ContentType="application/vnd.openxmlformats-officedocument.presentationml.notesSlide+xml"/>
  <Override PartName="/ppt/notesSlides/notesSlide1247.xml" ContentType="application/vnd.openxmlformats-officedocument.presentationml.notesSlide+xml"/>
  <Override PartName="/ppt/notesSlides/notesSlide1248.xml" ContentType="application/vnd.openxmlformats-officedocument.presentationml.notesSlide+xml"/>
  <Override PartName="/ppt/notesSlides/notesSlide1249.xml" ContentType="application/vnd.openxmlformats-officedocument.presentationml.notesSlide+xml"/>
  <Override PartName="/ppt/notesSlides/notesSlide125.xml" ContentType="application/vnd.openxmlformats-officedocument.presentationml.notesSlide+xml"/>
  <Override PartName="/ppt/notesSlides/notesSlide1250.xml" ContentType="application/vnd.openxmlformats-officedocument.presentationml.notesSlide+xml"/>
  <Override PartName="/ppt/notesSlides/notesSlide1251.xml" ContentType="application/vnd.openxmlformats-officedocument.presentationml.notesSlide+xml"/>
  <Override PartName="/ppt/notesSlides/notesSlide1252.xml" ContentType="application/vnd.openxmlformats-officedocument.presentationml.notesSlide+xml"/>
  <Override PartName="/ppt/notesSlides/notesSlide1253.xml" ContentType="application/vnd.openxmlformats-officedocument.presentationml.notesSlide+xml"/>
  <Override PartName="/ppt/notesSlides/notesSlide1254.xml" ContentType="application/vnd.openxmlformats-officedocument.presentationml.notesSlide+xml"/>
  <Override PartName="/ppt/notesSlides/notesSlide1255.xml" ContentType="application/vnd.openxmlformats-officedocument.presentationml.notesSlide+xml"/>
  <Override PartName="/ppt/notesSlides/notesSlide1256.xml" ContentType="application/vnd.openxmlformats-officedocument.presentationml.notesSlide+xml"/>
  <Override PartName="/ppt/notesSlides/notesSlide1257.xml" ContentType="application/vnd.openxmlformats-officedocument.presentationml.notesSlide+xml"/>
  <Override PartName="/ppt/notesSlides/notesSlide1258.xml" ContentType="application/vnd.openxmlformats-officedocument.presentationml.notesSlide+xml"/>
  <Override PartName="/ppt/notesSlides/notesSlide1259.xml" ContentType="application/vnd.openxmlformats-officedocument.presentationml.notesSlide+xml"/>
  <Override PartName="/ppt/notesSlides/notesSlide126.xml" ContentType="application/vnd.openxmlformats-officedocument.presentationml.notesSlide+xml"/>
  <Override PartName="/ppt/notesSlides/notesSlide1260.xml" ContentType="application/vnd.openxmlformats-officedocument.presentationml.notesSlide+xml"/>
  <Override PartName="/ppt/notesSlides/notesSlide1261.xml" ContentType="application/vnd.openxmlformats-officedocument.presentationml.notesSlide+xml"/>
  <Override PartName="/ppt/notesSlides/notesSlide1262.xml" ContentType="application/vnd.openxmlformats-officedocument.presentationml.notesSlide+xml"/>
  <Override PartName="/ppt/notesSlides/notesSlide1263.xml" ContentType="application/vnd.openxmlformats-officedocument.presentationml.notesSlide+xml"/>
  <Override PartName="/ppt/notesSlides/notesSlide1264.xml" ContentType="application/vnd.openxmlformats-officedocument.presentationml.notesSlide+xml"/>
  <Override PartName="/ppt/notesSlides/notesSlide1265.xml" ContentType="application/vnd.openxmlformats-officedocument.presentationml.notesSlide+xml"/>
  <Override PartName="/ppt/notesSlides/notesSlide1266.xml" ContentType="application/vnd.openxmlformats-officedocument.presentationml.notesSlide+xml"/>
  <Override PartName="/ppt/notesSlides/notesSlide1267.xml" ContentType="application/vnd.openxmlformats-officedocument.presentationml.notesSlide+xml"/>
  <Override PartName="/ppt/notesSlides/notesSlide1268.xml" ContentType="application/vnd.openxmlformats-officedocument.presentationml.notesSlide+xml"/>
  <Override PartName="/ppt/notesSlides/notesSlide1269.xml" ContentType="application/vnd.openxmlformats-officedocument.presentationml.notesSlide+xml"/>
  <Override PartName="/ppt/notesSlides/notesSlide127.xml" ContentType="application/vnd.openxmlformats-officedocument.presentationml.notesSlide+xml"/>
  <Override PartName="/ppt/notesSlides/notesSlide1270.xml" ContentType="application/vnd.openxmlformats-officedocument.presentationml.notesSlide+xml"/>
  <Override PartName="/ppt/notesSlides/notesSlide1271.xml" ContentType="application/vnd.openxmlformats-officedocument.presentationml.notesSlide+xml"/>
  <Override PartName="/ppt/notesSlides/notesSlide1272.xml" ContentType="application/vnd.openxmlformats-officedocument.presentationml.notesSlide+xml"/>
  <Override PartName="/ppt/notesSlides/notesSlide1273.xml" ContentType="application/vnd.openxmlformats-officedocument.presentationml.notesSlide+xml"/>
  <Override PartName="/ppt/notesSlides/notesSlide1274.xml" ContentType="application/vnd.openxmlformats-officedocument.presentationml.notesSlide+xml"/>
  <Override PartName="/ppt/notesSlides/notesSlide1275.xml" ContentType="application/vnd.openxmlformats-officedocument.presentationml.notesSlide+xml"/>
  <Override PartName="/ppt/notesSlides/notesSlide1276.xml" ContentType="application/vnd.openxmlformats-officedocument.presentationml.notesSlide+xml"/>
  <Override PartName="/ppt/notesSlides/notesSlide1277.xml" ContentType="application/vnd.openxmlformats-officedocument.presentationml.notesSlide+xml"/>
  <Override PartName="/ppt/notesSlides/notesSlide1278.xml" ContentType="application/vnd.openxmlformats-officedocument.presentationml.notesSlide+xml"/>
  <Override PartName="/ppt/notesSlides/notesSlide1279.xml" ContentType="application/vnd.openxmlformats-officedocument.presentationml.notesSlide+xml"/>
  <Override PartName="/ppt/notesSlides/notesSlide128.xml" ContentType="application/vnd.openxmlformats-officedocument.presentationml.notesSlide+xml"/>
  <Override PartName="/ppt/notesSlides/notesSlide1280.xml" ContentType="application/vnd.openxmlformats-officedocument.presentationml.notesSlide+xml"/>
  <Override PartName="/ppt/notesSlides/notesSlide1281.xml" ContentType="application/vnd.openxmlformats-officedocument.presentationml.notesSlide+xml"/>
  <Override PartName="/ppt/notesSlides/notesSlide1282.xml" ContentType="application/vnd.openxmlformats-officedocument.presentationml.notesSlide+xml"/>
  <Override PartName="/ppt/notesSlides/notesSlide1283.xml" ContentType="application/vnd.openxmlformats-officedocument.presentationml.notesSlide+xml"/>
  <Override PartName="/ppt/notesSlides/notesSlide1284.xml" ContentType="application/vnd.openxmlformats-officedocument.presentationml.notesSlide+xml"/>
  <Override PartName="/ppt/notesSlides/notesSlide1285.xml" ContentType="application/vnd.openxmlformats-officedocument.presentationml.notesSlide+xml"/>
  <Override PartName="/ppt/notesSlides/notesSlide1286.xml" ContentType="application/vnd.openxmlformats-officedocument.presentationml.notesSlide+xml"/>
  <Override PartName="/ppt/notesSlides/notesSlide1287.xml" ContentType="application/vnd.openxmlformats-officedocument.presentationml.notesSlide+xml"/>
  <Override PartName="/ppt/notesSlides/notesSlide1288.xml" ContentType="application/vnd.openxmlformats-officedocument.presentationml.notesSlide+xml"/>
  <Override PartName="/ppt/notesSlides/notesSlide1289.xml" ContentType="application/vnd.openxmlformats-officedocument.presentationml.notesSlide+xml"/>
  <Override PartName="/ppt/notesSlides/notesSlide129.xml" ContentType="application/vnd.openxmlformats-officedocument.presentationml.notesSlide+xml"/>
  <Override PartName="/ppt/notesSlides/notesSlide1290.xml" ContentType="application/vnd.openxmlformats-officedocument.presentationml.notesSlide+xml"/>
  <Override PartName="/ppt/notesSlides/notesSlide1291.xml" ContentType="application/vnd.openxmlformats-officedocument.presentationml.notesSlide+xml"/>
  <Override PartName="/ppt/notesSlides/notesSlide1292.xml" ContentType="application/vnd.openxmlformats-officedocument.presentationml.notesSlide+xml"/>
  <Override PartName="/ppt/notesSlides/notesSlide1293.xml" ContentType="application/vnd.openxmlformats-officedocument.presentationml.notesSlide+xml"/>
  <Override PartName="/ppt/notesSlides/notesSlide1294.xml" ContentType="application/vnd.openxmlformats-officedocument.presentationml.notesSlide+xml"/>
  <Override PartName="/ppt/notesSlides/notesSlide1295.xml" ContentType="application/vnd.openxmlformats-officedocument.presentationml.notesSlide+xml"/>
  <Override PartName="/ppt/notesSlides/notesSlide1296.xml" ContentType="application/vnd.openxmlformats-officedocument.presentationml.notesSlide+xml"/>
  <Override PartName="/ppt/notesSlides/notesSlide1297.xml" ContentType="application/vnd.openxmlformats-officedocument.presentationml.notesSlide+xml"/>
  <Override PartName="/ppt/notesSlides/notesSlide1298.xml" ContentType="application/vnd.openxmlformats-officedocument.presentationml.notesSlide+xml"/>
  <Override PartName="/ppt/notesSlides/notesSlide129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00.xml" ContentType="application/vnd.openxmlformats-officedocument.presentationml.notesSlide+xml"/>
  <Override PartName="/ppt/notesSlides/notesSlide1301.xml" ContentType="application/vnd.openxmlformats-officedocument.presentationml.notesSlide+xml"/>
  <Override PartName="/ppt/notesSlides/notesSlide1302.xml" ContentType="application/vnd.openxmlformats-officedocument.presentationml.notesSlide+xml"/>
  <Override PartName="/ppt/notesSlides/notesSlide1303.xml" ContentType="application/vnd.openxmlformats-officedocument.presentationml.notesSlide+xml"/>
  <Override PartName="/ppt/notesSlides/notesSlide1304.xml" ContentType="application/vnd.openxmlformats-officedocument.presentationml.notesSlide+xml"/>
  <Override PartName="/ppt/notesSlides/notesSlide1305.xml" ContentType="application/vnd.openxmlformats-officedocument.presentationml.notesSlide+xml"/>
  <Override PartName="/ppt/notesSlides/notesSlide1306.xml" ContentType="application/vnd.openxmlformats-officedocument.presentationml.notesSlide+xml"/>
  <Override PartName="/ppt/notesSlides/notesSlide1307.xml" ContentType="application/vnd.openxmlformats-officedocument.presentationml.notesSlide+xml"/>
  <Override PartName="/ppt/notesSlides/notesSlide1308.xml" ContentType="application/vnd.openxmlformats-officedocument.presentationml.notesSlide+xml"/>
  <Override PartName="/ppt/notesSlides/notesSlide1309.xml" ContentType="application/vnd.openxmlformats-officedocument.presentationml.notesSlide+xml"/>
  <Override PartName="/ppt/notesSlides/notesSlide131.xml" ContentType="application/vnd.openxmlformats-officedocument.presentationml.notesSlide+xml"/>
  <Override PartName="/ppt/notesSlides/notesSlide1310.xml" ContentType="application/vnd.openxmlformats-officedocument.presentationml.notesSlide+xml"/>
  <Override PartName="/ppt/notesSlides/notesSlide1311.xml" ContentType="application/vnd.openxmlformats-officedocument.presentationml.notesSlide+xml"/>
  <Override PartName="/ppt/notesSlides/notesSlide1312.xml" ContentType="application/vnd.openxmlformats-officedocument.presentationml.notesSlide+xml"/>
  <Override PartName="/ppt/notesSlides/notesSlide1313.xml" ContentType="application/vnd.openxmlformats-officedocument.presentationml.notesSlide+xml"/>
  <Override PartName="/ppt/notesSlides/notesSlide1314.xml" ContentType="application/vnd.openxmlformats-officedocument.presentationml.notesSlide+xml"/>
  <Override PartName="/ppt/notesSlides/notesSlide1315.xml" ContentType="application/vnd.openxmlformats-officedocument.presentationml.notesSlide+xml"/>
  <Override PartName="/ppt/notesSlides/notesSlide1316.xml" ContentType="application/vnd.openxmlformats-officedocument.presentationml.notesSlide+xml"/>
  <Override PartName="/ppt/notesSlides/notesSlide1317.xml" ContentType="application/vnd.openxmlformats-officedocument.presentationml.notesSlide+xml"/>
  <Override PartName="/ppt/notesSlides/notesSlide1318.xml" ContentType="application/vnd.openxmlformats-officedocument.presentationml.notesSlide+xml"/>
  <Override PartName="/ppt/notesSlides/notesSlide1319.xml" ContentType="application/vnd.openxmlformats-officedocument.presentationml.notesSlide+xml"/>
  <Override PartName="/ppt/notesSlides/notesSlide132.xml" ContentType="application/vnd.openxmlformats-officedocument.presentationml.notesSlide+xml"/>
  <Override PartName="/ppt/notesSlides/notesSlide1320.xml" ContentType="application/vnd.openxmlformats-officedocument.presentationml.notesSlide+xml"/>
  <Override PartName="/ppt/notesSlides/notesSlide1321.xml" ContentType="application/vnd.openxmlformats-officedocument.presentationml.notesSlide+xml"/>
  <Override PartName="/ppt/notesSlides/notesSlide1322.xml" ContentType="application/vnd.openxmlformats-officedocument.presentationml.notesSlide+xml"/>
  <Override PartName="/ppt/notesSlides/notesSlide1323.xml" ContentType="application/vnd.openxmlformats-officedocument.presentationml.notesSlide+xml"/>
  <Override PartName="/ppt/notesSlides/notesSlide1324.xml" ContentType="application/vnd.openxmlformats-officedocument.presentationml.notesSlide+xml"/>
  <Override PartName="/ppt/notesSlides/notesSlide1325.xml" ContentType="application/vnd.openxmlformats-officedocument.presentationml.notesSlide+xml"/>
  <Override PartName="/ppt/notesSlides/notesSlide1326.xml" ContentType="application/vnd.openxmlformats-officedocument.presentationml.notesSlide+xml"/>
  <Override PartName="/ppt/notesSlides/notesSlide1327.xml" ContentType="application/vnd.openxmlformats-officedocument.presentationml.notesSlide+xml"/>
  <Override PartName="/ppt/notesSlides/notesSlide1328.xml" ContentType="application/vnd.openxmlformats-officedocument.presentationml.notesSlide+xml"/>
  <Override PartName="/ppt/notesSlides/notesSlide1329.xml" ContentType="application/vnd.openxmlformats-officedocument.presentationml.notesSlide+xml"/>
  <Override PartName="/ppt/notesSlides/notesSlide133.xml" ContentType="application/vnd.openxmlformats-officedocument.presentationml.notesSlide+xml"/>
  <Override PartName="/ppt/notesSlides/notesSlide1330.xml" ContentType="application/vnd.openxmlformats-officedocument.presentationml.notesSlide+xml"/>
  <Override PartName="/ppt/notesSlides/notesSlide1331.xml" ContentType="application/vnd.openxmlformats-officedocument.presentationml.notesSlide+xml"/>
  <Override PartName="/ppt/notesSlides/notesSlide1332.xml" ContentType="application/vnd.openxmlformats-officedocument.presentationml.notesSlide+xml"/>
  <Override PartName="/ppt/notesSlides/notesSlide1333.xml" ContentType="application/vnd.openxmlformats-officedocument.presentationml.notesSlide+xml"/>
  <Override PartName="/ppt/notesSlides/notesSlide1334.xml" ContentType="application/vnd.openxmlformats-officedocument.presentationml.notesSlide+xml"/>
  <Override PartName="/ppt/notesSlides/notesSlide1335.xml" ContentType="application/vnd.openxmlformats-officedocument.presentationml.notesSlide+xml"/>
  <Override PartName="/ppt/notesSlides/notesSlide1336.xml" ContentType="application/vnd.openxmlformats-officedocument.presentationml.notesSlide+xml"/>
  <Override PartName="/ppt/notesSlides/notesSlide1337.xml" ContentType="application/vnd.openxmlformats-officedocument.presentationml.notesSlide+xml"/>
  <Override PartName="/ppt/notesSlides/notesSlide1338.xml" ContentType="application/vnd.openxmlformats-officedocument.presentationml.notesSlide+xml"/>
  <Override PartName="/ppt/notesSlides/notesSlide1339.xml" ContentType="application/vnd.openxmlformats-officedocument.presentationml.notesSlide+xml"/>
  <Override PartName="/ppt/notesSlides/notesSlide134.xml" ContentType="application/vnd.openxmlformats-officedocument.presentationml.notesSlide+xml"/>
  <Override PartName="/ppt/notesSlides/notesSlide1340.xml" ContentType="application/vnd.openxmlformats-officedocument.presentationml.notesSlide+xml"/>
  <Override PartName="/ppt/notesSlides/notesSlide1341.xml" ContentType="application/vnd.openxmlformats-officedocument.presentationml.notesSlide+xml"/>
  <Override PartName="/ppt/notesSlides/notesSlide1342.xml" ContentType="application/vnd.openxmlformats-officedocument.presentationml.notesSlide+xml"/>
  <Override PartName="/ppt/notesSlides/notesSlide1343.xml" ContentType="application/vnd.openxmlformats-officedocument.presentationml.notesSlide+xml"/>
  <Override PartName="/ppt/notesSlides/notesSlide1344.xml" ContentType="application/vnd.openxmlformats-officedocument.presentationml.notesSlide+xml"/>
  <Override PartName="/ppt/notesSlides/notesSlide1345.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13.xml" ContentType="application/vnd.openxmlformats-officedocument.presentationml.slide+xml"/>
  <Override PartName="/ppt/slides/slide2014.xml" ContentType="application/vnd.openxmlformats-officedocument.presentationml.slide+xml"/>
  <Override PartName="/ppt/slides/slide2015.xml" ContentType="application/vnd.openxmlformats-officedocument.presentationml.slide+xml"/>
  <Override PartName="/ppt/slides/slide2016.xml" ContentType="application/vnd.openxmlformats-officedocument.presentationml.slide+xml"/>
  <Override PartName="/ppt/slides/slide2017.xml" ContentType="application/vnd.openxmlformats-officedocument.presentationml.slide+xml"/>
  <Override PartName="/ppt/slides/slide2018.xml" ContentType="application/vnd.openxmlformats-officedocument.presentationml.slide+xml"/>
  <Override PartName="/ppt/slides/slide2019.xml" ContentType="application/vnd.openxmlformats-officedocument.presentationml.slide+xml"/>
  <Override PartName="/ppt/slides/slide202.xml" ContentType="application/vnd.openxmlformats-officedocument.presentationml.slide+xml"/>
  <Override PartName="/ppt/slides/slide2020.xml" ContentType="application/vnd.openxmlformats-officedocument.presentationml.slide+xml"/>
  <Override PartName="/ppt/slides/slide2021.xml" ContentType="application/vnd.openxmlformats-officedocument.presentationml.slide+xml"/>
  <Override PartName="/ppt/slides/slide2022.xml" ContentType="application/vnd.openxmlformats-officedocument.presentationml.slide+xml"/>
  <Override PartName="/ppt/slides/slide2023.xml" ContentType="application/vnd.openxmlformats-officedocument.presentationml.slide+xml"/>
  <Override PartName="/ppt/slides/slide2024.xml" ContentType="application/vnd.openxmlformats-officedocument.presentationml.slide+xml"/>
  <Override PartName="/ppt/slides/slide2025.xml" ContentType="application/vnd.openxmlformats-officedocument.presentationml.slide+xml"/>
  <Override PartName="/ppt/slides/slide2026.xml" ContentType="application/vnd.openxmlformats-officedocument.presentationml.slide+xml"/>
  <Override PartName="/ppt/slides/slide2027.xml" ContentType="application/vnd.openxmlformats-officedocument.presentationml.slide+xml"/>
  <Override PartName="/ppt/slides/slide2028.xml" ContentType="application/vnd.openxmlformats-officedocument.presentationml.slide+xml"/>
  <Override PartName="/ppt/slides/slide2029.xml" ContentType="application/vnd.openxmlformats-officedocument.presentationml.slide+xml"/>
  <Override PartName="/ppt/slides/slide203.xml" ContentType="application/vnd.openxmlformats-officedocument.presentationml.slide+xml"/>
  <Override PartName="/ppt/slides/slide2030.xml" ContentType="application/vnd.openxmlformats-officedocument.presentationml.slide+xml"/>
  <Override PartName="/ppt/slides/slide2031.xml" ContentType="application/vnd.openxmlformats-officedocument.presentationml.slide+xml"/>
  <Override PartName="/ppt/slides/slide2032.xml" ContentType="application/vnd.openxmlformats-officedocument.presentationml.slide+xml"/>
  <Override PartName="/ppt/slides/slide2033.xml" ContentType="application/vnd.openxmlformats-officedocument.presentationml.slide+xml"/>
  <Override PartName="/ppt/slides/slide2034.xml" ContentType="application/vnd.openxmlformats-officedocument.presentationml.slide+xml"/>
  <Override PartName="/ppt/slides/slide2035.xml" ContentType="application/vnd.openxmlformats-officedocument.presentationml.slide+xml"/>
  <Override PartName="/ppt/slides/slide2036.xml" ContentType="application/vnd.openxmlformats-officedocument.presentationml.slide+xml"/>
  <Override PartName="/ppt/slides/slide2037.xml" ContentType="application/vnd.openxmlformats-officedocument.presentationml.slide+xml"/>
  <Override PartName="/ppt/slides/slide2038.xml" ContentType="application/vnd.openxmlformats-officedocument.presentationml.slide+xml"/>
  <Override PartName="/ppt/slides/slide2039.xml" ContentType="application/vnd.openxmlformats-officedocument.presentationml.slide+xml"/>
  <Override PartName="/ppt/slides/slide204.xml" ContentType="application/vnd.openxmlformats-officedocument.presentationml.slide+xml"/>
  <Override PartName="/ppt/slides/slide2040.xml" ContentType="application/vnd.openxmlformats-officedocument.presentationml.slide+xml"/>
  <Override PartName="/ppt/slides/slide2041.xml" ContentType="application/vnd.openxmlformats-officedocument.presentationml.slide+xml"/>
  <Override PartName="/ppt/slides/slide2042.xml" ContentType="application/vnd.openxmlformats-officedocument.presentationml.slide+xml"/>
  <Override PartName="/ppt/slides/slide2043.xml" ContentType="application/vnd.openxmlformats-officedocument.presentationml.slide+xml"/>
  <Override PartName="/ppt/slides/slide2044.xml" ContentType="application/vnd.openxmlformats-officedocument.presentationml.slide+xml"/>
  <Override PartName="/ppt/slides/slide2045.xml" ContentType="application/vnd.openxmlformats-officedocument.presentationml.slide+xml"/>
  <Override PartName="/ppt/slides/slide2046.xml" ContentType="application/vnd.openxmlformats-officedocument.presentationml.slide+xml"/>
  <Override PartName="/ppt/slides/slide2047.xml" ContentType="application/vnd.openxmlformats-officedocument.presentationml.slide+xml"/>
  <Override PartName="/ppt/slides/slide2048.xml" ContentType="application/vnd.openxmlformats-officedocument.presentationml.slide+xml"/>
  <Override PartName="/ppt/slides/slide2049.xml" ContentType="application/vnd.openxmlformats-officedocument.presentationml.slide+xml"/>
  <Override PartName="/ppt/slides/slide205.xml" ContentType="application/vnd.openxmlformats-officedocument.presentationml.slide+xml"/>
  <Override PartName="/ppt/slides/slide2050.xml" ContentType="application/vnd.openxmlformats-officedocument.presentationml.slide+xml"/>
  <Override PartName="/ppt/slides/slide2051.xml" ContentType="application/vnd.openxmlformats-officedocument.presentationml.slide+xml"/>
  <Override PartName="/ppt/slides/slide2052.xml" ContentType="application/vnd.openxmlformats-officedocument.presentationml.slide+xml"/>
  <Override PartName="/ppt/slides/slide2053.xml" ContentType="application/vnd.openxmlformats-officedocument.presentationml.slide+xml"/>
  <Override PartName="/ppt/slides/slide2054.xml" ContentType="application/vnd.openxmlformats-officedocument.presentationml.slide+xml"/>
  <Override PartName="/ppt/slides/slide2055.xml" ContentType="application/vnd.openxmlformats-officedocument.presentationml.slide+xml"/>
  <Override PartName="/ppt/slides/slide2056.xml" ContentType="application/vnd.openxmlformats-officedocument.presentationml.slide+xml"/>
  <Override PartName="/ppt/slides/slide2057.xml" ContentType="application/vnd.openxmlformats-officedocument.presentationml.slide+xml"/>
  <Override PartName="/ppt/slides/slide2058.xml" ContentType="application/vnd.openxmlformats-officedocument.presentationml.slide+xml"/>
  <Override PartName="/ppt/slides/slide2059.xml" ContentType="application/vnd.openxmlformats-officedocument.presentationml.slide+xml"/>
  <Override PartName="/ppt/slides/slide206.xml" ContentType="application/vnd.openxmlformats-officedocument.presentationml.slide+xml"/>
  <Override PartName="/ppt/slides/slide2060.xml" ContentType="application/vnd.openxmlformats-officedocument.presentationml.slide+xml"/>
  <Override PartName="/ppt/slides/slide2061.xml" ContentType="application/vnd.openxmlformats-officedocument.presentationml.slide+xml"/>
  <Override PartName="/ppt/slides/slide2062.xml" ContentType="application/vnd.openxmlformats-officedocument.presentationml.slide+xml"/>
  <Override PartName="/ppt/slides/slide2063.xml" ContentType="application/vnd.openxmlformats-officedocument.presentationml.slide+xml"/>
  <Override PartName="/ppt/slides/slide2064.xml" ContentType="application/vnd.openxmlformats-officedocument.presentationml.slide+xml"/>
  <Override PartName="/ppt/slides/slide2065.xml" ContentType="application/vnd.openxmlformats-officedocument.presentationml.slide+xml"/>
  <Override PartName="/ppt/slides/slide2066.xml" ContentType="application/vnd.openxmlformats-officedocument.presentationml.slide+xml"/>
  <Override PartName="/ppt/slides/slide2067.xml" ContentType="application/vnd.openxmlformats-officedocument.presentationml.slide+xml"/>
  <Override PartName="/ppt/slides/slide2068.xml" ContentType="application/vnd.openxmlformats-officedocument.presentationml.slide+xml"/>
  <Override PartName="/ppt/slides/slide2069.xml" ContentType="application/vnd.openxmlformats-officedocument.presentationml.slide+xml"/>
  <Override PartName="/ppt/slides/slide207.xml" ContentType="application/vnd.openxmlformats-officedocument.presentationml.slide+xml"/>
  <Override PartName="/ppt/slides/slide2070.xml" ContentType="application/vnd.openxmlformats-officedocument.presentationml.slide+xml"/>
  <Override PartName="/ppt/slides/slide2071.xml" ContentType="application/vnd.openxmlformats-officedocument.presentationml.slide+xml"/>
  <Override PartName="/ppt/slides/slide2072.xml" ContentType="application/vnd.openxmlformats-officedocument.presentationml.slide+xml"/>
  <Override PartName="/ppt/slides/slide2073.xml" ContentType="application/vnd.openxmlformats-officedocument.presentationml.slide+xml"/>
  <Override PartName="/ppt/slides/slide2074.xml" ContentType="application/vnd.openxmlformats-officedocument.presentationml.slide+xml"/>
  <Override PartName="/ppt/slides/slide2075.xml" ContentType="application/vnd.openxmlformats-officedocument.presentationml.slide+xml"/>
  <Override PartName="/ppt/slides/slide2076.xml" ContentType="application/vnd.openxmlformats-officedocument.presentationml.slide+xml"/>
  <Override PartName="/ppt/slides/slide2077.xml" ContentType="application/vnd.openxmlformats-officedocument.presentationml.slide+xml"/>
  <Override PartName="/ppt/slides/slide2078.xml" ContentType="application/vnd.openxmlformats-officedocument.presentationml.slide+xml"/>
  <Override PartName="/ppt/slides/slide2079.xml" ContentType="application/vnd.openxmlformats-officedocument.presentationml.slide+xml"/>
  <Override PartName="/ppt/slides/slide208.xml" ContentType="application/vnd.openxmlformats-officedocument.presentationml.slide+xml"/>
  <Override PartName="/ppt/slides/slide2080.xml" ContentType="application/vnd.openxmlformats-officedocument.presentationml.slide+xml"/>
  <Override PartName="/ppt/slides/slide2081.xml" ContentType="application/vnd.openxmlformats-officedocument.presentationml.slide+xml"/>
  <Override PartName="/ppt/slides/slide2082.xml" ContentType="application/vnd.openxmlformats-officedocument.presentationml.slide+xml"/>
  <Override PartName="/ppt/slides/slide2083.xml" ContentType="application/vnd.openxmlformats-officedocument.presentationml.slide+xml"/>
  <Override PartName="/ppt/slides/slide2084.xml" ContentType="application/vnd.openxmlformats-officedocument.presentationml.slide+xml"/>
  <Override PartName="/ppt/slides/slide2085.xml" ContentType="application/vnd.openxmlformats-officedocument.presentationml.slide+xml"/>
  <Override PartName="/ppt/slides/slide2086.xml" ContentType="application/vnd.openxmlformats-officedocument.presentationml.slide+xml"/>
  <Override PartName="/ppt/slides/slide2087.xml" ContentType="application/vnd.openxmlformats-officedocument.presentationml.slide+xml"/>
  <Override PartName="/ppt/slides/slide2088.xml" ContentType="application/vnd.openxmlformats-officedocument.presentationml.slide+xml"/>
  <Override PartName="/ppt/slides/slide2089.xml" ContentType="application/vnd.openxmlformats-officedocument.presentationml.slide+xml"/>
  <Override PartName="/ppt/slides/slide209.xml" ContentType="application/vnd.openxmlformats-officedocument.presentationml.slide+xml"/>
  <Override PartName="/ppt/slides/slide2090.xml" ContentType="application/vnd.openxmlformats-officedocument.presentationml.slide+xml"/>
  <Override PartName="/ppt/slides/slide2091.xml" ContentType="application/vnd.openxmlformats-officedocument.presentationml.slide+xml"/>
  <Override PartName="/ppt/slides/slide2092.xml" ContentType="application/vnd.openxmlformats-officedocument.presentationml.slide+xml"/>
  <Override PartName="/ppt/slides/slide2093.xml" ContentType="application/vnd.openxmlformats-officedocument.presentationml.slide+xml"/>
  <Override PartName="/ppt/slides/slide2094.xml" ContentType="application/vnd.openxmlformats-officedocument.presentationml.slide+xml"/>
  <Override PartName="/ppt/slides/slide2095.xml" ContentType="application/vnd.openxmlformats-officedocument.presentationml.slide+xml"/>
  <Override PartName="/ppt/slides/slide2096.xml" ContentType="application/vnd.openxmlformats-officedocument.presentationml.slide+xml"/>
  <Override PartName="/ppt/slides/slide2097.xml" ContentType="application/vnd.openxmlformats-officedocument.presentationml.slide+xml"/>
  <Override PartName="/ppt/slides/slide2098.xml" ContentType="application/vnd.openxmlformats-officedocument.presentationml.slide+xml"/>
  <Override PartName="/ppt/slides/slide209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00.xml" ContentType="application/vnd.openxmlformats-officedocument.presentationml.slide+xml"/>
  <Override PartName="/ppt/slides/slide2101.xml" ContentType="application/vnd.openxmlformats-officedocument.presentationml.slide+xml"/>
  <Override PartName="/ppt/slides/slide2102.xml" ContentType="application/vnd.openxmlformats-officedocument.presentationml.slide+xml"/>
  <Override PartName="/ppt/slides/slide2103.xml" ContentType="application/vnd.openxmlformats-officedocument.presentationml.slide+xml"/>
  <Override PartName="/ppt/slides/slide2104.xml" ContentType="application/vnd.openxmlformats-officedocument.presentationml.slide+xml"/>
  <Override PartName="/ppt/slides/slide2105.xml" ContentType="application/vnd.openxmlformats-officedocument.presentationml.slide+xml"/>
  <Override PartName="/ppt/slides/slide2106.xml" ContentType="application/vnd.openxmlformats-officedocument.presentationml.slide+xml"/>
  <Override PartName="/ppt/slides/slide2107.xml" ContentType="application/vnd.openxmlformats-officedocument.presentationml.slide+xml"/>
  <Override PartName="/ppt/slides/slide2108.xml" ContentType="application/vnd.openxmlformats-officedocument.presentationml.slide+xml"/>
  <Override PartName="/ppt/slides/slide2109.xml" ContentType="application/vnd.openxmlformats-officedocument.presentationml.slide+xml"/>
  <Override PartName="/ppt/slides/slide211.xml" ContentType="application/vnd.openxmlformats-officedocument.presentationml.slide+xml"/>
  <Override PartName="/ppt/slides/slide2110.xml" ContentType="application/vnd.openxmlformats-officedocument.presentationml.slide+xml"/>
  <Override PartName="/ppt/slides/slide2111.xml" ContentType="application/vnd.openxmlformats-officedocument.presentationml.slide+xml"/>
  <Override PartName="/ppt/slides/slide2112.xml" ContentType="application/vnd.openxmlformats-officedocument.presentationml.slide+xml"/>
  <Override PartName="/ppt/slides/slide2113.xml" ContentType="application/vnd.openxmlformats-officedocument.presentationml.slide+xml"/>
  <Override PartName="/ppt/slides/slide2114.xml" ContentType="application/vnd.openxmlformats-officedocument.presentationml.slide+xml"/>
  <Override PartName="/ppt/slides/slide2115.xml" ContentType="application/vnd.openxmlformats-officedocument.presentationml.slide+xml"/>
  <Override PartName="/ppt/slides/slide2116.xml" ContentType="application/vnd.openxmlformats-officedocument.presentationml.slide+xml"/>
  <Override PartName="/ppt/slides/slide2117.xml" ContentType="application/vnd.openxmlformats-officedocument.presentationml.slide+xml"/>
  <Override PartName="/ppt/slides/slide2118.xml" ContentType="application/vnd.openxmlformats-officedocument.presentationml.slide+xml"/>
  <Override PartName="/ppt/slides/slide2119.xml" ContentType="application/vnd.openxmlformats-officedocument.presentationml.slide+xml"/>
  <Override PartName="/ppt/slides/slide212.xml" ContentType="application/vnd.openxmlformats-officedocument.presentationml.slide+xml"/>
  <Override PartName="/ppt/slides/slide2120.xml" ContentType="application/vnd.openxmlformats-officedocument.presentationml.slide+xml"/>
  <Override PartName="/ppt/slides/slide2121.xml" ContentType="application/vnd.openxmlformats-officedocument.presentationml.slide+xml"/>
  <Override PartName="/ppt/slides/slide2122.xml" ContentType="application/vnd.openxmlformats-officedocument.presentationml.slide+xml"/>
  <Override PartName="/ppt/slides/slide2123.xml" ContentType="application/vnd.openxmlformats-officedocument.presentationml.slide+xml"/>
  <Override PartName="/ppt/slides/slide2124.xml" ContentType="application/vnd.openxmlformats-officedocument.presentationml.slide+xml"/>
  <Override PartName="/ppt/slides/slide2125.xml" ContentType="application/vnd.openxmlformats-officedocument.presentationml.slide+xml"/>
  <Override PartName="/ppt/slides/slide2126.xml" ContentType="application/vnd.openxmlformats-officedocument.presentationml.slide+xml"/>
  <Override PartName="/ppt/slides/slide2127.xml" ContentType="application/vnd.openxmlformats-officedocument.presentationml.slide+xml"/>
  <Override PartName="/ppt/slides/slide2128.xml" ContentType="application/vnd.openxmlformats-officedocument.presentationml.slide+xml"/>
  <Override PartName="/ppt/slides/slide2129.xml" ContentType="application/vnd.openxmlformats-officedocument.presentationml.slide+xml"/>
  <Override PartName="/ppt/slides/slide213.xml" ContentType="application/vnd.openxmlformats-officedocument.presentationml.slide+xml"/>
  <Override PartName="/ppt/slides/slide2130.xml" ContentType="application/vnd.openxmlformats-officedocument.presentationml.slide+xml"/>
  <Override PartName="/ppt/slides/slide2131.xml" ContentType="application/vnd.openxmlformats-officedocument.presentationml.slide+xml"/>
  <Override PartName="/ppt/slides/slide2132.xml" ContentType="application/vnd.openxmlformats-officedocument.presentationml.slide+xml"/>
  <Override PartName="/ppt/slides/slide2133.xml" ContentType="application/vnd.openxmlformats-officedocument.presentationml.slide+xml"/>
  <Override PartName="/ppt/slides/slide2134.xml" ContentType="application/vnd.openxmlformats-officedocument.presentationml.slide+xml"/>
  <Override PartName="/ppt/slides/slide2135.xml" ContentType="application/vnd.openxmlformats-officedocument.presentationml.slide+xml"/>
  <Override PartName="/ppt/slides/slide2136.xml" ContentType="application/vnd.openxmlformats-officedocument.presentationml.slide+xml"/>
  <Override PartName="/ppt/slides/slide2137.xml" ContentType="application/vnd.openxmlformats-officedocument.presentationml.slide+xml"/>
  <Override PartName="/ppt/slides/slide2138.xml" ContentType="application/vnd.openxmlformats-officedocument.presentationml.slide+xml"/>
  <Override PartName="/ppt/slides/slide2139.xml" ContentType="application/vnd.openxmlformats-officedocument.presentationml.slide+xml"/>
  <Override PartName="/ppt/slides/slide214.xml" ContentType="application/vnd.openxmlformats-officedocument.presentationml.slide+xml"/>
  <Override PartName="/ppt/slides/slide2140.xml" ContentType="application/vnd.openxmlformats-officedocument.presentationml.slide+xml"/>
  <Override PartName="/ppt/slides/slide2141.xml" ContentType="application/vnd.openxmlformats-officedocument.presentationml.slide+xml"/>
  <Override PartName="/ppt/slides/slide2142.xml" ContentType="application/vnd.openxmlformats-officedocument.presentationml.slide+xml"/>
  <Override PartName="/ppt/slides/slide2143.xml" ContentType="application/vnd.openxmlformats-officedocument.presentationml.slide+xml"/>
  <Override PartName="/ppt/slides/slide2144.xml" ContentType="application/vnd.openxmlformats-officedocument.presentationml.slide+xml"/>
  <Override PartName="/ppt/slides/slide2145.xml" ContentType="application/vnd.openxmlformats-officedocument.presentationml.slide+xml"/>
  <Override PartName="/ppt/slides/slide2146.xml" ContentType="application/vnd.openxmlformats-officedocument.presentationml.slide+xml"/>
  <Override PartName="/ppt/slides/slide2147.xml" ContentType="application/vnd.openxmlformats-officedocument.presentationml.slide+xml"/>
  <Override PartName="/ppt/slides/slide2148.xml" ContentType="application/vnd.openxmlformats-officedocument.presentationml.slide+xml"/>
  <Override PartName="/ppt/slides/slide2149.xml" ContentType="application/vnd.openxmlformats-officedocument.presentationml.slide+xml"/>
  <Override PartName="/ppt/slides/slide215.xml" ContentType="application/vnd.openxmlformats-officedocument.presentationml.slide+xml"/>
  <Override PartName="/ppt/slides/slide2150.xml" ContentType="application/vnd.openxmlformats-officedocument.presentationml.slide+xml"/>
  <Override PartName="/ppt/slides/slide2151.xml" ContentType="application/vnd.openxmlformats-officedocument.presentationml.slide+xml"/>
  <Override PartName="/ppt/slides/slide2152.xml" ContentType="application/vnd.openxmlformats-officedocument.presentationml.slide+xml"/>
  <Override PartName="/ppt/slides/slide2153.xml" ContentType="application/vnd.openxmlformats-officedocument.presentationml.slide+xml"/>
  <Override PartName="/ppt/slides/slide2154.xml" ContentType="application/vnd.openxmlformats-officedocument.presentationml.slide+xml"/>
  <Override PartName="/ppt/slides/slide2155.xml" ContentType="application/vnd.openxmlformats-officedocument.presentationml.slide+xml"/>
  <Override PartName="/ppt/slides/slide2156.xml" ContentType="application/vnd.openxmlformats-officedocument.presentationml.slide+xml"/>
  <Override PartName="/ppt/slides/slide2157.xml" ContentType="application/vnd.openxmlformats-officedocument.presentationml.slide+xml"/>
  <Override PartName="/ppt/slides/slide2158.xml" ContentType="application/vnd.openxmlformats-officedocument.presentationml.slide+xml"/>
  <Override PartName="/ppt/slides/slide2159.xml" ContentType="application/vnd.openxmlformats-officedocument.presentationml.slide+xml"/>
  <Override PartName="/ppt/slides/slide216.xml" ContentType="application/vnd.openxmlformats-officedocument.presentationml.slide+xml"/>
  <Override PartName="/ppt/slides/slide2160.xml" ContentType="application/vnd.openxmlformats-officedocument.presentationml.slide+xml"/>
  <Override PartName="/ppt/slides/slide2161.xml" ContentType="application/vnd.openxmlformats-officedocument.presentationml.slide+xml"/>
  <Override PartName="/ppt/slides/slide2162.xml" ContentType="application/vnd.openxmlformats-officedocument.presentationml.slide+xml"/>
  <Override PartName="/ppt/slides/slide2163.xml" ContentType="application/vnd.openxmlformats-officedocument.presentationml.slide+xml"/>
  <Override PartName="/ppt/slides/slide2164.xml" ContentType="application/vnd.openxmlformats-officedocument.presentationml.slide+xml"/>
  <Override PartName="/ppt/slides/slide2165.xml" ContentType="application/vnd.openxmlformats-officedocument.presentationml.slide+xml"/>
  <Override PartName="/ppt/slides/slide2166.xml" ContentType="application/vnd.openxmlformats-officedocument.presentationml.slide+xml"/>
  <Override PartName="/ppt/slides/slide2167.xml" ContentType="application/vnd.openxmlformats-officedocument.presentationml.slide+xml"/>
  <Override PartName="/ppt/slides/slide2168.xml" ContentType="application/vnd.openxmlformats-officedocument.presentationml.slide+xml"/>
  <Override PartName="/ppt/slides/slide2169.xml" ContentType="application/vnd.openxmlformats-officedocument.presentationml.slide+xml"/>
  <Override PartName="/ppt/slides/slide217.xml" ContentType="application/vnd.openxmlformats-officedocument.presentationml.slide+xml"/>
  <Override PartName="/ppt/slides/slide2170.xml" ContentType="application/vnd.openxmlformats-officedocument.presentationml.slide+xml"/>
  <Override PartName="/ppt/slides/slide2171.xml" ContentType="application/vnd.openxmlformats-officedocument.presentationml.slide+xml"/>
  <Override PartName="/ppt/slides/slide2172.xml" ContentType="application/vnd.openxmlformats-officedocument.presentationml.slide+xml"/>
  <Override PartName="/ppt/slides/slide2173.xml" ContentType="application/vnd.openxmlformats-officedocument.presentationml.slide+xml"/>
  <Override PartName="/ppt/slides/slide2174.xml" ContentType="application/vnd.openxmlformats-officedocument.presentationml.slide+xml"/>
  <Override PartName="/ppt/slides/slide2175.xml" ContentType="application/vnd.openxmlformats-officedocument.presentationml.slide+xml"/>
  <Override PartName="/ppt/slides/slide2176.xml" ContentType="application/vnd.openxmlformats-officedocument.presentationml.slide+xml"/>
  <Override PartName="/ppt/slides/slide2177.xml" ContentType="application/vnd.openxmlformats-officedocument.presentationml.slide+xml"/>
  <Override PartName="/ppt/slides/slide2178.xml" ContentType="application/vnd.openxmlformats-officedocument.presentationml.slide+xml"/>
  <Override PartName="/ppt/slides/slide2179.xml" ContentType="application/vnd.openxmlformats-officedocument.presentationml.slide+xml"/>
  <Override PartName="/ppt/slides/slide218.xml" ContentType="application/vnd.openxmlformats-officedocument.presentationml.slide+xml"/>
  <Override PartName="/ppt/slides/slide2180.xml" ContentType="application/vnd.openxmlformats-officedocument.presentationml.slide+xml"/>
  <Override PartName="/ppt/slides/slide2181.xml" ContentType="application/vnd.openxmlformats-officedocument.presentationml.slide+xml"/>
  <Override PartName="/ppt/slides/slide2182.xml" ContentType="application/vnd.openxmlformats-officedocument.presentationml.slide+xml"/>
  <Override PartName="/ppt/slides/slide2183.xml" ContentType="application/vnd.openxmlformats-officedocument.presentationml.slide+xml"/>
  <Override PartName="/ppt/slides/slide2184.xml" ContentType="application/vnd.openxmlformats-officedocument.presentationml.slide+xml"/>
  <Override PartName="/ppt/slides/slide2185.xml" ContentType="application/vnd.openxmlformats-officedocument.presentationml.slide+xml"/>
  <Override PartName="/ppt/slides/slide2186.xml" ContentType="application/vnd.openxmlformats-officedocument.presentationml.slide+xml"/>
  <Override PartName="/ppt/slides/slide2187.xml" ContentType="application/vnd.openxmlformats-officedocument.presentationml.slide+xml"/>
  <Override PartName="/ppt/slides/slide2188.xml" ContentType="application/vnd.openxmlformats-officedocument.presentationml.slide+xml"/>
  <Override PartName="/ppt/slides/slide2189.xml" ContentType="application/vnd.openxmlformats-officedocument.presentationml.slide+xml"/>
  <Override PartName="/ppt/slides/slide219.xml" ContentType="application/vnd.openxmlformats-officedocument.presentationml.slide+xml"/>
  <Override PartName="/ppt/slides/slide2190.xml" ContentType="application/vnd.openxmlformats-officedocument.presentationml.slide+xml"/>
  <Override PartName="/ppt/slides/slide2191.xml" ContentType="application/vnd.openxmlformats-officedocument.presentationml.slide+xml"/>
  <Override PartName="/ppt/slides/slide2192.xml" ContentType="application/vnd.openxmlformats-officedocument.presentationml.slide+xml"/>
  <Override PartName="/ppt/slides/slide2193.xml" ContentType="application/vnd.openxmlformats-officedocument.presentationml.slide+xml"/>
  <Override PartName="/ppt/slides/slide2194.xml" ContentType="application/vnd.openxmlformats-officedocument.presentationml.slide+xml"/>
  <Override PartName="/ppt/slides/slide2195.xml" ContentType="application/vnd.openxmlformats-officedocument.presentationml.slide+xml"/>
  <Override PartName="/ppt/slides/slide2196.xml" ContentType="application/vnd.openxmlformats-officedocument.presentationml.slide+xml"/>
  <Override PartName="/ppt/slides/slide2197.xml" ContentType="application/vnd.openxmlformats-officedocument.presentationml.slide+xml"/>
  <Override PartName="/ppt/slides/slide2198.xml" ContentType="application/vnd.openxmlformats-officedocument.presentationml.slide+xml"/>
  <Override PartName="/ppt/slides/slide219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00.xml" ContentType="application/vnd.openxmlformats-officedocument.presentationml.slide+xml"/>
  <Override PartName="/ppt/slides/slide2201.xml" ContentType="application/vnd.openxmlformats-officedocument.presentationml.slide+xml"/>
  <Override PartName="/ppt/slides/slide2202.xml" ContentType="application/vnd.openxmlformats-officedocument.presentationml.slide+xml"/>
  <Override PartName="/ppt/slides/slide2203.xml" ContentType="application/vnd.openxmlformats-officedocument.presentationml.slide+xml"/>
  <Override PartName="/ppt/slides/slide2204.xml" ContentType="application/vnd.openxmlformats-officedocument.presentationml.slide+xml"/>
  <Override PartName="/ppt/slides/slide2205.xml" ContentType="application/vnd.openxmlformats-officedocument.presentationml.slide+xml"/>
  <Override PartName="/ppt/slides/slide2206.xml" ContentType="application/vnd.openxmlformats-officedocument.presentationml.slide+xml"/>
  <Override PartName="/ppt/slides/slide2207.xml" ContentType="application/vnd.openxmlformats-officedocument.presentationml.slide+xml"/>
  <Override PartName="/ppt/slides/slide2208.xml" ContentType="application/vnd.openxmlformats-officedocument.presentationml.slide+xml"/>
  <Override PartName="/ppt/slides/slide2209.xml" ContentType="application/vnd.openxmlformats-officedocument.presentationml.slide+xml"/>
  <Override PartName="/ppt/slides/slide221.xml" ContentType="application/vnd.openxmlformats-officedocument.presentationml.slide+xml"/>
  <Override PartName="/ppt/slides/slide2210.xml" ContentType="application/vnd.openxmlformats-officedocument.presentationml.slide+xml"/>
  <Override PartName="/ppt/slides/slide2211.xml" ContentType="application/vnd.openxmlformats-officedocument.presentationml.slide+xml"/>
  <Override PartName="/ppt/slides/slide2212.xml" ContentType="application/vnd.openxmlformats-officedocument.presentationml.slide+xml"/>
  <Override PartName="/ppt/slides/slide2213.xml" ContentType="application/vnd.openxmlformats-officedocument.presentationml.slide+xml"/>
  <Override PartName="/ppt/slides/slide2214.xml" ContentType="application/vnd.openxmlformats-officedocument.presentationml.slide+xml"/>
  <Override PartName="/ppt/slides/slide2215.xml" ContentType="application/vnd.openxmlformats-officedocument.presentationml.slide+xml"/>
  <Override PartName="/ppt/slides/slide2216.xml" ContentType="application/vnd.openxmlformats-officedocument.presentationml.slide+xml"/>
  <Override PartName="/ppt/slides/slide2217.xml" ContentType="application/vnd.openxmlformats-officedocument.presentationml.slide+xml"/>
  <Override PartName="/ppt/slides/slide2218.xml" ContentType="application/vnd.openxmlformats-officedocument.presentationml.slide+xml"/>
  <Override PartName="/ppt/slides/slide2219.xml" ContentType="application/vnd.openxmlformats-officedocument.presentationml.slide+xml"/>
  <Override PartName="/ppt/slides/slide222.xml" ContentType="application/vnd.openxmlformats-officedocument.presentationml.slide+xml"/>
  <Override PartName="/ppt/slides/slide2220.xml" ContentType="application/vnd.openxmlformats-officedocument.presentationml.slide+xml"/>
  <Override PartName="/ppt/slides/slide2221.xml" ContentType="application/vnd.openxmlformats-officedocument.presentationml.slide+xml"/>
  <Override PartName="/ppt/slides/slide2222.xml" ContentType="application/vnd.openxmlformats-officedocument.presentationml.slide+xml"/>
  <Override PartName="/ppt/slides/slide2223.xml" ContentType="application/vnd.openxmlformats-officedocument.presentationml.slide+xml"/>
  <Override PartName="/ppt/slides/slide2224.xml" ContentType="application/vnd.openxmlformats-officedocument.presentationml.slide+xml"/>
  <Override PartName="/ppt/slides/slide2225.xml" ContentType="application/vnd.openxmlformats-officedocument.presentationml.slide+xml"/>
  <Override PartName="/ppt/slides/slide2226.xml" ContentType="application/vnd.openxmlformats-officedocument.presentationml.slide+xml"/>
  <Override PartName="/ppt/slides/slide2227.xml" ContentType="application/vnd.openxmlformats-officedocument.presentationml.slide+xml"/>
  <Override PartName="/ppt/slides/slide2228.xml" ContentType="application/vnd.openxmlformats-officedocument.presentationml.slide+xml"/>
  <Override PartName="/ppt/slides/slide2229.xml" ContentType="application/vnd.openxmlformats-officedocument.presentationml.slide+xml"/>
  <Override PartName="/ppt/slides/slide223.xml" ContentType="application/vnd.openxmlformats-officedocument.presentationml.slide+xml"/>
  <Override PartName="/ppt/slides/slide2230.xml" ContentType="application/vnd.openxmlformats-officedocument.presentationml.slide+xml"/>
  <Override PartName="/ppt/slides/slide2231.xml" ContentType="application/vnd.openxmlformats-officedocument.presentationml.slide+xml"/>
  <Override PartName="/ppt/slides/slide2232.xml" ContentType="application/vnd.openxmlformats-officedocument.presentationml.slide+xml"/>
  <Override PartName="/ppt/slides/slide2233.xml" ContentType="application/vnd.openxmlformats-officedocument.presentationml.slide+xml"/>
  <Override PartName="/ppt/slides/slide2234.xml" ContentType="application/vnd.openxmlformats-officedocument.presentationml.slide+xml"/>
  <Override PartName="/ppt/slides/slide2235.xml" ContentType="application/vnd.openxmlformats-officedocument.presentationml.slide+xml"/>
  <Override PartName="/ppt/slides/slide2236.xml" ContentType="application/vnd.openxmlformats-officedocument.presentationml.slide+xml"/>
  <Override PartName="/ppt/slides/slide2237.xml" ContentType="application/vnd.openxmlformats-officedocument.presentationml.slide+xml"/>
  <Override PartName="/ppt/slides/slide2238.xml" ContentType="application/vnd.openxmlformats-officedocument.presentationml.slide+xml"/>
  <Override PartName="/ppt/slides/slide2239.xml" ContentType="application/vnd.openxmlformats-officedocument.presentationml.slide+xml"/>
  <Override PartName="/ppt/slides/slide224.xml" ContentType="application/vnd.openxmlformats-officedocument.presentationml.slide+xml"/>
  <Override PartName="/ppt/slides/slide2240.xml" ContentType="application/vnd.openxmlformats-officedocument.presentationml.slide+xml"/>
  <Override PartName="/ppt/slides/slide2241.xml" ContentType="application/vnd.openxmlformats-officedocument.presentationml.slide+xml"/>
  <Override PartName="/ppt/slides/slide2242.xml" ContentType="application/vnd.openxmlformats-officedocument.presentationml.slide+xml"/>
  <Override PartName="/ppt/slides/slide2243.xml" ContentType="application/vnd.openxmlformats-officedocument.presentationml.slide+xml"/>
  <Override PartName="/ppt/slides/slide2244.xml" ContentType="application/vnd.openxmlformats-officedocument.presentationml.slide+xml"/>
  <Override PartName="/ppt/slides/slide2245.xml" ContentType="application/vnd.openxmlformats-officedocument.presentationml.slide+xml"/>
  <Override PartName="/ppt/slides/slide2246.xml" ContentType="application/vnd.openxmlformats-officedocument.presentationml.slide+xml"/>
  <Override PartName="/ppt/slides/slide2247.xml" ContentType="application/vnd.openxmlformats-officedocument.presentationml.slide+xml"/>
  <Override PartName="/ppt/slides/slide2248.xml" ContentType="application/vnd.openxmlformats-officedocument.presentationml.slide+xml"/>
  <Override PartName="/ppt/slides/slide2249.xml" ContentType="application/vnd.openxmlformats-officedocument.presentationml.slide+xml"/>
  <Override PartName="/ppt/slides/slide225.xml" ContentType="application/vnd.openxmlformats-officedocument.presentationml.slide+xml"/>
  <Override PartName="/ppt/slides/slide2250.xml" ContentType="application/vnd.openxmlformats-officedocument.presentationml.slide+xml"/>
  <Override PartName="/ppt/slides/slide2251.xml" ContentType="application/vnd.openxmlformats-officedocument.presentationml.slide+xml"/>
  <Override PartName="/ppt/slides/slide2252.xml" ContentType="application/vnd.openxmlformats-officedocument.presentationml.slide+xml"/>
  <Override PartName="/ppt/slides/slide2253.xml" ContentType="application/vnd.openxmlformats-officedocument.presentationml.slide+xml"/>
  <Override PartName="/ppt/slides/slide2254.xml" ContentType="application/vnd.openxmlformats-officedocument.presentationml.slide+xml"/>
  <Override PartName="/ppt/slides/slide2255.xml" ContentType="application/vnd.openxmlformats-officedocument.presentationml.slide+xml"/>
  <Override PartName="/ppt/slides/slide2256.xml" ContentType="application/vnd.openxmlformats-officedocument.presentationml.slide+xml"/>
  <Override PartName="/ppt/slides/slide2257.xml" ContentType="application/vnd.openxmlformats-officedocument.presentationml.slide+xml"/>
  <Override PartName="/ppt/slides/slide2258.xml" ContentType="application/vnd.openxmlformats-officedocument.presentationml.slide+xml"/>
  <Override PartName="/ppt/slides/slide2259.xml" ContentType="application/vnd.openxmlformats-officedocument.presentationml.slide+xml"/>
  <Override PartName="/ppt/slides/slide226.xml" ContentType="application/vnd.openxmlformats-officedocument.presentationml.slide+xml"/>
  <Override PartName="/ppt/slides/slide2260.xml" ContentType="application/vnd.openxmlformats-officedocument.presentationml.slide+xml"/>
  <Override PartName="/ppt/slides/slide2261.xml" ContentType="application/vnd.openxmlformats-officedocument.presentationml.slide+xml"/>
  <Override PartName="/ppt/slides/slide2262.xml" ContentType="application/vnd.openxmlformats-officedocument.presentationml.slide+xml"/>
  <Override PartName="/ppt/slides/slide2263.xml" ContentType="application/vnd.openxmlformats-officedocument.presentationml.slide+xml"/>
  <Override PartName="/ppt/slides/slide2264.xml" ContentType="application/vnd.openxmlformats-officedocument.presentationml.slide+xml"/>
  <Override PartName="/ppt/slides/slide2265.xml" ContentType="application/vnd.openxmlformats-officedocument.presentationml.slide+xml"/>
  <Override PartName="/ppt/slides/slide2266.xml" ContentType="application/vnd.openxmlformats-officedocument.presentationml.slide+xml"/>
  <Override PartName="/ppt/slides/slide2267.xml" ContentType="application/vnd.openxmlformats-officedocument.presentationml.slide+xml"/>
  <Override PartName="/ppt/slides/slide2268.xml" ContentType="application/vnd.openxmlformats-officedocument.presentationml.slide+xml"/>
  <Override PartName="/ppt/slides/slide2269.xml" ContentType="application/vnd.openxmlformats-officedocument.presentationml.slide+xml"/>
  <Override PartName="/ppt/slides/slide227.xml" ContentType="application/vnd.openxmlformats-officedocument.presentationml.slide+xml"/>
  <Override PartName="/ppt/slides/slide2270.xml" ContentType="application/vnd.openxmlformats-officedocument.presentationml.slide+xml"/>
  <Override PartName="/ppt/slides/slide2271.xml" ContentType="application/vnd.openxmlformats-officedocument.presentationml.slide+xml"/>
  <Override PartName="/ppt/slides/slide2272.xml" ContentType="application/vnd.openxmlformats-officedocument.presentationml.slide+xml"/>
  <Override PartName="/ppt/slides/slide2273.xml" ContentType="application/vnd.openxmlformats-officedocument.presentationml.slide+xml"/>
  <Override PartName="/ppt/slides/slide2274.xml" ContentType="application/vnd.openxmlformats-officedocument.presentationml.slide+xml"/>
  <Override PartName="/ppt/slides/slide2275.xml" ContentType="application/vnd.openxmlformats-officedocument.presentationml.slide+xml"/>
  <Override PartName="/ppt/slides/slide2276.xml" ContentType="application/vnd.openxmlformats-officedocument.presentationml.slide+xml"/>
  <Override PartName="/ppt/slides/slide2277.xml" ContentType="application/vnd.openxmlformats-officedocument.presentationml.slide+xml"/>
  <Override PartName="/ppt/slides/slide2278.xml" ContentType="application/vnd.openxmlformats-officedocument.presentationml.slide+xml"/>
  <Override PartName="/ppt/slides/slide2279.xml" ContentType="application/vnd.openxmlformats-officedocument.presentationml.slide+xml"/>
  <Override PartName="/ppt/slides/slide228.xml" ContentType="application/vnd.openxmlformats-officedocument.presentationml.slide+xml"/>
  <Override PartName="/ppt/slides/slide2280.xml" ContentType="application/vnd.openxmlformats-officedocument.presentationml.slide+xml"/>
  <Override PartName="/ppt/slides/slide2281.xml" ContentType="application/vnd.openxmlformats-officedocument.presentationml.slide+xml"/>
  <Override PartName="/ppt/slides/slide2282.xml" ContentType="application/vnd.openxmlformats-officedocument.presentationml.slide+xml"/>
  <Override PartName="/ppt/slides/slide2283.xml" ContentType="application/vnd.openxmlformats-officedocument.presentationml.slide+xml"/>
  <Override PartName="/ppt/slides/slide2284.xml" ContentType="application/vnd.openxmlformats-officedocument.presentationml.slide+xml"/>
  <Override PartName="/ppt/slides/slide2285.xml" ContentType="application/vnd.openxmlformats-officedocument.presentationml.slide+xml"/>
  <Override PartName="/ppt/slides/slide2286.xml" ContentType="application/vnd.openxmlformats-officedocument.presentationml.slide+xml"/>
  <Override PartName="/ppt/slides/slide2287.xml" ContentType="application/vnd.openxmlformats-officedocument.presentationml.slide+xml"/>
  <Override PartName="/ppt/slides/slide2288.xml" ContentType="application/vnd.openxmlformats-officedocument.presentationml.slide+xml"/>
  <Override PartName="/ppt/slides/slide2289.xml" ContentType="application/vnd.openxmlformats-officedocument.presentationml.slide+xml"/>
  <Override PartName="/ppt/slides/slide229.xml" ContentType="application/vnd.openxmlformats-officedocument.presentationml.slide+xml"/>
  <Override PartName="/ppt/slides/slide2290.xml" ContentType="application/vnd.openxmlformats-officedocument.presentationml.slide+xml"/>
  <Override PartName="/ppt/slides/slide2291.xml" ContentType="application/vnd.openxmlformats-officedocument.presentationml.slide+xml"/>
  <Override PartName="/ppt/slides/slide2292.xml" ContentType="application/vnd.openxmlformats-officedocument.presentationml.slide+xml"/>
  <Override PartName="/ppt/slides/slide2293.xml" ContentType="application/vnd.openxmlformats-officedocument.presentationml.slide+xml"/>
  <Override PartName="/ppt/slides/slide2294.xml" ContentType="application/vnd.openxmlformats-officedocument.presentationml.slide+xml"/>
  <Override PartName="/ppt/slides/slide2295.xml" ContentType="application/vnd.openxmlformats-officedocument.presentationml.slide+xml"/>
  <Override PartName="/ppt/slides/slide2296.xml" ContentType="application/vnd.openxmlformats-officedocument.presentationml.slide+xml"/>
  <Override PartName="/ppt/slides/slide2297.xml" ContentType="application/vnd.openxmlformats-officedocument.presentationml.slide+xml"/>
  <Override PartName="/ppt/slides/slide2298.xml" ContentType="application/vnd.openxmlformats-officedocument.presentationml.slide+xml"/>
  <Override PartName="/ppt/slides/slide229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00.xml" ContentType="application/vnd.openxmlformats-officedocument.presentationml.slide+xml"/>
  <Override PartName="/ppt/slides/slide2301.xml" ContentType="application/vnd.openxmlformats-officedocument.presentationml.slide+xml"/>
  <Override PartName="/ppt/slides/slide2302.xml" ContentType="application/vnd.openxmlformats-officedocument.presentationml.slide+xml"/>
  <Override PartName="/ppt/slides/slide2303.xml" ContentType="application/vnd.openxmlformats-officedocument.presentationml.slide+xml"/>
  <Override PartName="/ppt/slides/slide2304.xml" ContentType="application/vnd.openxmlformats-officedocument.presentationml.slide+xml"/>
  <Override PartName="/ppt/slides/slide2305.xml" ContentType="application/vnd.openxmlformats-officedocument.presentationml.slide+xml"/>
  <Override PartName="/ppt/slides/slide2306.xml" ContentType="application/vnd.openxmlformats-officedocument.presentationml.slide+xml"/>
  <Override PartName="/ppt/slides/slide2307.xml" ContentType="application/vnd.openxmlformats-officedocument.presentationml.slide+xml"/>
  <Override PartName="/ppt/slides/slide2308.xml" ContentType="application/vnd.openxmlformats-officedocument.presentationml.slide+xml"/>
  <Override PartName="/ppt/slides/slide2309.xml" ContentType="application/vnd.openxmlformats-officedocument.presentationml.slide+xml"/>
  <Override PartName="/ppt/slides/slide231.xml" ContentType="application/vnd.openxmlformats-officedocument.presentationml.slide+xml"/>
  <Override PartName="/ppt/slides/slide2310.xml" ContentType="application/vnd.openxmlformats-officedocument.presentationml.slide+xml"/>
  <Override PartName="/ppt/slides/slide2311.xml" ContentType="application/vnd.openxmlformats-officedocument.presentationml.slide+xml"/>
  <Override PartName="/ppt/slides/slide2312.xml" ContentType="application/vnd.openxmlformats-officedocument.presentationml.slide+xml"/>
  <Override PartName="/ppt/slides/slide2313.xml" ContentType="application/vnd.openxmlformats-officedocument.presentationml.slide+xml"/>
  <Override PartName="/ppt/slides/slide2314.xml" ContentType="application/vnd.openxmlformats-officedocument.presentationml.slide+xml"/>
  <Override PartName="/ppt/slides/slide2315.xml" ContentType="application/vnd.openxmlformats-officedocument.presentationml.slide+xml"/>
  <Override PartName="/ppt/slides/slide2316.xml" ContentType="application/vnd.openxmlformats-officedocument.presentationml.slide+xml"/>
  <Override PartName="/ppt/slides/slide2317.xml" ContentType="application/vnd.openxmlformats-officedocument.presentationml.slide+xml"/>
  <Override PartName="/ppt/slides/slide2318.xml" ContentType="application/vnd.openxmlformats-officedocument.presentationml.slide+xml"/>
  <Override PartName="/ppt/slides/slide2319.xml" ContentType="application/vnd.openxmlformats-officedocument.presentationml.slide+xml"/>
  <Override PartName="/ppt/slides/slide232.xml" ContentType="application/vnd.openxmlformats-officedocument.presentationml.slide+xml"/>
  <Override PartName="/ppt/slides/slide2320.xml" ContentType="application/vnd.openxmlformats-officedocument.presentationml.slide+xml"/>
  <Override PartName="/ppt/slides/slide2321.xml" ContentType="application/vnd.openxmlformats-officedocument.presentationml.slide+xml"/>
  <Override PartName="/ppt/slides/slide2322.xml" ContentType="application/vnd.openxmlformats-officedocument.presentationml.slide+xml"/>
  <Override PartName="/ppt/slides/slide2323.xml" ContentType="application/vnd.openxmlformats-officedocument.presentationml.slide+xml"/>
  <Override PartName="/ppt/slides/slide2324.xml" ContentType="application/vnd.openxmlformats-officedocument.presentationml.slide+xml"/>
  <Override PartName="/ppt/slides/slide2325.xml" ContentType="application/vnd.openxmlformats-officedocument.presentationml.slide+xml"/>
  <Override PartName="/ppt/slides/slide2326.xml" ContentType="application/vnd.openxmlformats-officedocument.presentationml.slide+xml"/>
  <Override PartName="/ppt/slides/slide2327.xml" ContentType="application/vnd.openxmlformats-officedocument.presentationml.slide+xml"/>
  <Override PartName="/ppt/slides/slide2328.xml" ContentType="application/vnd.openxmlformats-officedocument.presentationml.slide+xml"/>
  <Override PartName="/ppt/slides/slide2329.xml" ContentType="application/vnd.openxmlformats-officedocument.presentationml.slide+xml"/>
  <Override PartName="/ppt/slides/slide233.xml" ContentType="application/vnd.openxmlformats-officedocument.presentationml.slide+xml"/>
  <Override PartName="/ppt/slides/slide2330.xml" ContentType="application/vnd.openxmlformats-officedocument.presentationml.slide+xml"/>
  <Override PartName="/ppt/slides/slide2331.xml" ContentType="application/vnd.openxmlformats-officedocument.presentationml.slide+xml"/>
  <Override PartName="/ppt/slides/slide2332.xml" ContentType="application/vnd.openxmlformats-officedocument.presentationml.slide+xml"/>
  <Override PartName="/ppt/slides/slide2333.xml" ContentType="application/vnd.openxmlformats-officedocument.presentationml.slide+xml"/>
  <Override PartName="/ppt/slides/slide2334.xml" ContentType="application/vnd.openxmlformats-officedocument.presentationml.slide+xml"/>
  <Override PartName="/ppt/slides/slide2335.xml" ContentType="application/vnd.openxmlformats-officedocument.presentationml.slide+xml"/>
  <Override PartName="/ppt/slides/slide2336.xml" ContentType="application/vnd.openxmlformats-officedocument.presentationml.slide+xml"/>
  <Override PartName="/ppt/slides/slide2337.xml" ContentType="application/vnd.openxmlformats-officedocument.presentationml.slide+xml"/>
  <Override PartName="/ppt/slides/slide2338.xml" ContentType="application/vnd.openxmlformats-officedocument.presentationml.slide+xml"/>
  <Override PartName="/ppt/slides/slide2339.xml" ContentType="application/vnd.openxmlformats-officedocument.presentationml.slide+xml"/>
  <Override PartName="/ppt/slides/slide234.xml" ContentType="application/vnd.openxmlformats-officedocument.presentationml.slide+xml"/>
  <Override PartName="/ppt/slides/slide2340.xml" ContentType="application/vnd.openxmlformats-officedocument.presentationml.slide+xml"/>
  <Override PartName="/ppt/slides/slide2341.xml" ContentType="application/vnd.openxmlformats-officedocument.presentationml.slide+xml"/>
  <Override PartName="/ppt/slides/slide2342.xml" ContentType="application/vnd.openxmlformats-officedocument.presentationml.slide+xml"/>
  <Override PartName="/ppt/slides/slide2343.xml" ContentType="application/vnd.openxmlformats-officedocument.presentationml.slide+xml"/>
  <Override PartName="/ppt/slides/slide2344.xml" ContentType="application/vnd.openxmlformats-officedocument.presentationml.slide+xml"/>
  <Override PartName="/ppt/slides/slide2345.xml" ContentType="application/vnd.openxmlformats-officedocument.presentationml.slide+xml"/>
  <Override PartName="/ppt/slides/slide2346.xml" ContentType="application/vnd.openxmlformats-officedocument.presentationml.slide+xml"/>
  <Override PartName="/ppt/slides/slide2347.xml" ContentType="application/vnd.openxmlformats-officedocument.presentationml.slide+xml"/>
  <Override PartName="/ppt/slides/slide2348.xml" ContentType="application/vnd.openxmlformats-officedocument.presentationml.slide+xml"/>
  <Override PartName="/ppt/slides/slide2349.xml" ContentType="application/vnd.openxmlformats-officedocument.presentationml.slide+xml"/>
  <Override PartName="/ppt/slides/slide235.xml" ContentType="application/vnd.openxmlformats-officedocument.presentationml.slide+xml"/>
  <Override PartName="/ppt/slides/slide2350.xml" ContentType="application/vnd.openxmlformats-officedocument.presentationml.slide+xml"/>
  <Override PartName="/ppt/slides/slide2351.xml" ContentType="application/vnd.openxmlformats-officedocument.presentationml.slide+xml"/>
  <Override PartName="/ppt/slides/slide2352.xml" ContentType="application/vnd.openxmlformats-officedocument.presentationml.slide+xml"/>
  <Override PartName="/ppt/slides/slide2353.xml" ContentType="application/vnd.openxmlformats-officedocument.presentationml.slide+xml"/>
  <Override PartName="/ppt/slides/slide2354.xml" ContentType="application/vnd.openxmlformats-officedocument.presentationml.slide+xml"/>
  <Override PartName="/ppt/slides/slide2355.xml" ContentType="application/vnd.openxmlformats-officedocument.presentationml.slide+xml"/>
  <Override PartName="/ppt/slides/slide2356.xml" ContentType="application/vnd.openxmlformats-officedocument.presentationml.slide+xml"/>
  <Override PartName="/ppt/slides/slide2357.xml" ContentType="application/vnd.openxmlformats-officedocument.presentationml.slide+xml"/>
  <Override PartName="/ppt/slides/slide2358.xml" ContentType="application/vnd.openxmlformats-officedocument.presentationml.slide+xml"/>
  <Override PartName="/ppt/slides/slide2359.xml" ContentType="application/vnd.openxmlformats-officedocument.presentationml.slide+xml"/>
  <Override PartName="/ppt/slides/slide236.xml" ContentType="application/vnd.openxmlformats-officedocument.presentationml.slide+xml"/>
  <Override PartName="/ppt/slides/slide2360.xml" ContentType="application/vnd.openxmlformats-officedocument.presentationml.slide+xml"/>
  <Override PartName="/ppt/slides/slide2361.xml" ContentType="application/vnd.openxmlformats-officedocument.presentationml.slide+xml"/>
  <Override PartName="/ppt/slides/slide2362.xml" ContentType="application/vnd.openxmlformats-officedocument.presentationml.slide+xml"/>
  <Override PartName="/ppt/slides/slide2363.xml" ContentType="application/vnd.openxmlformats-officedocument.presentationml.slide+xml"/>
  <Override PartName="/ppt/slides/slide2364.xml" ContentType="application/vnd.openxmlformats-officedocument.presentationml.slide+xml"/>
  <Override PartName="/ppt/slides/slide2365.xml" ContentType="application/vnd.openxmlformats-officedocument.presentationml.slide+xml"/>
  <Override PartName="/ppt/slides/slide2366.xml" ContentType="application/vnd.openxmlformats-officedocument.presentationml.slide+xml"/>
  <Override PartName="/ppt/slides/slide2367.xml" ContentType="application/vnd.openxmlformats-officedocument.presentationml.slide+xml"/>
  <Override PartName="/ppt/slides/slide2368.xml" ContentType="application/vnd.openxmlformats-officedocument.presentationml.slide+xml"/>
  <Override PartName="/ppt/slides/slide2369.xml" ContentType="application/vnd.openxmlformats-officedocument.presentationml.slide+xml"/>
  <Override PartName="/ppt/slides/slide237.xml" ContentType="application/vnd.openxmlformats-officedocument.presentationml.slide+xml"/>
  <Override PartName="/ppt/slides/slide2370.xml" ContentType="application/vnd.openxmlformats-officedocument.presentationml.slide+xml"/>
  <Override PartName="/ppt/slides/slide2371.xml" ContentType="application/vnd.openxmlformats-officedocument.presentationml.slide+xml"/>
  <Override PartName="/ppt/slides/slide2372.xml" ContentType="application/vnd.openxmlformats-officedocument.presentationml.slide+xml"/>
  <Override PartName="/ppt/slides/slide2373.xml" ContentType="application/vnd.openxmlformats-officedocument.presentationml.slide+xml"/>
  <Override PartName="/ppt/slides/slide2374.xml" ContentType="application/vnd.openxmlformats-officedocument.presentationml.slide+xml"/>
  <Override PartName="/ppt/slides/slide2375.xml" ContentType="application/vnd.openxmlformats-officedocument.presentationml.slide+xml"/>
  <Override PartName="/ppt/slides/slide2376.xml" ContentType="application/vnd.openxmlformats-officedocument.presentationml.slide+xml"/>
  <Override PartName="/ppt/slides/slide2377.xml" ContentType="application/vnd.openxmlformats-officedocument.presentationml.slide+xml"/>
  <Override PartName="/ppt/slides/slide2378.xml" ContentType="application/vnd.openxmlformats-officedocument.presentationml.slide+xml"/>
  <Override PartName="/ppt/slides/slide2379.xml" ContentType="application/vnd.openxmlformats-officedocument.presentationml.slide+xml"/>
  <Override PartName="/ppt/slides/slide238.xml" ContentType="application/vnd.openxmlformats-officedocument.presentationml.slide+xml"/>
  <Override PartName="/ppt/slides/slide2380.xml" ContentType="application/vnd.openxmlformats-officedocument.presentationml.slide+xml"/>
  <Override PartName="/ppt/slides/slide2381.xml" ContentType="application/vnd.openxmlformats-officedocument.presentationml.slide+xml"/>
  <Override PartName="/ppt/slides/slide2382.xml" ContentType="application/vnd.openxmlformats-officedocument.presentationml.slide+xml"/>
  <Override PartName="/ppt/slides/slide2383.xml" ContentType="application/vnd.openxmlformats-officedocument.presentationml.slide+xml"/>
  <Override PartName="/ppt/slides/slide2384.xml" ContentType="application/vnd.openxmlformats-officedocument.presentationml.slide+xml"/>
  <Override PartName="/ppt/slides/slide2385.xml" ContentType="application/vnd.openxmlformats-officedocument.presentationml.slide+xml"/>
  <Override PartName="/ppt/slides/slide2386.xml" ContentType="application/vnd.openxmlformats-officedocument.presentationml.slide+xml"/>
  <Override PartName="/ppt/slides/slide2387.xml" ContentType="application/vnd.openxmlformats-officedocument.presentationml.slide+xml"/>
  <Override PartName="/ppt/slides/slide2388.xml" ContentType="application/vnd.openxmlformats-officedocument.presentationml.slide+xml"/>
  <Override PartName="/ppt/slides/slide2389.xml" ContentType="application/vnd.openxmlformats-officedocument.presentationml.slide+xml"/>
  <Override PartName="/ppt/slides/slide239.xml" ContentType="application/vnd.openxmlformats-officedocument.presentationml.slide+xml"/>
  <Override PartName="/ppt/slides/slide2390.xml" ContentType="application/vnd.openxmlformats-officedocument.presentationml.slide+xml"/>
  <Override PartName="/ppt/slides/slide2391.xml" ContentType="application/vnd.openxmlformats-officedocument.presentationml.slide+xml"/>
  <Override PartName="/ppt/slides/slide2392.xml" ContentType="application/vnd.openxmlformats-officedocument.presentationml.slide+xml"/>
  <Override PartName="/ppt/slides/slide2393.xml" ContentType="application/vnd.openxmlformats-officedocument.presentationml.slide+xml"/>
  <Override PartName="/ppt/slides/slide2394.xml" ContentType="application/vnd.openxmlformats-officedocument.presentationml.slide+xml"/>
  <Override PartName="/ppt/slides/slide2395.xml" ContentType="application/vnd.openxmlformats-officedocument.presentationml.slide+xml"/>
  <Override PartName="/ppt/slides/slide2396.xml" ContentType="application/vnd.openxmlformats-officedocument.presentationml.slide+xml"/>
  <Override PartName="/ppt/slides/slide2397.xml" ContentType="application/vnd.openxmlformats-officedocument.presentationml.slide+xml"/>
  <Override PartName="/ppt/slides/slide2398.xml" ContentType="application/vnd.openxmlformats-officedocument.presentationml.slide+xml"/>
  <Override PartName="/ppt/slides/slide239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00.xml" ContentType="application/vnd.openxmlformats-officedocument.presentationml.slide+xml"/>
  <Override PartName="/ppt/slides/slide2401.xml" ContentType="application/vnd.openxmlformats-officedocument.presentationml.slide+xml"/>
  <Override PartName="/ppt/slides/slide2402.xml" ContentType="application/vnd.openxmlformats-officedocument.presentationml.slide+xml"/>
  <Override PartName="/ppt/slides/slide2403.xml" ContentType="application/vnd.openxmlformats-officedocument.presentationml.slide+xml"/>
  <Override PartName="/ppt/slides/slide2404.xml" ContentType="application/vnd.openxmlformats-officedocument.presentationml.slide+xml"/>
  <Override PartName="/ppt/slides/slide2405.xml" ContentType="application/vnd.openxmlformats-officedocument.presentationml.slide+xml"/>
  <Override PartName="/ppt/slides/slide2406.xml" ContentType="application/vnd.openxmlformats-officedocument.presentationml.slide+xml"/>
  <Override PartName="/ppt/slides/slide2407.xml" ContentType="application/vnd.openxmlformats-officedocument.presentationml.slide+xml"/>
  <Override PartName="/ppt/slides/slide2408.xml" ContentType="application/vnd.openxmlformats-officedocument.presentationml.slide+xml"/>
  <Override PartName="/ppt/slides/slide2409.xml" ContentType="application/vnd.openxmlformats-officedocument.presentationml.slide+xml"/>
  <Override PartName="/ppt/slides/slide241.xml" ContentType="application/vnd.openxmlformats-officedocument.presentationml.slide+xml"/>
  <Override PartName="/ppt/slides/slide2410.xml" ContentType="application/vnd.openxmlformats-officedocument.presentationml.slide+xml"/>
  <Override PartName="/ppt/slides/slide2411.xml" ContentType="application/vnd.openxmlformats-officedocument.presentationml.slide+xml"/>
  <Override PartName="/ppt/slides/slide2412.xml" ContentType="application/vnd.openxmlformats-officedocument.presentationml.slide+xml"/>
  <Override PartName="/ppt/slides/slide2413.xml" ContentType="application/vnd.openxmlformats-officedocument.presentationml.slide+xml"/>
  <Override PartName="/ppt/slides/slide2414.xml" ContentType="application/vnd.openxmlformats-officedocument.presentationml.slide+xml"/>
  <Override PartName="/ppt/slides/slide2415.xml" ContentType="application/vnd.openxmlformats-officedocument.presentationml.slide+xml"/>
  <Override PartName="/ppt/slides/slide2416.xml" ContentType="application/vnd.openxmlformats-officedocument.presentationml.slide+xml"/>
  <Override PartName="/ppt/slides/slide2417.xml" ContentType="application/vnd.openxmlformats-officedocument.presentationml.slide+xml"/>
  <Override PartName="/ppt/slides/slide2418.xml" ContentType="application/vnd.openxmlformats-officedocument.presentationml.slide+xml"/>
  <Override PartName="/ppt/slides/slide2419.xml" ContentType="application/vnd.openxmlformats-officedocument.presentationml.slide+xml"/>
  <Override PartName="/ppt/slides/slide242.xml" ContentType="application/vnd.openxmlformats-officedocument.presentationml.slide+xml"/>
  <Override PartName="/ppt/slides/slide2420.xml" ContentType="application/vnd.openxmlformats-officedocument.presentationml.slide+xml"/>
  <Override PartName="/ppt/slides/slide2421.xml" ContentType="application/vnd.openxmlformats-officedocument.presentationml.slide+xml"/>
  <Override PartName="/ppt/slides/slide2422.xml" ContentType="application/vnd.openxmlformats-officedocument.presentationml.slide+xml"/>
  <Override PartName="/ppt/slides/slide2423.xml" ContentType="application/vnd.openxmlformats-officedocument.presentationml.slide+xml"/>
  <Override PartName="/ppt/slides/slide2424.xml" ContentType="application/vnd.openxmlformats-officedocument.presentationml.slide+xml"/>
  <Override PartName="/ppt/slides/slide2425.xml" ContentType="application/vnd.openxmlformats-officedocument.presentationml.slide+xml"/>
  <Override PartName="/ppt/slides/slide2426.xml" ContentType="application/vnd.openxmlformats-officedocument.presentationml.slide+xml"/>
  <Override PartName="/ppt/slides/slide2427.xml" ContentType="application/vnd.openxmlformats-officedocument.presentationml.slide+xml"/>
  <Override PartName="/ppt/slides/slide2428.xml" ContentType="application/vnd.openxmlformats-officedocument.presentationml.slide+xml"/>
  <Override PartName="/ppt/slides/slide2429.xml" ContentType="application/vnd.openxmlformats-officedocument.presentationml.slide+xml"/>
  <Override PartName="/ppt/slides/slide243.xml" ContentType="application/vnd.openxmlformats-officedocument.presentationml.slide+xml"/>
  <Override PartName="/ppt/slides/slide2430.xml" ContentType="application/vnd.openxmlformats-officedocument.presentationml.slide+xml"/>
  <Override PartName="/ppt/slides/slide2431.xml" ContentType="application/vnd.openxmlformats-officedocument.presentationml.slide+xml"/>
  <Override PartName="/ppt/slides/slide2432.xml" ContentType="application/vnd.openxmlformats-officedocument.presentationml.slide+xml"/>
  <Override PartName="/ppt/slides/slide2433.xml" ContentType="application/vnd.openxmlformats-officedocument.presentationml.slide+xml"/>
  <Override PartName="/ppt/slides/slide2434.xml" ContentType="application/vnd.openxmlformats-officedocument.presentationml.slide+xml"/>
  <Override PartName="/ppt/slides/slide2435.xml" ContentType="application/vnd.openxmlformats-officedocument.presentationml.slide+xml"/>
  <Override PartName="/ppt/slides/slide2436.xml" ContentType="application/vnd.openxmlformats-officedocument.presentationml.slide+xml"/>
  <Override PartName="/ppt/slides/slide2437.xml" ContentType="application/vnd.openxmlformats-officedocument.presentationml.slide+xml"/>
  <Override PartName="/ppt/slides/slide2438.xml" ContentType="application/vnd.openxmlformats-officedocument.presentationml.slide+xml"/>
  <Override PartName="/ppt/slides/slide2439.xml" ContentType="application/vnd.openxmlformats-officedocument.presentationml.slide+xml"/>
  <Override PartName="/ppt/slides/slide244.xml" ContentType="application/vnd.openxmlformats-officedocument.presentationml.slide+xml"/>
  <Override PartName="/ppt/slides/slide2440.xml" ContentType="application/vnd.openxmlformats-officedocument.presentationml.slide+xml"/>
  <Override PartName="/ppt/slides/slide2441.xml" ContentType="application/vnd.openxmlformats-officedocument.presentationml.slide+xml"/>
  <Override PartName="/ppt/slides/slide2442.xml" ContentType="application/vnd.openxmlformats-officedocument.presentationml.slide+xml"/>
  <Override PartName="/ppt/slides/slide2443.xml" ContentType="application/vnd.openxmlformats-officedocument.presentationml.slide+xml"/>
  <Override PartName="/ppt/slides/slide2444.xml" ContentType="application/vnd.openxmlformats-officedocument.presentationml.slide+xml"/>
  <Override PartName="/ppt/slides/slide2445.xml" ContentType="application/vnd.openxmlformats-officedocument.presentationml.slide+xml"/>
  <Override PartName="/ppt/slides/slide2446.xml" ContentType="application/vnd.openxmlformats-officedocument.presentationml.slide+xml"/>
  <Override PartName="/ppt/slides/slide2447.xml" ContentType="application/vnd.openxmlformats-officedocument.presentationml.slide+xml"/>
  <Override PartName="/ppt/slides/slide2448.xml" ContentType="application/vnd.openxmlformats-officedocument.presentationml.slide+xml"/>
  <Override PartName="/ppt/slides/slide2449.xml" ContentType="application/vnd.openxmlformats-officedocument.presentationml.slide+xml"/>
  <Override PartName="/ppt/slides/slide245.xml" ContentType="application/vnd.openxmlformats-officedocument.presentationml.slide+xml"/>
  <Override PartName="/ppt/slides/slide2450.xml" ContentType="application/vnd.openxmlformats-officedocument.presentationml.slide+xml"/>
  <Override PartName="/ppt/slides/slide2451.xml" ContentType="application/vnd.openxmlformats-officedocument.presentationml.slide+xml"/>
  <Override PartName="/ppt/slides/slide2452.xml" ContentType="application/vnd.openxmlformats-officedocument.presentationml.slide+xml"/>
  <Override PartName="/ppt/slides/slide2453.xml" ContentType="application/vnd.openxmlformats-officedocument.presentationml.slide+xml"/>
  <Override PartName="/ppt/slides/slide2454.xml" ContentType="application/vnd.openxmlformats-officedocument.presentationml.slide+xml"/>
  <Override PartName="/ppt/slides/slide2455.xml" ContentType="application/vnd.openxmlformats-officedocument.presentationml.slide+xml"/>
  <Override PartName="/ppt/slides/slide2456.xml" ContentType="application/vnd.openxmlformats-officedocument.presentationml.slide+xml"/>
  <Override PartName="/ppt/slides/slide2457.xml" ContentType="application/vnd.openxmlformats-officedocument.presentationml.slide+xml"/>
  <Override PartName="/ppt/slides/slide2458.xml" ContentType="application/vnd.openxmlformats-officedocument.presentationml.slide+xml"/>
  <Override PartName="/ppt/slides/slide2459.xml" ContentType="application/vnd.openxmlformats-officedocument.presentationml.slide+xml"/>
  <Override PartName="/ppt/slides/slide246.xml" ContentType="application/vnd.openxmlformats-officedocument.presentationml.slide+xml"/>
  <Override PartName="/ppt/slides/slide2460.xml" ContentType="application/vnd.openxmlformats-officedocument.presentationml.slide+xml"/>
  <Override PartName="/ppt/slides/slide2461.xml" ContentType="application/vnd.openxmlformats-officedocument.presentationml.slide+xml"/>
  <Override PartName="/ppt/slides/slide2462.xml" ContentType="application/vnd.openxmlformats-officedocument.presentationml.slide+xml"/>
  <Override PartName="/ppt/slides/slide2463.xml" ContentType="application/vnd.openxmlformats-officedocument.presentationml.slide+xml"/>
  <Override PartName="/ppt/slides/slide2464.xml" ContentType="application/vnd.openxmlformats-officedocument.presentationml.slide+xml"/>
  <Override PartName="/ppt/slides/slide2465.xml" ContentType="application/vnd.openxmlformats-officedocument.presentationml.slide+xml"/>
  <Override PartName="/ppt/slides/slide2466.xml" ContentType="application/vnd.openxmlformats-officedocument.presentationml.slide+xml"/>
  <Override PartName="/ppt/slides/slide2467.xml" ContentType="application/vnd.openxmlformats-officedocument.presentationml.slide+xml"/>
  <Override PartName="/ppt/slides/slide2468.xml" ContentType="application/vnd.openxmlformats-officedocument.presentationml.slide+xml"/>
  <Override PartName="/ppt/slides/slide2469.xml" ContentType="application/vnd.openxmlformats-officedocument.presentationml.slide+xml"/>
  <Override PartName="/ppt/slides/slide247.xml" ContentType="application/vnd.openxmlformats-officedocument.presentationml.slide+xml"/>
  <Override PartName="/ppt/slides/slide2470.xml" ContentType="application/vnd.openxmlformats-officedocument.presentationml.slide+xml"/>
  <Override PartName="/ppt/slides/slide2471.xml" ContentType="application/vnd.openxmlformats-officedocument.presentationml.slide+xml"/>
  <Override PartName="/ppt/slides/slide2472.xml" ContentType="application/vnd.openxmlformats-officedocument.presentationml.slide+xml"/>
  <Override PartName="/ppt/slides/slide2473.xml" ContentType="application/vnd.openxmlformats-officedocument.presentationml.slide+xml"/>
  <Override PartName="/ppt/slides/slide2474.xml" ContentType="application/vnd.openxmlformats-officedocument.presentationml.slide+xml"/>
  <Override PartName="/ppt/slides/slide2475.xml" ContentType="application/vnd.openxmlformats-officedocument.presentationml.slide+xml"/>
  <Override PartName="/ppt/slides/slide2476.xml" ContentType="application/vnd.openxmlformats-officedocument.presentationml.slide+xml"/>
  <Override PartName="/ppt/slides/slide2477.xml" ContentType="application/vnd.openxmlformats-officedocument.presentationml.slide+xml"/>
  <Override PartName="/ppt/slides/slide2478.xml" ContentType="application/vnd.openxmlformats-officedocument.presentationml.slide+xml"/>
  <Override PartName="/ppt/slides/slide2479.xml" ContentType="application/vnd.openxmlformats-officedocument.presentationml.slide+xml"/>
  <Override PartName="/ppt/slides/slide248.xml" ContentType="application/vnd.openxmlformats-officedocument.presentationml.slide+xml"/>
  <Override PartName="/ppt/slides/slide2480.xml" ContentType="application/vnd.openxmlformats-officedocument.presentationml.slide+xml"/>
  <Override PartName="/ppt/slides/slide2481.xml" ContentType="application/vnd.openxmlformats-officedocument.presentationml.slide+xml"/>
  <Override PartName="/ppt/slides/slide2482.xml" ContentType="application/vnd.openxmlformats-officedocument.presentationml.slide+xml"/>
  <Override PartName="/ppt/slides/slide2483.xml" ContentType="application/vnd.openxmlformats-officedocument.presentationml.slide+xml"/>
  <Override PartName="/ppt/slides/slide2484.xml" ContentType="application/vnd.openxmlformats-officedocument.presentationml.slide+xml"/>
  <Override PartName="/ppt/slides/slide2485.xml" ContentType="application/vnd.openxmlformats-officedocument.presentationml.slide+xml"/>
  <Override PartName="/ppt/slides/slide2486.xml" ContentType="application/vnd.openxmlformats-officedocument.presentationml.slide+xml"/>
  <Override PartName="/ppt/slides/slide2487.xml" ContentType="application/vnd.openxmlformats-officedocument.presentationml.slide+xml"/>
  <Override PartName="/ppt/slides/slide2488.xml" ContentType="application/vnd.openxmlformats-officedocument.presentationml.slide+xml"/>
  <Override PartName="/ppt/slides/slide2489.xml" ContentType="application/vnd.openxmlformats-officedocument.presentationml.slide+xml"/>
  <Override PartName="/ppt/slides/slide249.xml" ContentType="application/vnd.openxmlformats-officedocument.presentationml.slide+xml"/>
  <Override PartName="/ppt/slides/slide2490.xml" ContentType="application/vnd.openxmlformats-officedocument.presentationml.slide+xml"/>
  <Override PartName="/ppt/slides/slide2491.xml" ContentType="application/vnd.openxmlformats-officedocument.presentationml.slide+xml"/>
  <Override PartName="/ppt/slides/slide2492.xml" ContentType="application/vnd.openxmlformats-officedocument.presentationml.slide+xml"/>
  <Override PartName="/ppt/slides/slide2493.xml" ContentType="application/vnd.openxmlformats-officedocument.presentationml.slide+xml"/>
  <Override PartName="/ppt/slides/slide2494.xml" ContentType="application/vnd.openxmlformats-officedocument.presentationml.slide+xml"/>
  <Override PartName="/ppt/slides/slide2495.xml" ContentType="application/vnd.openxmlformats-officedocument.presentationml.slide+xml"/>
  <Override PartName="/ppt/slides/slide2496.xml" ContentType="application/vnd.openxmlformats-officedocument.presentationml.slide+xml"/>
  <Override PartName="/ppt/slides/slide2497.xml" ContentType="application/vnd.openxmlformats-officedocument.presentationml.slide+xml"/>
  <Override PartName="/ppt/slides/slide2498.xml" ContentType="application/vnd.openxmlformats-officedocument.presentationml.slide+xml"/>
  <Override PartName="/ppt/slides/slide249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00.xml" ContentType="application/vnd.openxmlformats-officedocument.presentationml.slide+xml"/>
  <Override PartName="/ppt/slides/slide2501.xml" ContentType="application/vnd.openxmlformats-officedocument.presentationml.slide+xml"/>
  <Override PartName="/ppt/slides/slide2502.xml" ContentType="application/vnd.openxmlformats-officedocument.presentationml.slide+xml"/>
  <Override PartName="/ppt/slides/slide2503.xml" ContentType="application/vnd.openxmlformats-officedocument.presentationml.slide+xml"/>
  <Override PartName="/ppt/slides/slide2504.xml" ContentType="application/vnd.openxmlformats-officedocument.presentationml.slide+xml"/>
  <Override PartName="/ppt/slides/slide2505.xml" ContentType="application/vnd.openxmlformats-officedocument.presentationml.slide+xml"/>
  <Override PartName="/ppt/slides/slide2506.xml" ContentType="application/vnd.openxmlformats-officedocument.presentationml.slide+xml"/>
  <Override PartName="/ppt/slides/slide2507.xml" ContentType="application/vnd.openxmlformats-officedocument.presentationml.slide+xml"/>
  <Override PartName="/ppt/slides/slide2508.xml" ContentType="application/vnd.openxmlformats-officedocument.presentationml.slide+xml"/>
  <Override PartName="/ppt/slides/slide2509.xml" ContentType="application/vnd.openxmlformats-officedocument.presentationml.slide+xml"/>
  <Override PartName="/ppt/slides/slide251.xml" ContentType="application/vnd.openxmlformats-officedocument.presentationml.slide+xml"/>
  <Override PartName="/ppt/slides/slide2510.xml" ContentType="application/vnd.openxmlformats-officedocument.presentationml.slide+xml"/>
  <Override PartName="/ppt/slides/slide2511.xml" ContentType="application/vnd.openxmlformats-officedocument.presentationml.slide+xml"/>
  <Override PartName="/ppt/slides/slide2512.xml" ContentType="application/vnd.openxmlformats-officedocument.presentationml.slide+xml"/>
  <Override PartName="/ppt/slides/slide2513.xml" ContentType="application/vnd.openxmlformats-officedocument.presentationml.slide+xml"/>
  <Override PartName="/ppt/slides/slide2514.xml" ContentType="application/vnd.openxmlformats-officedocument.presentationml.slide+xml"/>
  <Override PartName="/ppt/slides/slide2515.xml" ContentType="application/vnd.openxmlformats-officedocument.presentationml.slide+xml"/>
  <Override PartName="/ppt/slides/slide2516.xml" ContentType="application/vnd.openxmlformats-officedocument.presentationml.slide+xml"/>
  <Override PartName="/ppt/slides/slide2517.xml" ContentType="application/vnd.openxmlformats-officedocument.presentationml.slide+xml"/>
  <Override PartName="/ppt/slides/slide2518.xml" ContentType="application/vnd.openxmlformats-officedocument.presentationml.slide+xml"/>
  <Override PartName="/ppt/slides/slide2519.xml" ContentType="application/vnd.openxmlformats-officedocument.presentationml.slide+xml"/>
  <Override PartName="/ppt/slides/slide252.xml" ContentType="application/vnd.openxmlformats-officedocument.presentationml.slide+xml"/>
  <Override PartName="/ppt/slides/slide2520.xml" ContentType="application/vnd.openxmlformats-officedocument.presentationml.slide+xml"/>
  <Override PartName="/ppt/slides/slide2521.xml" ContentType="application/vnd.openxmlformats-officedocument.presentationml.slide+xml"/>
  <Override PartName="/ppt/slides/slide2522.xml" ContentType="application/vnd.openxmlformats-officedocument.presentationml.slide+xml"/>
  <Override PartName="/ppt/slides/slide2523.xml" ContentType="application/vnd.openxmlformats-officedocument.presentationml.slide+xml"/>
  <Override PartName="/ppt/slides/slide2524.xml" ContentType="application/vnd.openxmlformats-officedocument.presentationml.slide+xml"/>
  <Override PartName="/ppt/slides/slide2525.xml" ContentType="application/vnd.openxmlformats-officedocument.presentationml.slide+xml"/>
  <Override PartName="/ppt/slides/slide2526.xml" ContentType="application/vnd.openxmlformats-officedocument.presentationml.slide+xml"/>
  <Override PartName="/ppt/slides/slide2527.xml" ContentType="application/vnd.openxmlformats-officedocument.presentationml.slide+xml"/>
  <Override PartName="/ppt/slides/slide2528.xml" ContentType="application/vnd.openxmlformats-officedocument.presentationml.slide+xml"/>
  <Override PartName="/ppt/slides/slide2529.xml" ContentType="application/vnd.openxmlformats-officedocument.presentationml.slide+xml"/>
  <Override PartName="/ppt/slides/slide253.xml" ContentType="application/vnd.openxmlformats-officedocument.presentationml.slide+xml"/>
  <Override PartName="/ppt/slides/slide2530.xml" ContentType="application/vnd.openxmlformats-officedocument.presentationml.slide+xml"/>
  <Override PartName="/ppt/slides/slide2531.xml" ContentType="application/vnd.openxmlformats-officedocument.presentationml.slide+xml"/>
  <Override PartName="/ppt/slides/slide2532.xml" ContentType="application/vnd.openxmlformats-officedocument.presentationml.slide+xml"/>
  <Override PartName="/ppt/slides/slide2533.xml" ContentType="application/vnd.openxmlformats-officedocument.presentationml.slide+xml"/>
  <Override PartName="/ppt/slides/slide2534.xml" ContentType="application/vnd.openxmlformats-officedocument.presentationml.slide+xml"/>
  <Override PartName="/ppt/slides/slide2535.xml" ContentType="application/vnd.openxmlformats-officedocument.presentationml.slide+xml"/>
  <Override PartName="/ppt/slides/slide2536.xml" ContentType="application/vnd.openxmlformats-officedocument.presentationml.slide+xml"/>
  <Override PartName="/ppt/slides/slide2537.xml" ContentType="application/vnd.openxmlformats-officedocument.presentationml.slide+xml"/>
  <Override PartName="/ppt/slides/slide2538.xml" ContentType="application/vnd.openxmlformats-officedocument.presentationml.slide+xml"/>
  <Override PartName="/ppt/slides/slide2539.xml" ContentType="application/vnd.openxmlformats-officedocument.presentationml.slide+xml"/>
  <Override PartName="/ppt/slides/slide254.xml" ContentType="application/vnd.openxmlformats-officedocument.presentationml.slide+xml"/>
  <Override PartName="/ppt/slides/slide2540.xml" ContentType="application/vnd.openxmlformats-officedocument.presentationml.slide+xml"/>
  <Override PartName="/ppt/slides/slide2541.xml" ContentType="application/vnd.openxmlformats-officedocument.presentationml.slide+xml"/>
  <Override PartName="/ppt/slides/slide2542.xml" ContentType="application/vnd.openxmlformats-officedocument.presentationml.slide+xml"/>
  <Override PartName="/ppt/slides/slide2543.xml" ContentType="application/vnd.openxmlformats-officedocument.presentationml.slide+xml"/>
  <Override PartName="/ppt/slides/slide2544.xml" ContentType="application/vnd.openxmlformats-officedocument.presentationml.slide+xml"/>
  <Override PartName="/ppt/slides/slide2545.xml" ContentType="application/vnd.openxmlformats-officedocument.presentationml.slide+xml"/>
  <Override PartName="/ppt/slides/slide2546.xml" ContentType="application/vnd.openxmlformats-officedocument.presentationml.slide+xml"/>
  <Override PartName="/ppt/slides/slide2547.xml" ContentType="application/vnd.openxmlformats-officedocument.presentationml.slide+xml"/>
  <Override PartName="/ppt/slides/slide2548.xml" ContentType="application/vnd.openxmlformats-officedocument.presentationml.slide+xml"/>
  <Override PartName="/ppt/slides/slide2549.xml" ContentType="application/vnd.openxmlformats-officedocument.presentationml.slide+xml"/>
  <Override PartName="/ppt/slides/slide255.xml" ContentType="application/vnd.openxmlformats-officedocument.presentationml.slide+xml"/>
  <Override PartName="/ppt/slides/slide2550.xml" ContentType="application/vnd.openxmlformats-officedocument.presentationml.slide+xml"/>
  <Override PartName="/ppt/slides/slide2551.xml" ContentType="application/vnd.openxmlformats-officedocument.presentationml.slide+xml"/>
  <Override PartName="/ppt/slides/slide2552.xml" ContentType="application/vnd.openxmlformats-officedocument.presentationml.slide+xml"/>
  <Override PartName="/ppt/slides/slide2553.xml" ContentType="application/vnd.openxmlformats-officedocument.presentationml.slide+xml"/>
  <Override PartName="/ppt/slides/slide2554.xml" ContentType="application/vnd.openxmlformats-officedocument.presentationml.slide+xml"/>
  <Override PartName="/ppt/slides/slide2555.xml" ContentType="application/vnd.openxmlformats-officedocument.presentationml.slide+xml"/>
  <Override PartName="/ppt/slides/slide2556.xml" ContentType="application/vnd.openxmlformats-officedocument.presentationml.slide+xml"/>
  <Override PartName="/ppt/slides/slide2557.xml" ContentType="application/vnd.openxmlformats-officedocument.presentationml.slide+xml"/>
  <Override PartName="/ppt/slides/slide2558.xml" ContentType="application/vnd.openxmlformats-officedocument.presentationml.slide+xml"/>
  <Override PartName="/ppt/slides/slide2559.xml" ContentType="application/vnd.openxmlformats-officedocument.presentationml.slide+xml"/>
  <Override PartName="/ppt/slides/slide256.xml" ContentType="application/vnd.openxmlformats-officedocument.presentationml.slide+xml"/>
  <Override PartName="/ppt/slides/slide2560.xml" ContentType="application/vnd.openxmlformats-officedocument.presentationml.slide+xml"/>
  <Override PartName="/ppt/slides/slide2561.xml" ContentType="application/vnd.openxmlformats-officedocument.presentationml.slide+xml"/>
  <Override PartName="/ppt/slides/slide2562.xml" ContentType="application/vnd.openxmlformats-officedocument.presentationml.slide+xml"/>
  <Override PartName="/ppt/slides/slide2563.xml" ContentType="application/vnd.openxmlformats-officedocument.presentationml.slide+xml"/>
  <Override PartName="/ppt/slides/slide2564.xml" ContentType="application/vnd.openxmlformats-officedocument.presentationml.slide+xml"/>
  <Override PartName="/ppt/slides/slide2565.xml" ContentType="application/vnd.openxmlformats-officedocument.presentationml.slide+xml"/>
  <Override PartName="/ppt/slides/slide2566.xml" ContentType="application/vnd.openxmlformats-officedocument.presentationml.slide+xml"/>
  <Override PartName="/ppt/slides/slide2567.xml" ContentType="application/vnd.openxmlformats-officedocument.presentationml.slide+xml"/>
  <Override PartName="/ppt/slides/slide2568.xml" ContentType="application/vnd.openxmlformats-officedocument.presentationml.slide+xml"/>
  <Override PartName="/ppt/slides/slide2569.xml" ContentType="application/vnd.openxmlformats-officedocument.presentationml.slide+xml"/>
  <Override PartName="/ppt/slides/slide257.xml" ContentType="application/vnd.openxmlformats-officedocument.presentationml.slide+xml"/>
  <Override PartName="/ppt/slides/slide2570.xml" ContentType="application/vnd.openxmlformats-officedocument.presentationml.slide+xml"/>
  <Override PartName="/ppt/slides/slide2571.xml" ContentType="application/vnd.openxmlformats-officedocument.presentationml.slide+xml"/>
  <Override PartName="/ppt/slides/slide2572.xml" ContentType="application/vnd.openxmlformats-officedocument.presentationml.slide+xml"/>
  <Override PartName="/ppt/slides/slide2573.xml" ContentType="application/vnd.openxmlformats-officedocument.presentationml.slide+xml"/>
  <Override PartName="/ppt/slides/slide2574.xml" ContentType="application/vnd.openxmlformats-officedocument.presentationml.slide+xml"/>
  <Override PartName="/ppt/slides/slide2575.xml" ContentType="application/vnd.openxmlformats-officedocument.presentationml.slide+xml"/>
  <Override PartName="/ppt/slides/slide2576.xml" ContentType="application/vnd.openxmlformats-officedocument.presentationml.slide+xml"/>
  <Override PartName="/ppt/slides/slide2577.xml" ContentType="application/vnd.openxmlformats-officedocument.presentationml.slide+xml"/>
  <Override PartName="/ppt/slides/slide2578.xml" ContentType="application/vnd.openxmlformats-officedocument.presentationml.slide+xml"/>
  <Override PartName="/ppt/slides/slide2579.xml" ContentType="application/vnd.openxmlformats-officedocument.presentationml.slide+xml"/>
  <Override PartName="/ppt/slides/slide258.xml" ContentType="application/vnd.openxmlformats-officedocument.presentationml.slide+xml"/>
  <Override PartName="/ppt/slides/slide2580.xml" ContentType="application/vnd.openxmlformats-officedocument.presentationml.slide+xml"/>
  <Override PartName="/ppt/slides/slide2581.xml" ContentType="application/vnd.openxmlformats-officedocument.presentationml.slide+xml"/>
  <Override PartName="/ppt/slides/slide2582.xml" ContentType="application/vnd.openxmlformats-officedocument.presentationml.slide+xml"/>
  <Override PartName="/ppt/slides/slide2583.xml" ContentType="application/vnd.openxmlformats-officedocument.presentationml.slide+xml"/>
  <Override PartName="/ppt/slides/slide2584.xml" ContentType="application/vnd.openxmlformats-officedocument.presentationml.slide+xml"/>
  <Override PartName="/ppt/slides/slide2585.xml" ContentType="application/vnd.openxmlformats-officedocument.presentationml.slide+xml"/>
  <Override PartName="/ppt/slides/slide2586.xml" ContentType="application/vnd.openxmlformats-officedocument.presentationml.slide+xml"/>
  <Override PartName="/ppt/slides/slide2587.xml" ContentType="application/vnd.openxmlformats-officedocument.presentationml.slide+xml"/>
  <Override PartName="/ppt/slides/slide2588.xml" ContentType="application/vnd.openxmlformats-officedocument.presentationml.slide+xml"/>
  <Override PartName="/ppt/slides/slide2589.xml" ContentType="application/vnd.openxmlformats-officedocument.presentationml.slide+xml"/>
  <Override PartName="/ppt/slides/slide259.xml" ContentType="application/vnd.openxmlformats-officedocument.presentationml.slide+xml"/>
  <Override PartName="/ppt/slides/slide2590.xml" ContentType="application/vnd.openxmlformats-officedocument.presentationml.slide+xml"/>
  <Override PartName="/ppt/slides/slide2591.xml" ContentType="application/vnd.openxmlformats-officedocument.presentationml.slide+xml"/>
  <Override PartName="/ppt/slides/slide2592.xml" ContentType="application/vnd.openxmlformats-officedocument.presentationml.slide+xml"/>
  <Override PartName="/ppt/slides/slide2593.xml" ContentType="application/vnd.openxmlformats-officedocument.presentationml.slide+xml"/>
  <Override PartName="/ppt/slides/slide2594.xml" ContentType="application/vnd.openxmlformats-officedocument.presentationml.slide+xml"/>
  <Override PartName="/ppt/slides/slide2595.xml" ContentType="application/vnd.openxmlformats-officedocument.presentationml.slide+xml"/>
  <Override PartName="/ppt/slides/slide2596.xml" ContentType="application/vnd.openxmlformats-officedocument.presentationml.slide+xml"/>
  <Override PartName="/ppt/slides/slide2597.xml" ContentType="application/vnd.openxmlformats-officedocument.presentationml.slide+xml"/>
  <Override PartName="/ppt/slides/slide2598.xml" ContentType="application/vnd.openxmlformats-officedocument.presentationml.slide+xml"/>
  <Override PartName="/ppt/slides/slide259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00.xml" ContentType="application/vnd.openxmlformats-officedocument.presentationml.slide+xml"/>
  <Override PartName="/ppt/slides/slide2601.xml" ContentType="application/vnd.openxmlformats-officedocument.presentationml.slide+xml"/>
  <Override PartName="/ppt/slides/slide2602.xml" ContentType="application/vnd.openxmlformats-officedocument.presentationml.slide+xml"/>
  <Override PartName="/ppt/slides/slide2603.xml" ContentType="application/vnd.openxmlformats-officedocument.presentationml.slide+xml"/>
  <Override PartName="/ppt/slides/slide2604.xml" ContentType="application/vnd.openxmlformats-officedocument.presentationml.slide+xml"/>
  <Override PartName="/ppt/slides/slide2605.xml" ContentType="application/vnd.openxmlformats-officedocument.presentationml.slide+xml"/>
  <Override PartName="/ppt/slides/slide2606.xml" ContentType="application/vnd.openxmlformats-officedocument.presentationml.slide+xml"/>
  <Override PartName="/ppt/slides/slide2607.xml" ContentType="application/vnd.openxmlformats-officedocument.presentationml.slide+xml"/>
  <Override PartName="/ppt/slides/slide2608.xml" ContentType="application/vnd.openxmlformats-officedocument.presentationml.slide+xml"/>
  <Override PartName="/ppt/slides/slide2609.xml" ContentType="application/vnd.openxmlformats-officedocument.presentationml.slide+xml"/>
  <Override PartName="/ppt/slides/slide261.xml" ContentType="application/vnd.openxmlformats-officedocument.presentationml.slide+xml"/>
  <Override PartName="/ppt/slides/slide2610.xml" ContentType="application/vnd.openxmlformats-officedocument.presentationml.slide+xml"/>
  <Override PartName="/ppt/slides/slide2611.xml" ContentType="application/vnd.openxmlformats-officedocument.presentationml.slide+xml"/>
  <Override PartName="/ppt/slides/slide2612.xml" ContentType="application/vnd.openxmlformats-officedocument.presentationml.slide+xml"/>
  <Override PartName="/ppt/slides/slide2613.xml" ContentType="application/vnd.openxmlformats-officedocument.presentationml.slide+xml"/>
  <Override PartName="/ppt/slides/slide2614.xml" ContentType="application/vnd.openxmlformats-officedocument.presentationml.slide+xml"/>
  <Override PartName="/ppt/slides/slide2615.xml" ContentType="application/vnd.openxmlformats-officedocument.presentationml.slide+xml"/>
  <Override PartName="/ppt/slides/slide2616.xml" ContentType="application/vnd.openxmlformats-officedocument.presentationml.slide+xml"/>
  <Override PartName="/ppt/slides/slide2617.xml" ContentType="application/vnd.openxmlformats-officedocument.presentationml.slide+xml"/>
  <Override PartName="/ppt/slides/slide2618.xml" ContentType="application/vnd.openxmlformats-officedocument.presentationml.slide+xml"/>
  <Override PartName="/ppt/slides/slide2619.xml" ContentType="application/vnd.openxmlformats-officedocument.presentationml.slide+xml"/>
  <Override PartName="/ppt/slides/slide262.xml" ContentType="application/vnd.openxmlformats-officedocument.presentationml.slide+xml"/>
  <Override PartName="/ppt/slides/slide2620.xml" ContentType="application/vnd.openxmlformats-officedocument.presentationml.slide+xml"/>
  <Override PartName="/ppt/slides/slide2621.xml" ContentType="application/vnd.openxmlformats-officedocument.presentationml.slide+xml"/>
  <Override PartName="/ppt/slides/slide2622.xml" ContentType="application/vnd.openxmlformats-officedocument.presentationml.slide+xml"/>
  <Override PartName="/ppt/slides/slide2623.xml" ContentType="application/vnd.openxmlformats-officedocument.presentationml.slide+xml"/>
  <Override PartName="/ppt/slides/slide2624.xml" ContentType="application/vnd.openxmlformats-officedocument.presentationml.slide+xml"/>
  <Override PartName="/ppt/slides/slide2625.xml" ContentType="application/vnd.openxmlformats-officedocument.presentationml.slide+xml"/>
  <Override PartName="/ppt/slides/slide2626.xml" ContentType="application/vnd.openxmlformats-officedocument.presentationml.slide+xml"/>
  <Override PartName="/ppt/slides/slide2627.xml" ContentType="application/vnd.openxmlformats-officedocument.presentationml.slide+xml"/>
  <Override PartName="/ppt/slides/slide2628.xml" ContentType="application/vnd.openxmlformats-officedocument.presentationml.slide+xml"/>
  <Override PartName="/ppt/slides/slide2629.xml" ContentType="application/vnd.openxmlformats-officedocument.presentationml.slide+xml"/>
  <Override PartName="/ppt/slides/slide263.xml" ContentType="application/vnd.openxmlformats-officedocument.presentationml.slide+xml"/>
  <Override PartName="/ppt/slides/slide2630.xml" ContentType="application/vnd.openxmlformats-officedocument.presentationml.slide+xml"/>
  <Override PartName="/ppt/slides/slide2631.xml" ContentType="application/vnd.openxmlformats-officedocument.presentationml.slide+xml"/>
  <Override PartName="/ppt/slides/slide2632.xml" ContentType="application/vnd.openxmlformats-officedocument.presentationml.slide+xml"/>
  <Override PartName="/ppt/slides/slide2633.xml" ContentType="application/vnd.openxmlformats-officedocument.presentationml.slide+xml"/>
  <Override PartName="/ppt/slides/slide2634.xml" ContentType="application/vnd.openxmlformats-officedocument.presentationml.slide+xml"/>
  <Override PartName="/ppt/slides/slide2635.xml" ContentType="application/vnd.openxmlformats-officedocument.presentationml.slide+xml"/>
  <Override PartName="/ppt/slides/slide2636.xml" ContentType="application/vnd.openxmlformats-officedocument.presentationml.slide+xml"/>
  <Override PartName="/ppt/slides/slide2637.xml" ContentType="application/vnd.openxmlformats-officedocument.presentationml.slide+xml"/>
  <Override PartName="/ppt/slides/slide2638.xml" ContentType="application/vnd.openxmlformats-officedocument.presentationml.slide+xml"/>
  <Override PartName="/ppt/slides/slide2639.xml" ContentType="application/vnd.openxmlformats-officedocument.presentationml.slide+xml"/>
  <Override PartName="/ppt/slides/slide264.xml" ContentType="application/vnd.openxmlformats-officedocument.presentationml.slide+xml"/>
  <Override PartName="/ppt/slides/slide2640.xml" ContentType="application/vnd.openxmlformats-officedocument.presentationml.slide+xml"/>
  <Override PartName="/ppt/slides/slide2641.xml" ContentType="application/vnd.openxmlformats-officedocument.presentationml.slide+xml"/>
  <Override PartName="/ppt/slides/slide2642.xml" ContentType="application/vnd.openxmlformats-officedocument.presentationml.slide+xml"/>
  <Override PartName="/ppt/slides/slide2643.xml" ContentType="application/vnd.openxmlformats-officedocument.presentationml.slide+xml"/>
  <Override PartName="/ppt/slides/slide2644.xml" ContentType="application/vnd.openxmlformats-officedocument.presentationml.slide+xml"/>
  <Override PartName="/ppt/slides/slide2645.xml" ContentType="application/vnd.openxmlformats-officedocument.presentationml.slide+xml"/>
  <Override PartName="/ppt/slides/slide2646.xml" ContentType="application/vnd.openxmlformats-officedocument.presentationml.slide+xml"/>
  <Override PartName="/ppt/slides/slide2647.xml" ContentType="application/vnd.openxmlformats-officedocument.presentationml.slide+xml"/>
  <Override PartName="/ppt/slides/slide2648.xml" ContentType="application/vnd.openxmlformats-officedocument.presentationml.slide+xml"/>
  <Override PartName="/ppt/slides/slide2649.xml" ContentType="application/vnd.openxmlformats-officedocument.presentationml.slide+xml"/>
  <Override PartName="/ppt/slides/slide265.xml" ContentType="application/vnd.openxmlformats-officedocument.presentationml.slide+xml"/>
  <Override PartName="/ppt/slides/slide2650.xml" ContentType="application/vnd.openxmlformats-officedocument.presentationml.slide+xml"/>
  <Override PartName="/ppt/slides/slide2651.xml" ContentType="application/vnd.openxmlformats-officedocument.presentationml.slide+xml"/>
  <Override PartName="/ppt/slides/slide2652.xml" ContentType="application/vnd.openxmlformats-officedocument.presentationml.slide+xml"/>
  <Override PartName="/ppt/slides/slide2653.xml" ContentType="application/vnd.openxmlformats-officedocument.presentationml.slide+xml"/>
  <Override PartName="/ppt/slides/slide2654.xml" ContentType="application/vnd.openxmlformats-officedocument.presentationml.slide+xml"/>
  <Override PartName="/ppt/slides/slide2655.xml" ContentType="application/vnd.openxmlformats-officedocument.presentationml.slide+xml"/>
  <Override PartName="/ppt/slides/slide2656.xml" ContentType="application/vnd.openxmlformats-officedocument.presentationml.slide+xml"/>
  <Override PartName="/ppt/slides/slide2657.xml" ContentType="application/vnd.openxmlformats-officedocument.presentationml.slide+xml"/>
  <Override PartName="/ppt/slides/slide2658.xml" ContentType="application/vnd.openxmlformats-officedocument.presentationml.slide+xml"/>
  <Override PartName="/ppt/slides/slide2659.xml" ContentType="application/vnd.openxmlformats-officedocument.presentationml.slide+xml"/>
  <Override PartName="/ppt/slides/slide266.xml" ContentType="application/vnd.openxmlformats-officedocument.presentationml.slide+xml"/>
  <Override PartName="/ppt/slides/slide2660.xml" ContentType="application/vnd.openxmlformats-officedocument.presentationml.slide+xml"/>
  <Override PartName="/ppt/slides/slide2661.xml" ContentType="application/vnd.openxmlformats-officedocument.presentationml.slide+xml"/>
  <Override PartName="/ppt/slides/slide2662.xml" ContentType="application/vnd.openxmlformats-officedocument.presentationml.slide+xml"/>
  <Override PartName="/ppt/slides/slide2663.xml" ContentType="application/vnd.openxmlformats-officedocument.presentationml.slide+xml"/>
  <Override PartName="/ppt/slides/slide2664.xml" ContentType="application/vnd.openxmlformats-officedocument.presentationml.slide+xml"/>
  <Override PartName="/ppt/slides/slide2665.xml" ContentType="application/vnd.openxmlformats-officedocument.presentationml.slide+xml"/>
  <Override PartName="/ppt/slides/slide2666.xml" ContentType="application/vnd.openxmlformats-officedocument.presentationml.slide+xml"/>
  <Override PartName="/ppt/slides/slide2667.xml" ContentType="application/vnd.openxmlformats-officedocument.presentationml.slide+xml"/>
  <Override PartName="/ppt/slides/slide2668.xml" ContentType="application/vnd.openxmlformats-officedocument.presentationml.slide+xml"/>
  <Override PartName="/ppt/slides/slide2669.xml" ContentType="application/vnd.openxmlformats-officedocument.presentationml.slide+xml"/>
  <Override PartName="/ppt/slides/slide267.xml" ContentType="application/vnd.openxmlformats-officedocument.presentationml.slide+xml"/>
  <Override PartName="/ppt/slides/slide2670.xml" ContentType="application/vnd.openxmlformats-officedocument.presentationml.slide+xml"/>
  <Override PartName="/ppt/slides/slide2671.xml" ContentType="application/vnd.openxmlformats-officedocument.presentationml.slide+xml"/>
  <Override PartName="/ppt/slides/slide2672.xml" ContentType="application/vnd.openxmlformats-officedocument.presentationml.slide+xml"/>
  <Override PartName="/ppt/slides/slide2673.xml" ContentType="application/vnd.openxmlformats-officedocument.presentationml.slide+xml"/>
  <Override PartName="/ppt/slides/slide2674.xml" ContentType="application/vnd.openxmlformats-officedocument.presentationml.slide+xml"/>
  <Override PartName="/ppt/slides/slide2675.xml" ContentType="application/vnd.openxmlformats-officedocument.presentationml.slide+xml"/>
  <Override PartName="/ppt/slides/slide2676.xml" ContentType="application/vnd.openxmlformats-officedocument.presentationml.slide+xml"/>
  <Override PartName="/ppt/slides/slide2677.xml" ContentType="application/vnd.openxmlformats-officedocument.presentationml.slide+xml"/>
  <Override PartName="/ppt/slides/slide2678.xml" ContentType="application/vnd.openxmlformats-officedocument.presentationml.slide+xml"/>
  <Override PartName="/ppt/slides/slide2679.xml" ContentType="application/vnd.openxmlformats-officedocument.presentationml.slide+xml"/>
  <Override PartName="/ppt/slides/slide268.xml" ContentType="application/vnd.openxmlformats-officedocument.presentationml.slide+xml"/>
  <Override PartName="/ppt/slides/slide2680.xml" ContentType="application/vnd.openxmlformats-officedocument.presentationml.slide+xml"/>
  <Override PartName="/ppt/slides/slide2681.xml" ContentType="application/vnd.openxmlformats-officedocument.presentationml.slide+xml"/>
  <Override PartName="/ppt/slides/slide2682.xml" ContentType="application/vnd.openxmlformats-officedocument.presentationml.slide+xml"/>
  <Override PartName="/ppt/slides/slide2683.xml" ContentType="application/vnd.openxmlformats-officedocument.presentationml.slide+xml"/>
  <Override PartName="/ppt/slides/slide2684.xml" ContentType="application/vnd.openxmlformats-officedocument.presentationml.slide+xml"/>
  <Override PartName="/ppt/slides/slide2685.xml" ContentType="application/vnd.openxmlformats-officedocument.presentationml.slide+xml"/>
  <Override PartName="/ppt/slides/slide2686.xml" ContentType="application/vnd.openxmlformats-officedocument.presentationml.slide+xml"/>
  <Override PartName="/ppt/slides/slide2687.xml" ContentType="application/vnd.openxmlformats-officedocument.presentationml.slide+xml"/>
  <Override PartName="/ppt/slides/slide2688.xml" ContentType="application/vnd.openxmlformats-officedocument.presentationml.slide+xml"/>
  <Override PartName="/ppt/slides/slide2689.xml" ContentType="application/vnd.openxmlformats-officedocument.presentationml.slide+xml"/>
  <Override PartName="/ppt/slides/slide269.xml" ContentType="application/vnd.openxmlformats-officedocument.presentationml.slide+xml"/>
  <Override PartName="/ppt/slides/slide2690.xml" ContentType="application/vnd.openxmlformats-officedocument.presentationml.slide+xml"/>
  <Override PartName="/ppt/slides/slide2691.xml" ContentType="application/vnd.openxmlformats-officedocument.presentationml.slide+xml"/>
  <Override PartName="/ppt/slides/slide2692.xml" ContentType="application/vnd.openxmlformats-officedocument.presentationml.slide+xml"/>
  <Override PartName="/ppt/slides/slide2693.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698"/>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 id="2147475449" r:id="rId260"/>
    <p:sldId id="2147475450" r:id="rId261"/>
    <p:sldId id="2147475451" r:id="rId262"/>
    <p:sldId id="2147475452" r:id="rId263"/>
    <p:sldId id="2147475453" r:id="rId264"/>
    <p:sldId id="2147475454" r:id="rId265"/>
    <p:sldId id="2147475455" r:id="rId266"/>
    <p:sldId id="2147475456" r:id="rId267"/>
    <p:sldId id="2147475457" r:id="rId268"/>
    <p:sldId id="2147475458" r:id="rId269"/>
    <p:sldId id="2147475459" r:id="rId270"/>
    <p:sldId id="2147475460" r:id="rId271"/>
    <p:sldId id="2147475461" r:id="rId272"/>
    <p:sldId id="2147475462" r:id="rId273"/>
    <p:sldId id="2147475463" r:id="rId274"/>
    <p:sldId id="2147475464" r:id="rId275"/>
    <p:sldId id="2147475465" r:id="rId276"/>
    <p:sldId id="2147475466" r:id="rId277"/>
    <p:sldId id="2147475467" r:id="rId278"/>
    <p:sldId id="2147475468" r:id="rId279"/>
    <p:sldId id="2147475469" r:id="rId280"/>
    <p:sldId id="2147475470" r:id="rId281"/>
    <p:sldId id="2147475471" r:id="rId282"/>
    <p:sldId id="2147475472" r:id="rId283"/>
    <p:sldId id="2147475473" r:id="rId284"/>
    <p:sldId id="2147475474" r:id="rId285"/>
    <p:sldId id="2147475475" r:id="rId286"/>
    <p:sldId id="2147475476" r:id="rId287"/>
    <p:sldId id="2147475477" r:id="rId288"/>
    <p:sldId id="2147475478" r:id="rId289"/>
    <p:sldId id="2147475479" r:id="rId290"/>
    <p:sldId id="2147475480" r:id="rId291"/>
    <p:sldId id="2147475481" r:id="rId292"/>
    <p:sldId id="2147475482" r:id="rId293"/>
    <p:sldId id="2147475483" r:id="rId294"/>
    <p:sldId id="2147475484" r:id="rId295"/>
    <p:sldId id="2147475485" r:id="rId296"/>
    <p:sldId id="2147475486" r:id="rId297"/>
    <p:sldId id="2147475487" r:id="rId298"/>
    <p:sldId id="2147475488" r:id="rId299"/>
    <p:sldId id="2147475489" r:id="rId300"/>
    <p:sldId id="2147475490" r:id="rId301"/>
    <p:sldId id="2147475491" r:id="rId302"/>
    <p:sldId id="2147475492" r:id="rId303"/>
    <p:sldId id="2147475493" r:id="rId304"/>
    <p:sldId id="2147475494" r:id="rId305"/>
    <p:sldId id="2147475495" r:id="rId306"/>
    <p:sldId id="2147475496" r:id="rId307"/>
    <p:sldId id="2147475497" r:id="rId308"/>
    <p:sldId id="2147475498" r:id="rId309"/>
    <p:sldId id="2147475499" r:id="rId310"/>
    <p:sldId id="2147475500" r:id="rId311"/>
    <p:sldId id="2147475501" r:id="rId312"/>
    <p:sldId id="2147475502" r:id="rId313"/>
    <p:sldId id="2147475503" r:id="rId314"/>
    <p:sldId id="2147475504" r:id="rId315"/>
    <p:sldId id="2147475505" r:id="rId316"/>
    <p:sldId id="2147475506" r:id="rId317"/>
    <p:sldId id="2147475507" r:id="rId318"/>
    <p:sldId id="2147475508" r:id="rId319"/>
    <p:sldId id="2147475509" r:id="rId320"/>
    <p:sldId id="2147475510" r:id="rId321"/>
    <p:sldId id="2147475511" r:id="rId322"/>
    <p:sldId id="2147475512" r:id="rId323"/>
    <p:sldId id="2147475513" r:id="rId324"/>
    <p:sldId id="2147475514" r:id="rId325"/>
    <p:sldId id="2147475515" r:id="rId326"/>
    <p:sldId id="2147475516" r:id="rId327"/>
    <p:sldId id="2147475517" r:id="rId328"/>
    <p:sldId id="2147475518" r:id="rId329"/>
    <p:sldId id="2147475519" r:id="rId330"/>
    <p:sldId id="2147475520" r:id="rId331"/>
    <p:sldId id="2147475521" r:id="rId332"/>
    <p:sldId id="2147475522" r:id="rId333"/>
    <p:sldId id="2147475523" r:id="rId334"/>
    <p:sldId id="2147475524" r:id="rId335"/>
    <p:sldId id="2147475525" r:id="rId336"/>
    <p:sldId id="2147475526" r:id="rId337"/>
    <p:sldId id="2147475527" r:id="rId338"/>
    <p:sldId id="2147475528" r:id="rId339"/>
    <p:sldId id="2147475529" r:id="rId340"/>
    <p:sldId id="2147475530" r:id="rId341"/>
    <p:sldId id="2147475531" r:id="rId342"/>
    <p:sldId id="2147475532" r:id="rId343"/>
    <p:sldId id="2147475533" r:id="rId344"/>
    <p:sldId id="2147475534" r:id="rId345"/>
    <p:sldId id="2147475535" r:id="rId346"/>
    <p:sldId id="2147475536" r:id="rId347"/>
    <p:sldId id="2147475537" r:id="rId348"/>
    <p:sldId id="2147475538" r:id="rId349"/>
    <p:sldId id="2147475539" r:id="rId350"/>
    <p:sldId id="2147475540" r:id="rId351"/>
    <p:sldId id="2147475541" r:id="rId352"/>
    <p:sldId id="2147475542" r:id="rId353"/>
    <p:sldId id="2147475543" r:id="rId354"/>
    <p:sldId id="2147475544" r:id="rId355"/>
    <p:sldId id="2147475545" r:id="rId356"/>
    <p:sldId id="2147475546" r:id="rId357"/>
    <p:sldId id="2147475547" r:id="rId358"/>
    <p:sldId id="2147475548" r:id="rId359"/>
    <p:sldId id="2147475549" r:id="rId360"/>
    <p:sldId id="2147475550" r:id="rId361"/>
    <p:sldId id="2147475551" r:id="rId362"/>
    <p:sldId id="2147475552" r:id="rId363"/>
    <p:sldId id="2147475553" r:id="rId364"/>
    <p:sldId id="2147475554" r:id="rId365"/>
    <p:sldId id="2147475555" r:id="rId366"/>
    <p:sldId id="2147475556" r:id="rId367"/>
    <p:sldId id="2147475557" r:id="rId368"/>
    <p:sldId id="2147475558" r:id="rId369"/>
    <p:sldId id="2147475559" r:id="rId370"/>
    <p:sldId id="2147475560" r:id="rId371"/>
    <p:sldId id="2147475561" r:id="rId372"/>
    <p:sldId id="2147475562" r:id="rId373"/>
    <p:sldId id="2147475563" r:id="rId374"/>
    <p:sldId id="2147475564" r:id="rId375"/>
    <p:sldId id="2147475565" r:id="rId376"/>
    <p:sldId id="2147475566" r:id="rId377"/>
    <p:sldId id="2147475567" r:id="rId378"/>
    <p:sldId id="2147475568" r:id="rId379"/>
    <p:sldId id="2147475569" r:id="rId380"/>
    <p:sldId id="2147475570" r:id="rId381"/>
    <p:sldId id="2147475571" r:id="rId382"/>
    <p:sldId id="2147475572" r:id="rId383"/>
    <p:sldId id="2147475573" r:id="rId384"/>
    <p:sldId id="2147475574" r:id="rId385"/>
    <p:sldId id="2147475575" r:id="rId386"/>
    <p:sldId id="2147475576" r:id="rId387"/>
    <p:sldId id="2147475577" r:id="rId388"/>
    <p:sldId id="2147475578" r:id="rId389"/>
    <p:sldId id="2147475579" r:id="rId390"/>
    <p:sldId id="2147475580" r:id="rId391"/>
    <p:sldId id="2147475581" r:id="rId392"/>
    <p:sldId id="2147475582" r:id="rId393"/>
    <p:sldId id="2147475583" r:id="rId394"/>
    <p:sldId id="2147475584" r:id="rId395"/>
    <p:sldId id="2147475585" r:id="rId396"/>
    <p:sldId id="2147475586" r:id="rId397"/>
    <p:sldId id="2147475587" r:id="rId398"/>
    <p:sldId id="2147475588" r:id="rId399"/>
    <p:sldId id="2147475589" r:id="rId400"/>
    <p:sldId id="2147475590" r:id="rId401"/>
    <p:sldId id="2147475591" r:id="rId402"/>
    <p:sldId id="2147475592" r:id="rId403"/>
    <p:sldId id="2147475593" r:id="rId404"/>
    <p:sldId id="2147475594" r:id="rId405"/>
    <p:sldId id="2147475595" r:id="rId406"/>
    <p:sldId id="2147475596" r:id="rId407"/>
    <p:sldId id="2147475597" r:id="rId408"/>
    <p:sldId id="2147475598" r:id="rId409"/>
    <p:sldId id="2147475599" r:id="rId410"/>
    <p:sldId id="2147475600" r:id="rId411"/>
    <p:sldId id="2147475601" r:id="rId412"/>
    <p:sldId id="2147475602" r:id="rId413"/>
    <p:sldId id="2147475603" r:id="rId414"/>
    <p:sldId id="2147475604" r:id="rId415"/>
    <p:sldId id="2147475605" r:id="rId416"/>
    <p:sldId id="2147475606" r:id="rId417"/>
    <p:sldId id="2147475607" r:id="rId418"/>
    <p:sldId id="2147475608" r:id="rId419"/>
    <p:sldId id="2147475609" r:id="rId420"/>
    <p:sldId id="2147475610" r:id="rId421"/>
    <p:sldId id="2147475611" r:id="rId422"/>
    <p:sldId id="2147475612" r:id="rId423"/>
    <p:sldId id="2147475613" r:id="rId424"/>
    <p:sldId id="2147475614" r:id="rId425"/>
    <p:sldId id="2147475615" r:id="rId426"/>
    <p:sldId id="2147475616" r:id="rId427"/>
    <p:sldId id="2147475617" r:id="rId428"/>
    <p:sldId id="2147475618" r:id="rId429"/>
    <p:sldId id="2147475619" r:id="rId430"/>
    <p:sldId id="2147475620" r:id="rId431"/>
    <p:sldId id="2147475621" r:id="rId432"/>
    <p:sldId id="2147475622" r:id="rId433"/>
    <p:sldId id="2147475623" r:id="rId434"/>
    <p:sldId id="2147475624" r:id="rId435"/>
    <p:sldId id="2147475625" r:id="rId436"/>
    <p:sldId id="2147475626" r:id="rId437"/>
    <p:sldId id="2147475627" r:id="rId438"/>
    <p:sldId id="2147475628" r:id="rId439"/>
    <p:sldId id="2147475629" r:id="rId440"/>
    <p:sldId id="2147475630" r:id="rId441"/>
    <p:sldId id="2147475631" r:id="rId442"/>
    <p:sldId id="2147475632" r:id="rId443"/>
    <p:sldId id="2147475633" r:id="rId444"/>
    <p:sldId id="2147475634" r:id="rId445"/>
    <p:sldId id="2147475635" r:id="rId446"/>
    <p:sldId id="2147475636" r:id="rId447"/>
    <p:sldId id="2147475637" r:id="rId448"/>
    <p:sldId id="2147475638" r:id="rId449"/>
    <p:sldId id="2147475639" r:id="rId450"/>
    <p:sldId id="2147475640" r:id="rId451"/>
    <p:sldId id="2147475641" r:id="rId452"/>
    <p:sldId id="2147475642" r:id="rId453"/>
    <p:sldId id="2147475643" r:id="rId454"/>
    <p:sldId id="2147475644" r:id="rId455"/>
    <p:sldId id="2147475645" r:id="rId456"/>
    <p:sldId id="2147475646" r:id="rId457"/>
    <p:sldId id="2147475647" r:id="rId458"/>
    <p:sldId id="2147475648" r:id="rId459"/>
    <p:sldId id="2147475649" r:id="rId460"/>
    <p:sldId id="2147475650" r:id="rId461"/>
    <p:sldId id="2147475651" r:id="rId462"/>
    <p:sldId id="2147475652" r:id="rId463"/>
    <p:sldId id="2147475653" r:id="rId464"/>
    <p:sldId id="2147475654" r:id="rId465"/>
    <p:sldId id="2147475655" r:id="rId466"/>
    <p:sldId id="2147475656" r:id="rId467"/>
    <p:sldId id="2147475657" r:id="rId468"/>
    <p:sldId id="2147475658" r:id="rId469"/>
    <p:sldId id="2147475659" r:id="rId470"/>
    <p:sldId id="2147475660" r:id="rId471"/>
    <p:sldId id="2147475661" r:id="rId472"/>
    <p:sldId id="2147475662" r:id="rId473"/>
    <p:sldId id="2147475663" r:id="rId474"/>
    <p:sldId id="2147475664" r:id="rId475"/>
    <p:sldId id="2147475665" r:id="rId476"/>
    <p:sldId id="2147475666" r:id="rId477"/>
    <p:sldId id="2147475667" r:id="rId478"/>
    <p:sldId id="2147475668" r:id="rId479"/>
    <p:sldId id="2147475669" r:id="rId480"/>
    <p:sldId id="2147475670" r:id="rId481"/>
    <p:sldId id="2147475671" r:id="rId482"/>
    <p:sldId id="2147475672" r:id="rId483"/>
    <p:sldId id="2147475673" r:id="rId484"/>
    <p:sldId id="2147475674" r:id="rId485"/>
    <p:sldId id="2147475675" r:id="rId486"/>
    <p:sldId id="2147475676" r:id="rId487"/>
    <p:sldId id="2147475677" r:id="rId488"/>
    <p:sldId id="2147475678" r:id="rId489"/>
    <p:sldId id="2147475679" r:id="rId490"/>
    <p:sldId id="2147475680" r:id="rId491"/>
    <p:sldId id="2147475681" r:id="rId492"/>
    <p:sldId id="2147475682" r:id="rId493"/>
    <p:sldId id="2147475683" r:id="rId494"/>
    <p:sldId id="2147475684" r:id="rId495"/>
    <p:sldId id="2147475685" r:id="rId496"/>
    <p:sldId id="2147475686" r:id="rId497"/>
    <p:sldId id="2147475687" r:id="rId498"/>
    <p:sldId id="2147475688" r:id="rId499"/>
    <p:sldId id="2147475689" r:id="rId500"/>
    <p:sldId id="2147475690" r:id="rId501"/>
    <p:sldId id="2147475691" r:id="rId502"/>
    <p:sldId id="2147475692" r:id="rId503"/>
    <p:sldId id="2147475693" r:id="rId504"/>
    <p:sldId id="2147475694" r:id="rId505"/>
    <p:sldId id="2147475695" r:id="rId506"/>
    <p:sldId id="2147475696" r:id="rId507"/>
    <p:sldId id="2147475697" r:id="rId508"/>
    <p:sldId id="2147475698" r:id="rId509"/>
    <p:sldId id="2147475699" r:id="rId510"/>
    <p:sldId id="2147475700" r:id="rId511"/>
    <p:sldId id="2147475701" r:id="rId512"/>
    <p:sldId id="2147475702" r:id="rId513"/>
    <p:sldId id="2147475703" r:id="rId514"/>
    <p:sldId id="2147475704" r:id="rId515"/>
    <p:sldId id="2147475705" r:id="rId516"/>
    <p:sldId id="2147475706" r:id="rId517"/>
    <p:sldId id="2147475707" r:id="rId518"/>
    <p:sldId id="2147475708" r:id="rId519"/>
    <p:sldId id="2147475709" r:id="rId520"/>
    <p:sldId id="2147475710" r:id="rId521"/>
    <p:sldId id="2147475711" r:id="rId522"/>
    <p:sldId id="2147475712" r:id="rId523"/>
    <p:sldId id="2147475713" r:id="rId524"/>
    <p:sldId id="2147475714" r:id="rId525"/>
    <p:sldId id="2147475715" r:id="rId526"/>
    <p:sldId id="2147475716" r:id="rId527"/>
    <p:sldId id="2147475717" r:id="rId528"/>
    <p:sldId id="2147475718" r:id="rId529"/>
    <p:sldId id="2147475719" r:id="rId530"/>
    <p:sldId id="2147475720" r:id="rId531"/>
    <p:sldId id="2147475721" r:id="rId532"/>
    <p:sldId id="2147475722" r:id="rId533"/>
    <p:sldId id="2147475723" r:id="rId534"/>
    <p:sldId id="2147475724" r:id="rId535"/>
    <p:sldId id="2147475725" r:id="rId536"/>
    <p:sldId id="2147475726" r:id="rId537"/>
    <p:sldId id="2147475727" r:id="rId538"/>
    <p:sldId id="2147475728" r:id="rId539"/>
    <p:sldId id="2147475729" r:id="rId540"/>
    <p:sldId id="2147475730" r:id="rId541"/>
    <p:sldId id="2147475731" r:id="rId542"/>
    <p:sldId id="2147475732" r:id="rId543"/>
    <p:sldId id="2147475733" r:id="rId544"/>
    <p:sldId id="2147475734" r:id="rId545"/>
    <p:sldId id="2147475735" r:id="rId546"/>
    <p:sldId id="2147475736" r:id="rId547"/>
    <p:sldId id="2147475737" r:id="rId548"/>
    <p:sldId id="2147475738" r:id="rId549"/>
    <p:sldId id="2147475739" r:id="rId550"/>
    <p:sldId id="2147475740" r:id="rId551"/>
    <p:sldId id="2147475741" r:id="rId552"/>
    <p:sldId id="2147475742" r:id="rId553"/>
    <p:sldId id="2147475743" r:id="rId554"/>
    <p:sldId id="2147475744" r:id="rId555"/>
    <p:sldId id="2147475745" r:id="rId556"/>
    <p:sldId id="2147475746" r:id="rId557"/>
    <p:sldId id="2147475747" r:id="rId558"/>
    <p:sldId id="2147475748" r:id="rId559"/>
    <p:sldId id="2147475749" r:id="rId560"/>
    <p:sldId id="2147475750" r:id="rId561"/>
    <p:sldId id="2147475751" r:id="rId562"/>
    <p:sldId id="2147475752" r:id="rId563"/>
    <p:sldId id="2147475753" r:id="rId564"/>
    <p:sldId id="2147475754" r:id="rId565"/>
    <p:sldId id="2147475755" r:id="rId566"/>
    <p:sldId id="2147475756" r:id="rId567"/>
    <p:sldId id="2147475757" r:id="rId568"/>
    <p:sldId id="2147475758" r:id="rId569"/>
    <p:sldId id="2147475759" r:id="rId570"/>
    <p:sldId id="2147475760" r:id="rId571"/>
    <p:sldId id="2147475761" r:id="rId572"/>
    <p:sldId id="2147475762" r:id="rId573"/>
    <p:sldId id="2147475763" r:id="rId574"/>
    <p:sldId id="2147475764" r:id="rId575"/>
    <p:sldId id="2147475765" r:id="rId576"/>
    <p:sldId id="2147475766" r:id="rId577"/>
    <p:sldId id="2147475767" r:id="rId578"/>
    <p:sldId id="2147475768" r:id="rId579"/>
    <p:sldId id="2147475769" r:id="rId580"/>
    <p:sldId id="2147475770" r:id="rId581"/>
    <p:sldId id="2147475771" r:id="rId582"/>
    <p:sldId id="2147475772" r:id="rId583"/>
    <p:sldId id="2147475773" r:id="rId584"/>
    <p:sldId id="2147475774" r:id="rId585"/>
    <p:sldId id="2147475775" r:id="rId586"/>
    <p:sldId id="2147475776" r:id="rId587"/>
    <p:sldId id="2147475777" r:id="rId588"/>
    <p:sldId id="2147475778" r:id="rId589"/>
    <p:sldId id="2147475779" r:id="rId590"/>
    <p:sldId id="2147475780" r:id="rId591"/>
    <p:sldId id="2147475781" r:id="rId592"/>
    <p:sldId id="2147475782" r:id="rId593"/>
    <p:sldId id="2147475783" r:id="rId594"/>
    <p:sldId id="2147475784" r:id="rId595"/>
    <p:sldId id="2147475785" r:id="rId596"/>
    <p:sldId id="2147475786" r:id="rId597"/>
    <p:sldId id="2147475787" r:id="rId598"/>
    <p:sldId id="2147475788" r:id="rId599"/>
    <p:sldId id="2147475789" r:id="rId600"/>
    <p:sldId id="2147475790" r:id="rId601"/>
    <p:sldId id="2147475791" r:id="rId602"/>
    <p:sldId id="2147475792" r:id="rId603"/>
    <p:sldId id="2147475793" r:id="rId604"/>
    <p:sldId id="2147475794" r:id="rId605"/>
    <p:sldId id="2147475795" r:id="rId606"/>
    <p:sldId id="2147475796" r:id="rId607"/>
    <p:sldId id="2147475797" r:id="rId608"/>
    <p:sldId id="2147475798" r:id="rId609"/>
    <p:sldId id="2147475799" r:id="rId610"/>
    <p:sldId id="2147475800" r:id="rId611"/>
    <p:sldId id="2147475801" r:id="rId612"/>
    <p:sldId id="2147475802" r:id="rId613"/>
    <p:sldId id="2147475803" r:id="rId614"/>
    <p:sldId id="2147475804" r:id="rId615"/>
    <p:sldId id="2147475805" r:id="rId616"/>
    <p:sldId id="2147475806" r:id="rId617"/>
    <p:sldId id="2147475807" r:id="rId618"/>
    <p:sldId id="2147475808" r:id="rId619"/>
    <p:sldId id="2147475809" r:id="rId620"/>
    <p:sldId id="2147475810" r:id="rId621"/>
    <p:sldId id="2147475811" r:id="rId622"/>
    <p:sldId id="2147475812" r:id="rId623"/>
    <p:sldId id="2147475813" r:id="rId624"/>
    <p:sldId id="2147475814" r:id="rId625"/>
    <p:sldId id="2147475815" r:id="rId626"/>
    <p:sldId id="2147475816" r:id="rId627"/>
    <p:sldId id="2147475817" r:id="rId628"/>
    <p:sldId id="2147475818" r:id="rId629"/>
    <p:sldId id="2147475819" r:id="rId630"/>
    <p:sldId id="2147475820" r:id="rId631"/>
    <p:sldId id="2147475821" r:id="rId632"/>
    <p:sldId id="2147475822" r:id="rId633"/>
    <p:sldId id="2147475823" r:id="rId634"/>
    <p:sldId id="2147475824" r:id="rId635"/>
    <p:sldId id="2147475825" r:id="rId636"/>
    <p:sldId id="2147475826" r:id="rId637"/>
    <p:sldId id="2147475827" r:id="rId638"/>
    <p:sldId id="2147475828" r:id="rId639"/>
    <p:sldId id="2147475829" r:id="rId640"/>
    <p:sldId id="2147475830" r:id="rId641"/>
    <p:sldId id="2147475831" r:id="rId642"/>
    <p:sldId id="2147475832" r:id="rId643"/>
    <p:sldId id="2147475833" r:id="rId644"/>
    <p:sldId id="2147475834" r:id="rId645"/>
    <p:sldId id="2147475835" r:id="rId646"/>
    <p:sldId id="2147475836" r:id="rId647"/>
    <p:sldId id="2147475837" r:id="rId648"/>
    <p:sldId id="2147475838" r:id="rId649"/>
    <p:sldId id="2147475839" r:id="rId650"/>
    <p:sldId id="2147475840" r:id="rId651"/>
    <p:sldId id="2147475841" r:id="rId652"/>
    <p:sldId id="2147475842" r:id="rId653"/>
    <p:sldId id="2147475843" r:id="rId654"/>
    <p:sldId id="2147475844" r:id="rId655"/>
    <p:sldId id="2147475845" r:id="rId656"/>
    <p:sldId id="2147475846" r:id="rId657"/>
    <p:sldId id="2147475847" r:id="rId658"/>
    <p:sldId id="2147475848" r:id="rId659"/>
    <p:sldId id="2147475849" r:id="rId660"/>
    <p:sldId id="2147475850" r:id="rId661"/>
    <p:sldId id="2147475851" r:id="rId662"/>
    <p:sldId id="2147475852" r:id="rId663"/>
    <p:sldId id="2147475853" r:id="rId664"/>
    <p:sldId id="2147475854" r:id="rId665"/>
    <p:sldId id="2147475855" r:id="rId666"/>
    <p:sldId id="2147475856" r:id="rId667"/>
    <p:sldId id="2147475857" r:id="rId668"/>
    <p:sldId id="2147475858" r:id="rId669"/>
    <p:sldId id="2147475859" r:id="rId670"/>
    <p:sldId id="2147475860" r:id="rId671"/>
    <p:sldId id="2147475861" r:id="rId672"/>
    <p:sldId id="2147475862" r:id="rId673"/>
    <p:sldId id="2147475863" r:id="rId674"/>
    <p:sldId id="2147475864" r:id="rId675"/>
    <p:sldId id="2147475865" r:id="rId676"/>
    <p:sldId id="2147475866" r:id="rId677"/>
    <p:sldId id="2147475867" r:id="rId678"/>
    <p:sldId id="2147475868" r:id="rId679"/>
    <p:sldId id="2147475869" r:id="rId680"/>
    <p:sldId id="2147475870" r:id="rId681"/>
    <p:sldId id="2147475871" r:id="rId682"/>
    <p:sldId id="2147475872" r:id="rId683"/>
    <p:sldId id="2147475873" r:id="rId684"/>
    <p:sldId id="2147475874" r:id="rId685"/>
    <p:sldId id="2147475875" r:id="rId686"/>
    <p:sldId id="2147475876" r:id="rId687"/>
    <p:sldId id="2147475877" r:id="rId688"/>
    <p:sldId id="2147475878" r:id="rId689"/>
    <p:sldId id="2147475879" r:id="rId690"/>
    <p:sldId id="2147475880" r:id="rId691"/>
    <p:sldId id="2147475881" r:id="rId692"/>
    <p:sldId id="2147475882" r:id="rId693"/>
    <p:sldId id="2147475883" r:id="rId694"/>
    <p:sldId id="2147475884" r:id="rId695"/>
    <p:sldId id="2147475885" r:id="rId696"/>
    <p:sldId id="2147475886" r:id="rId697"/>
    <p:sldId id="2147475887" r:id="rId698"/>
    <p:sldId id="2147475888" r:id="rId699"/>
    <p:sldId id="2147475889" r:id="rId700"/>
    <p:sldId id="2147475890" r:id="rId701"/>
    <p:sldId id="2147475891" r:id="rId702"/>
    <p:sldId id="2147475892" r:id="rId703"/>
    <p:sldId id="2147475893" r:id="rId704"/>
    <p:sldId id="2147475894" r:id="rId705"/>
    <p:sldId id="2147475895" r:id="rId706"/>
    <p:sldId id="2147475896" r:id="rId707"/>
    <p:sldId id="2147475897" r:id="rId708"/>
    <p:sldId id="2147475898" r:id="rId709"/>
    <p:sldId id="2147475899" r:id="rId710"/>
    <p:sldId id="2147475900" r:id="rId711"/>
    <p:sldId id="2147475901" r:id="rId712"/>
    <p:sldId id="2147475902" r:id="rId713"/>
    <p:sldId id="2147475903" r:id="rId714"/>
    <p:sldId id="2147475904" r:id="rId715"/>
    <p:sldId id="2147475905" r:id="rId716"/>
    <p:sldId id="2147475906" r:id="rId717"/>
    <p:sldId id="2147475907" r:id="rId718"/>
    <p:sldId id="2147475908" r:id="rId719"/>
    <p:sldId id="2147475909" r:id="rId720"/>
    <p:sldId id="2147475910" r:id="rId721"/>
    <p:sldId id="2147475911" r:id="rId722"/>
    <p:sldId id="2147475912" r:id="rId723"/>
    <p:sldId id="2147475913" r:id="rId724"/>
    <p:sldId id="2147475914" r:id="rId725"/>
    <p:sldId id="2147475915" r:id="rId726"/>
    <p:sldId id="2147475916" r:id="rId727"/>
    <p:sldId id="2147475917" r:id="rId728"/>
    <p:sldId id="2147475918" r:id="rId729"/>
    <p:sldId id="2147475919" r:id="rId730"/>
    <p:sldId id="2147475920" r:id="rId731"/>
    <p:sldId id="2147475921" r:id="rId732"/>
    <p:sldId id="2147475922" r:id="rId733"/>
    <p:sldId id="2147475923" r:id="rId734"/>
    <p:sldId id="2147475924" r:id="rId735"/>
    <p:sldId id="2147475925" r:id="rId736"/>
    <p:sldId id="2147475926" r:id="rId737"/>
    <p:sldId id="2147475927" r:id="rId738"/>
    <p:sldId id="2147475928" r:id="rId739"/>
    <p:sldId id="2147475929" r:id="rId740"/>
    <p:sldId id="2147475930" r:id="rId741"/>
    <p:sldId id="2147475931" r:id="rId742"/>
    <p:sldId id="2147475932" r:id="rId743"/>
    <p:sldId id="2147475933" r:id="rId744"/>
    <p:sldId id="2147475934" r:id="rId745"/>
    <p:sldId id="2147475935" r:id="rId746"/>
    <p:sldId id="2147475936" r:id="rId747"/>
    <p:sldId id="2147475937" r:id="rId748"/>
    <p:sldId id="2147475938" r:id="rId749"/>
    <p:sldId id="2147475939" r:id="rId750"/>
    <p:sldId id="2147475940" r:id="rId751"/>
    <p:sldId id="2147475941" r:id="rId752"/>
    <p:sldId id="2147475942" r:id="rId753"/>
    <p:sldId id="2147475943" r:id="rId754"/>
    <p:sldId id="2147475944" r:id="rId755"/>
    <p:sldId id="2147475945" r:id="rId756"/>
    <p:sldId id="2147475946" r:id="rId757"/>
    <p:sldId id="2147475947" r:id="rId758"/>
    <p:sldId id="2147475948" r:id="rId759"/>
    <p:sldId id="2147475949" r:id="rId760"/>
    <p:sldId id="2147475950" r:id="rId761"/>
    <p:sldId id="2147475951" r:id="rId762"/>
    <p:sldId id="2147475952" r:id="rId763"/>
    <p:sldId id="2147475953" r:id="rId764"/>
    <p:sldId id="2147475954" r:id="rId765"/>
    <p:sldId id="2147475955" r:id="rId766"/>
    <p:sldId id="2147475956" r:id="rId767"/>
    <p:sldId id="2147475957" r:id="rId768"/>
    <p:sldId id="2147475958" r:id="rId769"/>
    <p:sldId id="2147475959" r:id="rId770"/>
    <p:sldId id="2147475960" r:id="rId771"/>
    <p:sldId id="2147475961" r:id="rId772"/>
    <p:sldId id="2147475962" r:id="rId773"/>
    <p:sldId id="2147475963" r:id="rId774"/>
    <p:sldId id="2147475964" r:id="rId775"/>
    <p:sldId id="2147475965" r:id="rId776"/>
    <p:sldId id="2147475966" r:id="rId777"/>
    <p:sldId id="2147475967" r:id="rId778"/>
    <p:sldId id="2147475968" r:id="rId779"/>
    <p:sldId id="2147475969" r:id="rId780"/>
    <p:sldId id="2147475970" r:id="rId781"/>
    <p:sldId id="2147475971" r:id="rId782"/>
    <p:sldId id="2147475972" r:id="rId783"/>
    <p:sldId id="2147475973" r:id="rId784"/>
    <p:sldId id="2147475974" r:id="rId785"/>
    <p:sldId id="2147475975" r:id="rId786"/>
    <p:sldId id="2147475976" r:id="rId787"/>
    <p:sldId id="2147475977" r:id="rId788"/>
    <p:sldId id="2147475978" r:id="rId789"/>
    <p:sldId id="2147475979" r:id="rId790"/>
    <p:sldId id="2147475980" r:id="rId791"/>
    <p:sldId id="2147475981" r:id="rId792"/>
    <p:sldId id="2147475982" r:id="rId793"/>
    <p:sldId id="2147475983" r:id="rId794"/>
    <p:sldId id="2147475984" r:id="rId795"/>
    <p:sldId id="2147475985" r:id="rId796"/>
    <p:sldId id="2147475986" r:id="rId797"/>
    <p:sldId id="2147475987" r:id="rId798"/>
    <p:sldId id="2147475988" r:id="rId799"/>
    <p:sldId id="2147475989" r:id="rId800"/>
    <p:sldId id="2147475990" r:id="rId801"/>
    <p:sldId id="2147475991" r:id="rId802"/>
    <p:sldId id="2147475992" r:id="rId803"/>
    <p:sldId id="2147475993" r:id="rId804"/>
    <p:sldId id="2147475994" r:id="rId805"/>
    <p:sldId id="2147475995" r:id="rId806"/>
    <p:sldId id="2147475996" r:id="rId807"/>
    <p:sldId id="2147475997" r:id="rId808"/>
    <p:sldId id="2147475998" r:id="rId809"/>
    <p:sldId id="2147475999" r:id="rId810"/>
    <p:sldId id="2147476000" r:id="rId811"/>
    <p:sldId id="2147476001" r:id="rId812"/>
    <p:sldId id="2147476002" r:id="rId813"/>
    <p:sldId id="2147476003" r:id="rId814"/>
    <p:sldId id="2147476004" r:id="rId815"/>
    <p:sldId id="2147476005" r:id="rId816"/>
    <p:sldId id="2147476006" r:id="rId817"/>
    <p:sldId id="2147476007" r:id="rId818"/>
    <p:sldId id="2147476008" r:id="rId819"/>
    <p:sldId id="2147476009" r:id="rId820"/>
    <p:sldId id="2147476010" r:id="rId821"/>
    <p:sldId id="2147476011" r:id="rId822"/>
    <p:sldId id="2147476012" r:id="rId823"/>
    <p:sldId id="2147476013" r:id="rId824"/>
    <p:sldId id="2147476014" r:id="rId825"/>
    <p:sldId id="2147476015" r:id="rId826"/>
    <p:sldId id="2147476016" r:id="rId827"/>
    <p:sldId id="2147476017" r:id="rId828"/>
    <p:sldId id="2147476018" r:id="rId829"/>
    <p:sldId id="2147476019" r:id="rId830"/>
    <p:sldId id="2147476020" r:id="rId831"/>
    <p:sldId id="2147476021" r:id="rId832"/>
    <p:sldId id="2147476022" r:id="rId833"/>
    <p:sldId id="2147476023" r:id="rId834"/>
    <p:sldId id="2147476024" r:id="rId835"/>
    <p:sldId id="2147476025" r:id="rId836"/>
    <p:sldId id="2147476026" r:id="rId837"/>
    <p:sldId id="2147476027" r:id="rId838"/>
    <p:sldId id="2147476028" r:id="rId839"/>
    <p:sldId id="2147476029" r:id="rId840"/>
    <p:sldId id="2147476030" r:id="rId841"/>
    <p:sldId id="2147476031" r:id="rId842"/>
    <p:sldId id="2147476032" r:id="rId843"/>
    <p:sldId id="2147476033" r:id="rId844"/>
    <p:sldId id="2147476034" r:id="rId845"/>
    <p:sldId id="2147476035" r:id="rId846"/>
    <p:sldId id="2147476036" r:id="rId847"/>
    <p:sldId id="2147476037" r:id="rId848"/>
    <p:sldId id="2147476038" r:id="rId849"/>
    <p:sldId id="2147476039" r:id="rId850"/>
    <p:sldId id="2147476040" r:id="rId851"/>
    <p:sldId id="2147476041" r:id="rId852"/>
    <p:sldId id="2147476042" r:id="rId853"/>
    <p:sldId id="2147476043" r:id="rId854"/>
    <p:sldId id="2147476044" r:id="rId855"/>
    <p:sldId id="2147476045" r:id="rId856"/>
    <p:sldId id="2147476046" r:id="rId857"/>
    <p:sldId id="2147476047" r:id="rId858"/>
    <p:sldId id="2147476048" r:id="rId859"/>
    <p:sldId id="2147476049" r:id="rId860"/>
    <p:sldId id="2147476050" r:id="rId861"/>
    <p:sldId id="2147476051" r:id="rId862"/>
    <p:sldId id="2147476052" r:id="rId863"/>
    <p:sldId id="2147476053" r:id="rId864"/>
    <p:sldId id="2147476054" r:id="rId865"/>
    <p:sldId id="2147476055" r:id="rId866"/>
    <p:sldId id="2147476056" r:id="rId867"/>
    <p:sldId id="2147476057" r:id="rId868"/>
    <p:sldId id="2147476058" r:id="rId869"/>
    <p:sldId id="2147476059" r:id="rId870"/>
    <p:sldId id="2147476060" r:id="rId871"/>
    <p:sldId id="2147476061" r:id="rId872"/>
    <p:sldId id="2147476062" r:id="rId873"/>
    <p:sldId id="2147476063" r:id="rId874"/>
    <p:sldId id="2147476064" r:id="rId875"/>
    <p:sldId id="2147476065" r:id="rId876"/>
    <p:sldId id="2147476066" r:id="rId877"/>
    <p:sldId id="2147476067" r:id="rId878"/>
    <p:sldId id="2147476068" r:id="rId879"/>
    <p:sldId id="2147476069" r:id="rId880"/>
    <p:sldId id="2147476070" r:id="rId881"/>
    <p:sldId id="2147476071" r:id="rId882"/>
    <p:sldId id="2147476072" r:id="rId883"/>
    <p:sldId id="2147476073" r:id="rId884"/>
    <p:sldId id="2147476074" r:id="rId885"/>
    <p:sldId id="2147476075" r:id="rId886"/>
    <p:sldId id="2147476076" r:id="rId887"/>
    <p:sldId id="2147476077" r:id="rId888"/>
    <p:sldId id="2147476078" r:id="rId889"/>
    <p:sldId id="2147476079" r:id="rId890"/>
    <p:sldId id="2147476080" r:id="rId891"/>
    <p:sldId id="2147476081" r:id="rId892"/>
    <p:sldId id="2147476082" r:id="rId893"/>
    <p:sldId id="2147476083" r:id="rId894"/>
    <p:sldId id="2147476084" r:id="rId895"/>
    <p:sldId id="2147476085" r:id="rId896"/>
    <p:sldId id="2147476086" r:id="rId897"/>
    <p:sldId id="2147476087" r:id="rId898"/>
    <p:sldId id="2147476088" r:id="rId899"/>
    <p:sldId id="2147476089" r:id="rId900"/>
    <p:sldId id="2147476090" r:id="rId901"/>
    <p:sldId id="2147476091" r:id="rId902"/>
    <p:sldId id="2147476092" r:id="rId903"/>
    <p:sldId id="2147476093" r:id="rId904"/>
    <p:sldId id="2147476094" r:id="rId905"/>
    <p:sldId id="2147476095" r:id="rId906"/>
    <p:sldId id="2147476096" r:id="rId907"/>
    <p:sldId id="2147476097" r:id="rId908"/>
    <p:sldId id="2147476098" r:id="rId909"/>
    <p:sldId id="2147476099" r:id="rId910"/>
    <p:sldId id="2147476100" r:id="rId911"/>
    <p:sldId id="2147476101" r:id="rId912"/>
    <p:sldId id="2147476102" r:id="rId913"/>
    <p:sldId id="2147476103" r:id="rId914"/>
    <p:sldId id="2147476104" r:id="rId915"/>
    <p:sldId id="2147476105" r:id="rId916"/>
    <p:sldId id="2147476106" r:id="rId917"/>
    <p:sldId id="2147476107" r:id="rId918"/>
    <p:sldId id="2147476108" r:id="rId919"/>
    <p:sldId id="2147476109" r:id="rId920"/>
    <p:sldId id="2147476110" r:id="rId921"/>
    <p:sldId id="2147476111" r:id="rId922"/>
    <p:sldId id="2147476112" r:id="rId923"/>
    <p:sldId id="2147476113" r:id="rId924"/>
    <p:sldId id="2147476114" r:id="rId925"/>
    <p:sldId id="2147476115" r:id="rId926"/>
    <p:sldId id="2147476116" r:id="rId927"/>
    <p:sldId id="2147476117" r:id="rId928"/>
    <p:sldId id="2147476118" r:id="rId929"/>
    <p:sldId id="2147476119" r:id="rId930"/>
    <p:sldId id="2147476120" r:id="rId931"/>
    <p:sldId id="2147476121" r:id="rId932"/>
    <p:sldId id="2147476122" r:id="rId933"/>
    <p:sldId id="2147476123" r:id="rId934"/>
    <p:sldId id="2147476124" r:id="rId935"/>
    <p:sldId id="2147476125" r:id="rId936"/>
    <p:sldId id="2147476126" r:id="rId937"/>
    <p:sldId id="2147476127" r:id="rId938"/>
    <p:sldId id="2147476128" r:id="rId939"/>
    <p:sldId id="2147476129" r:id="rId940"/>
    <p:sldId id="2147476130" r:id="rId941"/>
    <p:sldId id="2147476131" r:id="rId942"/>
    <p:sldId id="2147476132" r:id="rId943"/>
    <p:sldId id="2147476133" r:id="rId944"/>
    <p:sldId id="2147476134" r:id="rId945"/>
    <p:sldId id="2147476135" r:id="rId946"/>
    <p:sldId id="2147476136" r:id="rId947"/>
    <p:sldId id="2147476137" r:id="rId948"/>
    <p:sldId id="2147476138" r:id="rId949"/>
    <p:sldId id="2147476139" r:id="rId950"/>
    <p:sldId id="2147476140" r:id="rId951"/>
    <p:sldId id="2147476141" r:id="rId952"/>
    <p:sldId id="2147476142" r:id="rId953"/>
    <p:sldId id="2147476143" r:id="rId954"/>
    <p:sldId id="2147476144" r:id="rId955"/>
    <p:sldId id="2147476145" r:id="rId956"/>
    <p:sldId id="2147476146" r:id="rId957"/>
    <p:sldId id="2147476147" r:id="rId958"/>
    <p:sldId id="2147476148" r:id="rId959"/>
    <p:sldId id="2147476149" r:id="rId960"/>
    <p:sldId id="2147476150" r:id="rId961"/>
    <p:sldId id="2147476151" r:id="rId962"/>
    <p:sldId id="2147476152" r:id="rId963"/>
    <p:sldId id="2147476153" r:id="rId964"/>
    <p:sldId id="2147476154" r:id="rId965"/>
    <p:sldId id="2147476155" r:id="rId966"/>
    <p:sldId id="2147476156" r:id="rId967"/>
    <p:sldId id="2147476157" r:id="rId968"/>
    <p:sldId id="2147476158" r:id="rId969"/>
    <p:sldId id="2147476159" r:id="rId970"/>
    <p:sldId id="2147476160" r:id="rId971"/>
    <p:sldId id="2147476161" r:id="rId972"/>
    <p:sldId id="2147476162" r:id="rId973"/>
    <p:sldId id="2147476163" r:id="rId974"/>
    <p:sldId id="2147476164" r:id="rId975"/>
    <p:sldId id="2147476165" r:id="rId976"/>
    <p:sldId id="2147476166" r:id="rId977"/>
    <p:sldId id="2147476167" r:id="rId978"/>
    <p:sldId id="2147476168" r:id="rId979"/>
    <p:sldId id="2147476169" r:id="rId980"/>
    <p:sldId id="2147476170" r:id="rId981"/>
    <p:sldId id="2147476171" r:id="rId982"/>
    <p:sldId id="2147476172" r:id="rId983"/>
    <p:sldId id="2147476173" r:id="rId984"/>
    <p:sldId id="2147476174" r:id="rId985"/>
    <p:sldId id="2147476175" r:id="rId986"/>
    <p:sldId id="2147476176" r:id="rId987"/>
    <p:sldId id="2147476177" r:id="rId988"/>
    <p:sldId id="2147476178" r:id="rId989"/>
    <p:sldId id="2147476179" r:id="rId990"/>
    <p:sldId id="2147476180" r:id="rId991"/>
    <p:sldId id="2147476181" r:id="rId992"/>
    <p:sldId id="2147476182" r:id="rId993"/>
    <p:sldId id="2147476183" r:id="rId994"/>
    <p:sldId id="2147476184" r:id="rId995"/>
    <p:sldId id="2147476185" r:id="rId996"/>
    <p:sldId id="2147476186" r:id="rId997"/>
    <p:sldId id="2147476187" r:id="rId998"/>
    <p:sldId id="2147476188" r:id="rId999"/>
    <p:sldId id="2147476189" r:id="rId1000"/>
    <p:sldId id="2147476190" r:id="rId1001"/>
    <p:sldId id="2147476191" r:id="rId1002"/>
    <p:sldId id="2147476192" r:id="rId1003"/>
    <p:sldId id="2147476193" r:id="rId1004"/>
    <p:sldId id="2147476194" r:id="rId1005"/>
    <p:sldId id="2147476195" r:id="rId1006"/>
    <p:sldId id="2147476196" r:id="rId1007"/>
    <p:sldId id="2147476197" r:id="rId1008"/>
    <p:sldId id="2147476198" r:id="rId1009"/>
    <p:sldId id="2147476199" r:id="rId1010"/>
    <p:sldId id="2147476200" r:id="rId1011"/>
    <p:sldId id="2147476201" r:id="rId1012"/>
    <p:sldId id="2147476202" r:id="rId1013"/>
    <p:sldId id="2147476203" r:id="rId1014"/>
    <p:sldId id="2147476204" r:id="rId1015"/>
    <p:sldId id="2147476205" r:id="rId1016"/>
    <p:sldId id="2147476206" r:id="rId1017"/>
    <p:sldId id="2147476207" r:id="rId1018"/>
    <p:sldId id="2147476208" r:id="rId1019"/>
    <p:sldId id="2147476209" r:id="rId1020"/>
    <p:sldId id="2147476210" r:id="rId1021"/>
    <p:sldId id="2147476211" r:id="rId1022"/>
    <p:sldId id="2147476212" r:id="rId1023"/>
    <p:sldId id="2147476213" r:id="rId1024"/>
    <p:sldId id="2147476214" r:id="rId1025"/>
    <p:sldId id="2147476215" r:id="rId1026"/>
    <p:sldId id="2147476216" r:id="rId1027"/>
    <p:sldId id="2147476217" r:id="rId1028"/>
    <p:sldId id="2147476218" r:id="rId1029"/>
    <p:sldId id="2147476219" r:id="rId1030"/>
    <p:sldId id="2147476220" r:id="rId1031"/>
    <p:sldId id="2147476221" r:id="rId1032"/>
    <p:sldId id="2147476222" r:id="rId1033"/>
    <p:sldId id="2147476223" r:id="rId1034"/>
    <p:sldId id="2147476224" r:id="rId1035"/>
    <p:sldId id="2147476225" r:id="rId1036"/>
    <p:sldId id="2147476226" r:id="rId1037"/>
    <p:sldId id="2147476227" r:id="rId1038"/>
    <p:sldId id="2147476228" r:id="rId1039"/>
    <p:sldId id="2147476229" r:id="rId1040"/>
    <p:sldId id="2147476230" r:id="rId1041"/>
    <p:sldId id="2147476231" r:id="rId1042"/>
    <p:sldId id="2147476232" r:id="rId1043"/>
    <p:sldId id="2147476233" r:id="rId1044"/>
    <p:sldId id="2147476234" r:id="rId1045"/>
    <p:sldId id="2147476235" r:id="rId1046"/>
    <p:sldId id="2147476236" r:id="rId1047"/>
    <p:sldId id="2147476237" r:id="rId1048"/>
    <p:sldId id="2147476238" r:id="rId1049"/>
    <p:sldId id="2147476239" r:id="rId1050"/>
    <p:sldId id="2147476240" r:id="rId1051"/>
    <p:sldId id="2147476241" r:id="rId1052"/>
    <p:sldId id="2147476242" r:id="rId1053"/>
    <p:sldId id="2147476243" r:id="rId1054"/>
    <p:sldId id="2147476244" r:id="rId1055"/>
    <p:sldId id="2147476245" r:id="rId1056"/>
    <p:sldId id="2147476246" r:id="rId1057"/>
    <p:sldId id="2147476247" r:id="rId1058"/>
    <p:sldId id="2147476248" r:id="rId1059"/>
    <p:sldId id="2147476249" r:id="rId1060"/>
    <p:sldId id="2147476250" r:id="rId1061"/>
    <p:sldId id="2147476251" r:id="rId1062"/>
    <p:sldId id="2147476252" r:id="rId1063"/>
    <p:sldId id="2147476253" r:id="rId1064"/>
    <p:sldId id="2147476254" r:id="rId1065"/>
    <p:sldId id="2147476255" r:id="rId1066"/>
    <p:sldId id="2147476256" r:id="rId1067"/>
    <p:sldId id="2147476257" r:id="rId1068"/>
    <p:sldId id="2147476258" r:id="rId1069"/>
    <p:sldId id="2147476259" r:id="rId1070"/>
    <p:sldId id="2147476260" r:id="rId1071"/>
    <p:sldId id="2147476261" r:id="rId1072"/>
    <p:sldId id="2147476262" r:id="rId1073"/>
    <p:sldId id="2147476263" r:id="rId1074"/>
    <p:sldId id="2147476264" r:id="rId1075"/>
    <p:sldId id="2147476265" r:id="rId1076"/>
    <p:sldId id="2147476266" r:id="rId1077"/>
    <p:sldId id="2147476267" r:id="rId1078"/>
    <p:sldId id="2147476268" r:id="rId1079"/>
    <p:sldId id="2147476269" r:id="rId1080"/>
    <p:sldId id="2147476270" r:id="rId1081"/>
    <p:sldId id="2147476271" r:id="rId1082"/>
    <p:sldId id="2147476272" r:id="rId1083"/>
    <p:sldId id="2147476273" r:id="rId1084"/>
    <p:sldId id="2147476274" r:id="rId1085"/>
    <p:sldId id="2147476275" r:id="rId1086"/>
    <p:sldId id="2147476276" r:id="rId1087"/>
    <p:sldId id="2147476277" r:id="rId1088"/>
    <p:sldId id="2147476278" r:id="rId1089"/>
    <p:sldId id="2147476279" r:id="rId1090"/>
    <p:sldId id="2147476280" r:id="rId1091"/>
    <p:sldId id="2147476281" r:id="rId1092"/>
    <p:sldId id="2147476282" r:id="rId1093"/>
    <p:sldId id="2147476283" r:id="rId1094"/>
    <p:sldId id="2147476284" r:id="rId1095"/>
    <p:sldId id="2147476285" r:id="rId1096"/>
    <p:sldId id="2147476286" r:id="rId1097"/>
    <p:sldId id="2147476287" r:id="rId1098"/>
    <p:sldId id="2147476288" r:id="rId1099"/>
    <p:sldId id="2147476289" r:id="rId1100"/>
    <p:sldId id="2147476290" r:id="rId1101"/>
    <p:sldId id="2147476291" r:id="rId1102"/>
    <p:sldId id="2147476292" r:id="rId1103"/>
    <p:sldId id="2147476293" r:id="rId1104"/>
    <p:sldId id="2147476294" r:id="rId1105"/>
    <p:sldId id="2147476295" r:id="rId1106"/>
    <p:sldId id="2147476296" r:id="rId1107"/>
    <p:sldId id="2147476297" r:id="rId1108"/>
    <p:sldId id="2147476298" r:id="rId1109"/>
    <p:sldId id="2147476299" r:id="rId1110"/>
    <p:sldId id="2147476300" r:id="rId1111"/>
    <p:sldId id="2147476301" r:id="rId1112"/>
    <p:sldId id="2147476302" r:id="rId1113"/>
    <p:sldId id="2147476303" r:id="rId1114"/>
    <p:sldId id="2147476304" r:id="rId1115"/>
    <p:sldId id="2147476305" r:id="rId1116"/>
    <p:sldId id="2147476306" r:id="rId1117"/>
    <p:sldId id="2147476307" r:id="rId1118"/>
    <p:sldId id="2147476308" r:id="rId1119"/>
    <p:sldId id="2147476309" r:id="rId1120"/>
    <p:sldId id="2147476310" r:id="rId1121"/>
    <p:sldId id="2147476311" r:id="rId1122"/>
    <p:sldId id="2147476312" r:id="rId1123"/>
    <p:sldId id="2147476313" r:id="rId1124"/>
    <p:sldId id="2147476314" r:id="rId1125"/>
    <p:sldId id="2147476315" r:id="rId1126"/>
    <p:sldId id="2147476316" r:id="rId1127"/>
    <p:sldId id="2147476317" r:id="rId1128"/>
    <p:sldId id="2147476318" r:id="rId1129"/>
    <p:sldId id="2147476319" r:id="rId1130"/>
    <p:sldId id="2147476320" r:id="rId1131"/>
    <p:sldId id="2147476321" r:id="rId1132"/>
    <p:sldId id="2147476322" r:id="rId1133"/>
    <p:sldId id="2147476323" r:id="rId1134"/>
    <p:sldId id="2147476324" r:id="rId1135"/>
    <p:sldId id="2147476325" r:id="rId1136"/>
    <p:sldId id="2147476326" r:id="rId1137"/>
    <p:sldId id="2147476327" r:id="rId1138"/>
    <p:sldId id="2147476328" r:id="rId1139"/>
    <p:sldId id="2147476329" r:id="rId1140"/>
    <p:sldId id="2147476330" r:id="rId1141"/>
    <p:sldId id="2147476331" r:id="rId1142"/>
    <p:sldId id="2147476332" r:id="rId1143"/>
    <p:sldId id="2147476333" r:id="rId1144"/>
    <p:sldId id="2147476334" r:id="rId1145"/>
    <p:sldId id="2147476335" r:id="rId1146"/>
    <p:sldId id="2147476336" r:id="rId1147"/>
    <p:sldId id="2147476337" r:id="rId1148"/>
    <p:sldId id="2147476338" r:id="rId1149"/>
    <p:sldId id="2147476339" r:id="rId1150"/>
    <p:sldId id="2147476340" r:id="rId1151"/>
    <p:sldId id="2147476341" r:id="rId1152"/>
    <p:sldId id="2147476342" r:id="rId1153"/>
    <p:sldId id="2147476343" r:id="rId1154"/>
    <p:sldId id="2147476344" r:id="rId1155"/>
    <p:sldId id="2147476345" r:id="rId1156"/>
    <p:sldId id="2147476346" r:id="rId1157"/>
    <p:sldId id="2147476347" r:id="rId1158"/>
    <p:sldId id="2147476348" r:id="rId1159"/>
    <p:sldId id="2147476349" r:id="rId1160"/>
    <p:sldId id="2147476350" r:id="rId1161"/>
    <p:sldId id="2147476351" r:id="rId1162"/>
    <p:sldId id="2147476352" r:id="rId1163"/>
    <p:sldId id="2147476353" r:id="rId1164"/>
    <p:sldId id="2147476354" r:id="rId1165"/>
    <p:sldId id="2147476355" r:id="rId1166"/>
    <p:sldId id="2147476356" r:id="rId1167"/>
    <p:sldId id="2147476357" r:id="rId1168"/>
    <p:sldId id="2147476358" r:id="rId1169"/>
    <p:sldId id="2147476359" r:id="rId1170"/>
    <p:sldId id="2147476360" r:id="rId1171"/>
    <p:sldId id="2147476361" r:id="rId1172"/>
    <p:sldId id="2147476362" r:id="rId1173"/>
    <p:sldId id="2147476363" r:id="rId1174"/>
    <p:sldId id="2147476364" r:id="rId1175"/>
    <p:sldId id="2147476365" r:id="rId1176"/>
    <p:sldId id="2147476366" r:id="rId1177"/>
    <p:sldId id="2147476367" r:id="rId1178"/>
    <p:sldId id="2147476368" r:id="rId1179"/>
    <p:sldId id="2147476369" r:id="rId1180"/>
    <p:sldId id="2147476370" r:id="rId1181"/>
    <p:sldId id="2147476371" r:id="rId1182"/>
    <p:sldId id="2147476372" r:id="rId1183"/>
    <p:sldId id="2147476373" r:id="rId1184"/>
    <p:sldId id="2147476374" r:id="rId1185"/>
    <p:sldId id="2147476375" r:id="rId1186"/>
    <p:sldId id="2147476376" r:id="rId1187"/>
    <p:sldId id="2147476377" r:id="rId1188"/>
    <p:sldId id="2147476378" r:id="rId1189"/>
    <p:sldId id="2147476379" r:id="rId1190"/>
    <p:sldId id="2147476380" r:id="rId1191"/>
    <p:sldId id="2147476381" r:id="rId1192"/>
    <p:sldId id="2147476382" r:id="rId1193"/>
    <p:sldId id="2147476383" r:id="rId1194"/>
    <p:sldId id="2147476384" r:id="rId1195"/>
    <p:sldId id="2147476385" r:id="rId1196"/>
    <p:sldId id="2147476386" r:id="rId1197"/>
    <p:sldId id="2147476387" r:id="rId1198"/>
    <p:sldId id="2147476388" r:id="rId1199"/>
    <p:sldId id="2147476389" r:id="rId1200"/>
    <p:sldId id="2147476390" r:id="rId1201"/>
    <p:sldId id="2147476391" r:id="rId1202"/>
    <p:sldId id="2147476392" r:id="rId1203"/>
    <p:sldId id="2147476393" r:id="rId1204"/>
    <p:sldId id="2147476394" r:id="rId1205"/>
    <p:sldId id="2147476395" r:id="rId1206"/>
    <p:sldId id="2147476396" r:id="rId1207"/>
    <p:sldId id="2147476397" r:id="rId1208"/>
    <p:sldId id="2147476398" r:id="rId1209"/>
    <p:sldId id="2147476399" r:id="rId1210"/>
    <p:sldId id="2147476400" r:id="rId1211"/>
    <p:sldId id="2147476401" r:id="rId1212"/>
    <p:sldId id="2147476402" r:id="rId1213"/>
    <p:sldId id="2147476403" r:id="rId1214"/>
    <p:sldId id="2147476404" r:id="rId1215"/>
    <p:sldId id="2147476405" r:id="rId1216"/>
    <p:sldId id="2147476406" r:id="rId1217"/>
    <p:sldId id="2147476407" r:id="rId1218"/>
    <p:sldId id="2147476408" r:id="rId1219"/>
    <p:sldId id="2147476409" r:id="rId1220"/>
    <p:sldId id="2147476410" r:id="rId1221"/>
    <p:sldId id="2147476411" r:id="rId1222"/>
    <p:sldId id="2147476412" r:id="rId1223"/>
    <p:sldId id="2147476413" r:id="rId1224"/>
    <p:sldId id="2147476414" r:id="rId1225"/>
    <p:sldId id="2147476415" r:id="rId1226"/>
    <p:sldId id="2147476416" r:id="rId1227"/>
    <p:sldId id="2147476417" r:id="rId1228"/>
    <p:sldId id="2147476418" r:id="rId1229"/>
    <p:sldId id="2147476419" r:id="rId1230"/>
    <p:sldId id="2147476420" r:id="rId1231"/>
    <p:sldId id="2147476421" r:id="rId1232"/>
    <p:sldId id="2147476422" r:id="rId1233"/>
    <p:sldId id="2147476423" r:id="rId1234"/>
    <p:sldId id="2147476424" r:id="rId1235"/>
    <p:sldId id="2147476425" r:id="rId1236"/>
    <p:sldId id="2147476426" r:id="rId1237"/>
    <p:sldId id="2147476427" r:id="rId1238"/>
    <p:sldId id="2147476428" r:id="rId1239"/>
    <p:sldId id="2147476429" r:id="rId1240"/>
    <p:sldId id="2147476430" r:id="rId1241"/>
    <p:sldId id="2147476431" r:id="rId1242"/>
    <p:sldId id="2147476432" r:id="rId1243"/>
    <p:sldId id="2147476433" r:id="rId1244"/>
    <p:sldId id="2147476434" r:id="rId1245"/>
    <p:sldId id="2147476435" r:id="rId1246"/>
    <p:sldId id="2147476436" r:id="rId1247"/>
    <p:sldId id="2147476437" r:id="rId1248"/>
    <p:sldId id="2147476438" r:id="rId1249"/>
    <p:sldId id="2147476439" r:id="rId1250"/>
    <p:sldId id="2147476440" r:id="rId1251"/>
    <p:sldId id="2147476441" r:id="rId1252"/>
    <p:sldId id="2147476442" r:id="rId1253"/>
    <p:sldId id="2147476443" r:id="rId1254"/>
    <p:sldId id="2147476444" r:id="rId1255"/>
    <p:sldId id="2147476445" r:id="rId1256"/>
    <p:sldId id="2147476446" r:id="rId1257"/>
    <p:sldId id="2147476447" r:id="rId1258"/>
    <p:sldId id="2147476448" r:id="rId1259"/>
    <p:sldId id="2147476449" r:id="rId1260"/>
    <p:sldId id="2147476450" r:id="rId1261"/>
    <p:sldId id="2147476451" r:id="rId1262"/>
    <p:sldId id="2147476452" r:id="rId1263"/>
    <p:sldId id="2147476453" r:id="rId1264"/>
    <p:sldId id="2147476454" r:id="rId1265"/>
    <p:sldId id="2147476455" r:id="rId1266"/>
    <p:sldId id="2147476456" r:id="rId1267"/>
    <p:sldId id="2147476457" r:id="rId1268"/>
    <p:sldId id="2147476458" r:id="rId1269"/>
    <p:sldId id="2147476459" r:id="rId1270"/>
    <p:sldId id="2147476460" r:id="rId1271"/>
    <p:sldId id="2147476461" r:id="rId1272"/>
    <p:sldId id="2147476462" r:id="rId1273"/>
    <p:sldId id="2147476463" r:id="rId1274"/>
    <p:sldId id="2147476464" r:id="rId1275"/>
    <p:sldId id="2147476465" r:id="rId1276"/>
    <p:sldId id="2147476466" r:id="rId1277"/>
    <p:sldId id="2147476467" r:id="rId1278"/>
    <p:sldId id="2147476468" r:id="rId1279"/>
    <p:sldId id="2147476469" r:id="rId1280"/>
    <p:sldId id="2147476470" r:id="rId1281"/>
    <p:sldId id="2147476471" r:id="rId1282"/>
    <p:sldId id="2147476472" r:id="rId1283"/>
    <p:sldId id="2147476473" r:id="rId1284"/>
    <p:sldId id="2147476474" r:id="rId1285"/>
    <p:sldId id="2147476475" r:id="rId1286"/>
    <p:sldId id="2147476476" r:id="rId1287"/>
    <p:sldId id="2147476477" r:id="rId1288"/>
    <p:sldId id="2147476478" r:id="rId1289"/>
    <p:sldId id="2147476479" r:id="rId1290"/>
    <p:sldId id="2147476480" r:id="rId1291"/>
    <p:sldId id="2147476481" r:id="rId1292"/>
    <p:sldId id="2147476482" r:id="rId1293"/>
    <p:sldId id="2147476483" r:id="rId1294"/>
    <p:sldId id="2147476484" r:id="rId1295"/>
    <p:sldId id="2147476485" r:id="rId1296"/>
    <p:sldId id="2147476486" r:id="rId1297"/>
    <p:sldId id="2147476487" r:id="rId1298"/>
    <p:sldId id="2147476488" r:id="rId1299"/>
    <p:sldId id="2147476489" r:id="rId1300"/>
    <p:sldId id="2147476490" r:id="rId1301"/>
    <p:sldId id="2147476491" r:id="rId1302"/>
    <p:sldId id="2147476492" r:id="rId1303"/>
    <p:sldId id="2147476493" r:id="rId1304"/>
    <p:sldId id="2147476494" r:id="rId1305"/>
    <p:sldId id="2147476495" r:id="rId1306"/>
    <p:sldId id="2147476496" r:id="rId1307"/>
    <p:sldId id="2147476497" r:id="rId1308"/>
    <p:sldId id="2147476498" r:id="rId1309"/>
    <p:sldId id="2147476499" r:id="rId1310"/>
    <p:sldId id="2147476500" r:id="rId1311"/>
    <p:sldId id="2147476501" r:id="rId1312"/>
    <p:sldId id="2147476502" r:id="rId1313"/>
    <p:sldId id="2147476503" r:id="rId1314"/>
    <p:sldId id="2147476504" r:id="rId1315"/>
    <p:sldId id="2147476505" r:id="rId1316"/>
    <p:sldId id="2147476506" r:id="rId1317"/>
    <p:sldId id="2147476507" r:id="rId1318"/>
    <p:sldId id="2147476508" r:id="rId1319"/>
    <p:sldId id="2147476509" r:id="rId1320"/>
    <p:sldId id="2147476510" r:id="rId1321"/>
    <p:sldId id="2147476511" r:id="rId1322"/>
    <p:sldId id="2147476512" r:id="rId1323"/>
    <p:sldId id="2147476513" r:id="rId1324"/>
    <p:sldId id="2147476514" r:id="rId1325"/>
    <p:sldId id="2147476515" r:id="rId1326"/>
    <p:sldId id="2147476516" r:id="rId1327"/>
    <p:sldId id="2147476517" r:id="rId1328"/>
    <p:sldId id="2147476518" r:id="rId1329"/>
    <p:sldId id="2147476519" r:id="rId1330"/>
    <p:sldId id="2147476520" r:id="rId1331"/>
    <p:sldId id="2147476521" r:id="rId1332"/>
    <p:sldId id="2147476522" r:id="rId1333"/>
    <p:sldId id="2147476523" r:id="rId1334"/>
    <p:sldId id="2147476524" r:id="rId1335"/>
    <p:sldId id="2147476525" r:id="rId1336"/>
    <p:sldId id="2147476526" r:id="rId1337"/>
    <p:sldId id="2147476527" r:id="rId1338"/>
    <p:sldId id="2147476528" r:id="rId1339"/>
    <p:sldId id="2147476529" r:id="rId1340"/>
    <p:sldId id="2147476530" r:id="rId1341"/>
    <p:sldId id="2147476531" r:id="rId1342"/>
    <p:sldId id="2147476532" r:id="rId1343"/>
    <p:sldId id="2147476533" r:id="rId1344"/>
    <p:sldId id="2147476534" r:id="rId1345"/>
    <p:sldId id="2147476535" r:id="rId1346"/>
    <p:sldId id="2147476536" r:id="rId1347"/>
    <p:sldId id="2147476537" r:id="rId1348"/>
    <p:sldId id="2147476538" r:id="rId1349"/>
    <p:sldId id="2147476539" r:id="rId1350"/>
    <p:sldId id="2147476540" r:id="rId1351"/>
    <p:sldId id="2147476541" r:id="rId1352"/>
    <p:sldId id="2147476542" r:id="rId1353"/>
    <p:sldId id="2147476543" r:id="rId1354"/>
    <p:sldId id="2147476544" r:id="rId1355"/>
    <p:sldId id="2147476545" r:id="rId1356"/>
    <p:sldId id="2147476546" r:id="rId1357"/>
    <p:sldId id="2147476547" r:id="rId1358"/>
    <p:sldId id="2147476548" r:id="rId1359"/>
    <p:sldId id="2147476549" r:id="rId1360"/>
    <p:sldId id="2147476550" r:id="rId1361"/>
    <p:sldId id="2147476551" r:id="rId1362"/>
    <p:sldId id="2147476552" r:id="rId1363"/>
    <p:sldId id="2147476553" r:id="rId1364"/>
    <p:sldId id="2147476554" r:id="rId1365"/>
    <p:sldId id="2147476555" r:id="rId1366"/>
    <p:sldId id="2147476556" r:id="rId1367"/>
    <p:sldId id="2147476557" r:id="rId1368"/>
    <p:sldId id="2147476558" r:id="rId1369"/>
    <p:sldId id="2147476559" r:id="rId1370"/>
    <p:sldId id="2147476560" r:id="rId1371"/>
    <p:sldId id="2147476561" r:id="rId1372"/>
    <p:sldId id="2147476562" r:id="rId1373"/>
    <p:sldId id="2147476563" r:id="rId1374"/>
    <p:sldId id="2147476564" r:id="rId1375"/>
    <p:sldId id="2147476565" r:id="rId1376"/>
    <p:sldId id="2147476566" r:id="rId1377"/>
    <p:sldId id="2147476567" r:id="rId1378"/>
    <p:sldId id="2147476568" r:id="rId1379"/>
    <p:sldId id="2147476569" r:id="rId1380"/>
    <p:sldId id="2147476570" r:id="rId1381"/>
    <p:sldId id="2147476571" r:id="rId1382"/>
    <p:sldId id="2147476572" r:id="rId1383"/>
    <p:sldId id="2147476573" r:id="rId1384"/>
    <p:sldId id="2147476574" r:id="rId1385"/>
    <p:sldId id="2147476575" r:id="rId1386"/>
    <p:sldId id="2147476576" r:id="rId1387"/>
    <p:sldId id="2147476577" r:id="rId1388"/>
    <p:sldId id="2147476578" r:id="rId1389"/>
    <p:sldId id="2147476579" r:id="rId1390"/>
    <p:sldId id="2147476580" r:id="rId1391"/>
    <p:sldId id="2147476581" r:id="rId1392"/>
    <p:sldId id="2147476582" r:id="rId1393"/>
    <p:sldId id="2147476583" r:id="rId1394"/>
    <p:sldId id="2147476584" r:id="rId1395"/>
    <p:sldId id="2147476585" r:id="rId1396"/>
    <p:sldId id="2147476586" r:id="rId1397"/>
    <p:sldId id="2147476587" r:id="rId1398"/>
    <p:sldId id="2147476588" r:id="rId1399"/>
    <p:sldId id="2147476589" r:id="rId1400"/>
    <p:sldId id="2147476590" r:id="rId1401"/>
    <p:sldId id="2147476591" r:id="rId1402"/>
    <p:sldId id="2147476592" r:id="rId1403"/>
    <p:sldId id="2147476593" r:id="rId1404"/>
    <p:sldId id="2147476594" r:id="rId1405"/>
    <p:sldId id="2147476595" r:id="rId1406"/>
    <p:sldId id="2147476596" r:id="rId1407"/>
    <p:sldId id="2147476597" r:id="rId1408"/>
    <p:sldId id="2147476598" r:id="rId1409"/>
    <p:sldId id="2147476599" r:id="rId1410"/>
    <p:sldId id="2147476600" r:id="rId1411"/>
    <p:sldId id="2147476601" r:id="rId1412"/>
    <p:sldId id="2147476602" r:id="rId1413"/>
    <p:sldId id="2147476603" r:id="rId1414"/>
    <p:sldId id="2147476604" r:id="rId1415"/>
    <p:sldId id="2147476605" r:id="rId1416"/>
    <p:sldId id="2147476606" r:id="rId1417"/>
    <p:sldId id="2147476607" r:id="rId1418"/>
    <p:sldId id="2147476608" r:id="rId1419"/>
    <p:sldId id="2147476609" r:id="rId1420"/>
    <p:sldId id="2147476610" r:id="rId1421"/>
    <p:sldId id="2147476611" r:id="rId1422"/>
    <p:sldId id="2147476612" r:id="rId1423"/>
    <p:sldId id="2147476613" r:id="rId1424"/>
    <p:sldId id="2147476614" r:id="rId1425"/>
    <p:sldId id="2147476615" r:id="rId1426"/>
    <p:sldId id="2147476616" r:id="rId1427"/>
    <p:sldId id="2147476617" r:id="rId1428"/>
    <p:sldId id="2147476618" r:id="rId1429"/>
    <p:sldId id="2147476619" r:id="rId1430"/>
    <p:sldId id="2147476620" r:id="rId1431"/>
    <p:sldId id="2147476621" r:id="rId1432"/>
    <p:sldId id="2147476622" r:id="rId1433"/>
    <p:sldId id="2147476623" r:id="rId1434"/>
    <p:sldId id="2147476624" r:id="rId1435"/>
    <p:sldId id="2147476625" r:id="rId1436"/>
    <p:sldId id="2147476626" r:id="rId1437"/>
    <p:sldId id="2147476627" r:id="rId1438"/>
    <p:sldId id="2147476628" r:id="rId1439"/>
    <p:sldId id="2147476629" r:id="rId1440"/>
    <p:sldId id="2147476630" r:id="rId1441"/>
    <p:sldId id="2147476631" r:id="rId1442"/>
    <p:sldId id="2147476632" r:id="rId1443"/>
    <p:sldId id="2147476633" r:id="rId1444"/>
    <p:sldId id="2147476634" r:id="rId1445"/>
    <p:sldId id="2147476635" r:id="rId1446"/>
    <p:sldId id="2147476636" r:id="rId1447"/>
    <p:sldId id="2147476637" r:id="rId1448"/>
    <p:sldId id="2147476638" r:id="rId1449"/>
    <p:sldId id="2147476639" r:id="rId1450"/>
    <p:sldId id="2147476640" r:id="rId1451"/>
    <p:sldId id="2147476641" r:id="rId1452"/>
    <p:sldId id="2147476642" r:id="rId1453"/>
    <p:sldId id="2147476643" r:id="rId1454"/>
    <p:sldId id="2147476644" r:id="rId1455"/>
    <p:sldId id="2147476645" r:id="rId1456"/>
    <p:sldId id="2147476646" r:id="rId1457"/>
    <p:sldId id="2147476647" r:id="rId1458"/>
    <p:sldId id="2147476648" r:id="rId1459"/>
    <p:sldId id="2147476649" r:id="rId1460"/>
    <p:sldId id="2147476650" r:id="rId1461"/>
    <p:sldId id="2147476651" r:id="rId1462"/>
    <p:sldId id="2147476652" r:id="rId1463"/>
    <p:sldId id="2147476653" r:id="rId1464"/>
    <p:sldId id="2147476654" r:id="rId1465"/>
    <p:sldId id="2147476655" r:id="rId1466"/>
    <p:sldId id="2147476656" r:id="rId1467"/>
    <p:sldId id="2147476657" r:id="rId1468"/>
    <p:sldId id="2147476658" r:id="rId1469"/>
    <p:sldId id="2147476659" r:id="rId1470"/>
    <p:sldId id="2147476660" r:id="rId1471"/>
    <p:sldId id="2147476661" r:id="rId1472"/>
    <p:sldId id="2147476662" r:id="rId1473"/>
    <p:sldId id="2147476663" r:id="rId1474"/>
    <p:sldId id="2147476664" r:id="rId1475"/>
    <p:sldId id="2147476665" r:id="rId1476"/>
    <p:sldId id="2147476666" r:id="rId1477"/>
    <p:sldId id="2147476667" r:id="rId1478"/>
    <p:sldId id="2147476668" r:id="rId1479"/>
    <p:sldId id="2147476669" r:id="rId1480"/>
    <p:sldId id="2147476670" r:id="rId1481"/>
    <p:sldId id="2147476671" r:id="rId1482"/>
    <p:sldId id="2147476672" r:id="rId1483"/>
    <p:sldId id="2147476673" r:id="rId1484"/>
    <p:sldId id="2147476674" r:id="rId1485"/>
    <p:sldId id="2147476675" r:id="rId1486"/>
    <p:sldId id="2147476676" r:id="rId1487"/>
    <p:sldId id="2147476677" r:id="rId1488"/>
    <p:sldId id="2147476678" r:id="rId1489"/>
    <p:sldId id="2147476679" r:id="rId1490"/>
    <p:sldId id="2147476680" r:id="rId1491"/>
    <p:sldId id="2147476681" r:id="rId1492"/>
    <p:sldId id="2147476682" r:id="rId1493"/>
    <p:sldId id="2147476683" r:id="rId1494"/>
    <p:sldId id="2147476684" r:id="rId1495"/>
    <p:sldId id="2147476685" r:id="rId1496"/>
    <p:sldId id="2147476686" r:id="rId1497"/>
    <p:sldId id="2147476687" r:id="rId1498"/>
    <p:sldId id="2147476688" r:id="rId1499"/>
    <p:sldId id="2147476689" r:id="rId1500"/>
    <p:sldId id="2147476690" r:id="rId1501"/>
    <p:sldId id="2147476691" r:id="rId1502"/>
    <p:sldId id="2147476692" r:id="rId1503"/>
    <p:sldId id="2147476693" r:id="rId1504"/>
    <p:sldId id="2147476694" r:id="rId1505"/>
    <p:sldId id="2147476695" r:id="rId1506"/>
    <p:sldId id="2147476696" r:id="rId1507"/>
    <p:sldId id="2147476697" r:id="rId1508"/>
    <p:sldId id="2147476698" r:id="rId1509"/>
    <p:sldId id="2147476699" r:id="rId1510"/>
    <p:sldId id="2147476700" r:id="rId1511"/>
    <p:sldId id="2147476701" r:id="rId1512"/>
    <p:sldId id="2147476702" r:id="rId1513"/>
    <p:sldId id="2147476703" r:id="rId1514"/>
    <p:sldId id="2147476704" r:id="rId1515"/>
    <p:sldId id="2147476705" r:id="rId1516"/>
    <p:sldId id="2147476706" r:id="rId1517"/>
    <p:sldId id="2147476707" r:id="rId1518"/>
    <p:sldId id="2147476708" r:id="rId1519"/>
    <p:sldId id="2147476709" r:id="rId1520"/>
    <p:sldId id="2147476710" r:id="rId1521"/>
    <p:sldId id="2147476711" r:id="rId1522"/>
    <p:sldId id="2147476712" r:id="rId1523"/>
    <p:sldId id="2147476713" r:id="rId1524"/>
    <p:sldId id="2147476714" r:id="rId1525"/>
    <p:sldId id="2147476715" r:id="rId1526"/>
    <p:sldId id="2147476716" r:id="rId1527"/>
    <p:sldId id="2147476717" r:id="rId1528"/>
    <p:sldId id="2147476718" r:id="rId1529"/>
    <p:sldId id="2147476719" r:id="rId1530"/>
    <p:sldId id="2147476720" r:id="rId1531"/>
    <p:sldId id="2147476721" r:id="rId1532"/>
    <p:sldId id="2147476722" r:id="rId1533"/>
    <p:sldId id="2147476723" r:id="rId1534"/>
    <p:sldId id="2147476724" r:id="rId1535"/>
    <p:sldId id="2147476725" r:id="rId1536"/>
    <p:sldId id="2147476726" r:id="rId1537"/>
    <p:sldId id="2147476727" r:id="rId1538"/>
    <p:sldId id="2147476728" r:id="rId1539"/>
    <p:sldId id="2147476729" r:id="rId1540"/>
    <p:sldId id="2147476730" r:id="rId1541"/>
    <p:sldId id="2147476731" r:id="rId1542"/>
    <p:sldId id="2147476732" r:id="rId1543"/>
    <p:sldId id="2147476733" r:id="rId1544"/>
    <p:sldId id="2147476734" r:id="rId1545"/>
    <p:sldId id="2147476735" r:id="rId1546"/>
    <p:sldId id="2147476736" r:id="rId1547"/>
    <p:sldId id="2147476737" r:id="rId1548"/>
    <p:sldId id="2147476738" r:id="rId1549"/>
    <p:sldId id="2147476739" r:id="rId1550"/>
    <p:sldId id="2147476740" r:id="rId1551"/>
    <p:sldId id="2147476741" r:id="rId1552"/>
    <p:sldId id="2147476742" r:id="rId1553"/>
    <p:sldId id="2147476743" r:id="rId1554"/>
    <p:sldId id="2147476744" r:id="rId1555"/>
    <p:sldId id="2147476745" r:id="rId1556"/>
    <p:sldId id="2147476746" r:id="rId1557"/>
    <p:sldId id="2147476747" r:id="rId1558"/>
    <p:sldId id="2147476748" r:id="rId1559"/>
    <p:sldId id="2147476749" r:id="rId1560"/>
    <p:sldId id="2147476750" r:id="rId1561"/>
    <p:sldId id="2147476751" r:id="rId1562"/>
    <p:sldId id="2147476752" r:id="rId1563"/>
    <p:sldId id="2147476753" r:id="rId1564"/>
    <p:sldId id="2147476754" r:id="rId1565"/>
    <p:sldId id="2147476755" r:id="rId1566"/>
    <p:sldId id="2147476756" r:id="rId1567"/>
    <p:sldId id="2147476757" r:id="rId1568"/>
    <p:sldId id="2147476758" r:id="rId1569"/>
    <p:sldId id="2147476759" r:id="rId1570"/>
    <p:sldId id="2147476760" r:id="rId1571"/>
    <p:sldId id="2147476761" r:id="rId1572"/>
    <p:sldId id="2147476762" r:id="rId1573"/>
    <p:sldId id="2147476763" r:id="rId1574"/>
    <p:sldId id="2147476764" r:id="rId1575"/>
    <p:sldId id="2147476765" r:id="rId1576"/>
    <p:sldId id="2147476766" r:id="rId1577"/>
    <p:sldId id="2147476767" r:id="rId1578"/>
    <p:sldId id="2147476768" r:id="rId1579"/>
    <p:sldId id="2147476769" r:id="rId1580"/>
    <p:sldId id="2147476770" r:id="rId1581"/>
    <p:sldId id="2147476771" r:id="rId1582"/>
    <p:sldId id="2147476772" r:id="rId1583"/>
    <p:sldId id="2147476773" r:id="rId1584"/>
    <p:sldId id="2147476774" r:id="rId1585"/>
    <p:sldId id="2147476775" r:id="rId1586"/>
    <p:sldId id="2147476776" r:id="rId1587"/>
    <p:sldId id="2147476777" r:id="rId1588"/>
    <p:sldId id="2147476778" r:id="rId1589"/>
    <p:sldId id="2147476779" r:id="rId1590"/>
    <p:sldId id="2147476780" r:id="rId1591"/>
    <p:sldId id="2147476781" r:id="rId1592"/>
    <p:sldId id="2147476782" r:id="rId1593"/>
    <p:sldId id="2147476783" r:id="rId1594"/>
    <p:sldId id="2147476784" r:id="rId1595"/>
    <p:sldId id="2147476785" r:id="rId1596"/>
    <p:sldId id="2147476786" r:id="rId1597"/>
    <p:sldId id="2147476787" r:id="rId1598"/>
    <p:sldId id="2147476788" r:id="rId1599"/>
    <p:sldId id="2147476789" r:id="rId1600"/>
    <p:sldId id="2147476790" r:id="rId1601"/>
    <p:sldId id="2147476791" r:id="rId1602"/>
    <p:sldId id="2147476792" r:id="rId1603"/>
    <p:sldId id="2147476793" r:id="rId1604"/>
    <p:sldId id="2147476794" r:id="rId1605"/>
    <p:sldId id="2147476795" r:id="rId1606"/>
    <p:sldId id="2147476796" r:id="rId1607"/>
    <p:sldId id="2147476797" r:id="rId1608"/>
    <p:sldId id="2147476798" r:id="rId1609"/>
    <p:sldId id="2147476799" r:id="rId1610"/>
    <p:sldId id="2147476800" r:id="rId1611"/>
    <p:sldId id="2147476801" r:id="rId1612"/>
    <p:sldId id="2147476802" r:id="rId1613"/>
    <p:sldId id="2147476803" r:id="rId1614"/>
    <p:sldId id="2147476804" r:id="rId1615"/>
    <p:sldId id="2147476805" r:id="rId1616"/>
    <p:sldId id="2147476806" r:id="rId1617"/>
    <p:sldId id="2147476807" r:id="rId1618"/>
    <p:sldId id="2147476808" r:id="rId1619"/>
    <p:sldId id="2147476809" r:id="rId1620"/>
    <p:sldId id="2147476810" r:id="rId1621"/>
    <p:sldId id="2147476811" r:id="rId1622"/>
    <p:sldId id="2147476812" r:id="rId1623"/>
    <p:sldId id="2147476813" r:id="rId1624"/>
    <p:sldId id="2147476814" r:id="rId1625"/>
    <p:sldId id="2147476815" r:id="rId1626"/>
    <p:sldId id="2147476816" r:id="rId1627"/>
    <p:sldId id="2147476817" r:id="rId1628"/>
    <p:sldId id="2147476818" r:id="rId1629"/>
    <p:sldId id="2147476819" r:id="rId1630"/>
    <p:sldId id="2147476820" r:id="rId1631"/>
    <p:sldId id="2147476821" r:id="rId1632"/>
    <p:sldId id="2147476822" r:id="rId1633"/>
    <p:sldId id="2147476823" r:id="rId1634"/>
    <p:sldId id="2147476824" r:id="rId1635"/>
    <p:sldId id="2147476825" r:id="rId1636"/>
    <p:sldId id="2147476826" r:id="rId1637"/>
    <p:sldId id="2147476827" r:id="rId1638"/>
    <p:sldId id="2147476828" r:id="rId1639"/>
    <p:sldId id="2147476829" r:id="rId1640"/>
    <p:sldId id="2147476830" r:id="rId1641"/>
    <p:sldId id="2147476831" r:id="rId1642"/>
    <p:sldId id="2147476832" r:id="rId1643"/>
    <p:sldId id="2147476833" r:id="rId1644"/>
    <p:sldId id="2147476834" r:id="rId1645"/>
    <p:sldId id="2147476835" r:id="rId1646"/>
    <p:sldId id="2147476836" r:id="rId1647"/>
    <p:sldId id="2147476837" r:id="rId1648"/>
    <p:sldId id="2147476838" r:id="rId1649"/>
    <p:sldId id="2147476839" r:id="rId1650"/>
    <p:sldId id="2147476840" r:id="rId1651"/>
    <p:sldId id="2147476841" r:id="rId1652"/>
    <p:sldId id="2147476842" r:id="rId1653"/>
    <p:sldId id="2147476843" r:id="rId1654"/>
    <p:sldId id="2147476844" r:id="rId1655"/>
    <p:sldId id="2147476845" r:id="rId1656"/>
    <p:sldId id="2147476846" r:id="rId1657"/>
    <p:sldId id="2147476847" r:id="rId1658"/>
    <p:sldId id="2147476848" r:id="rId1659"/>
    <p:sldId id="2147476849" r:id="rId1660"/>
    <p:sldId id="2147476850" r:id="rId1661"/>
    <p:sldId id="2147476851" r:id="rId1662"/>
    <p:sldId id="2147476852" r:id="rId1663"/>
    <p:sldId id="2147476853" r:id="rId1664"/>
    <p:sldId id="2147476854" r:id="rId1665"/>
    <p:sldId id="2147476855" r:id="rId1666"/>
    <p:sldId id="2147476856" r:id="rId1667"/>
    <p:sldId id="2147476857" r:id="rId1668"/>
    <p:sldId id="2147476858" r:id="rId1669"/>
    <p:sldId id="2147476859" r:id="rId1670"/>
    <p:sldId id="2147476860" r:id="rId1671"/>
    <p:sldId id="2147476861" r:id="rId1672"/>
    <p:sldId id="2147476862" r:id="rId1673"/>
    <p:sldId id="2147476863" r:id="rId1674"/>
    <p:sldId id="2147476864" r:id="rId1675"/>
    <p:sldId id="2147476865" r:id="rId1676"/>
    <p:sldId id="2147476866" r:id="rId1677"/>
    <p:sldId id="2147476867" r:id="rId1678"/>
    <p:sldId id="2147476868" r:id="rId1679"/>
    <p:sldId id="2147476869" r:id="rId1680"/>
    <p:sldId id="2147476870" r:id="rId1681"/>
    <p:sldId id="2147476871" r:id="rId1682"/>
    <p:sldId id="2147476872" r:id="rId1683"/>
    <p:sldId id="2147476873" r:id="rId1684"/>
    <p:sldId id="2147476874" r:id="rId1685"/>
    <p:sldId id="2147476875" r:id="rId1686"/>
    <p:sldId id="2147476876" r:id="rId1687"/>
    <p:sldId id="2147476877" r:id="rId1688"/>
    <p:sldId id="2147476878" r:id="rId1689"/>
    <p:sldId id="2147476879" r:id="rId1690"/>
    <p:sldId id="2147476880" r:id="rId1691"/>
    <p:sldId id="2147476881" r:id="rId1692"/>
    <p:sldId id="2147476882" r:id="rId1693"/>
    <p:sldId id="2147476883" r:id="rId1694"/>
    <p:sldId id="2147476884" r:id="rId1695"/>
    <p:sldId id="2147476885" r:id="rId1696"/>
    <p:sldId id="2147476886" r:id="rId1697"/>
    <p:sldId id="2147476887" r:id="rId1698"/>
    <p:sldId id="2147476888" r:id="rId1699"/>
    <p:sldId id="2147476889" r:id="rId1700"/>
    <p:sldId id="2147476890" r:id="rId1701"/>
    <p:sldId id="2147476891" r:id="rId1702"/>
    <p:sldId id="2147476892" r:id="rId1703"/>
    <p:sldId id="2147476893" r:id="rId1704"/>
    <p:sldId id="2147476894" r:id="rId1705"/>
    <p:sldId id="2147476895" r:id="rId1706"/>
    <p:sldId id="2147476896" r:id="rId1707"/>
    <p:sldId id="2147476897" r:id="rId1708"/>
    <p:sldId id="2147476898" r:id="rId1709"/>
    <p:sldId id="2147476899" r:id="rId1710"/>
    <p:sldId id="2147476900" r:id="rId1711"/>
    <p:sldId id="2147476901" r:id="rId1712"/>
    <p:sldId id="2147476902" r:id="rId1713"/>
    <p:sldId id="2147476903" r:id="rId1714"/>
    <p:sldId id="2147476904" r:id="rId1715"/>
    <p:sldId id="2147476905" r:id="rId1716"/>
    <p:sldId id="2147476906" r:id="rId1717"/>
    <p:sldId id="2147476907" r:id="rId1718"/>
    <p:sldId id="2147476908" r:id="rId1719"/>
    <p:sldId id="2147476909" r:id="rId1720"/>
    <p:sldId id="2147476910" r:id="rId1721"/>
    <p:sldId id="2147476911" r:id="rId1722"/>
    <p:sldId id="2147476912" r:id="rId1723"/>
    <p:sldId id="2147476913" r:id="rId1724"/>
    <p:sldId id="2147476914" r:id="rId1725"/>
    <p:sldId id="2147476915" r:id="rId1726"/>
    <p:sldId id="2147476916" r:id="rId1727"/>
    <p:sldId id="2147476917" r:id="rId1728"/>
    <p:sldId id="2147476918" r:id="rId1729"/>
    <p:sldId id="2147476919" r:id="rId1730"/>
    <p:sldId id="2147476920" r:id="rId1731"/>
    <p:sldId id="2147476921" r:id="rId1732"/>
    <p:sldId id="2147476922" r:id="rId1733"/>
    <p:sldId id="2147476923" r:id="rId1734"/>
    <p:sldId id="2147476924" r:id="rId1735"/>
    <p:sldId id="2147476925" r:id="rId1736"/>
    <p:sldId id="2147476926" r:id="rId1737"/>
    <p:sldId id="2147476927" r:id="rId1738"/>
    <p:sldId id="2147476928" r:id="rId1739"/>
    <p:sldId id="2147476929" r:id="rId1740"/>
    <p:sldId id="2147476930" r:id="rId1741"/>
    <p:sldId id="2147476931" r:id="rId1742"/>
    <p:sldId id="2147476932" r:id="rId1743"/>
    <p:sldId id="2147476933" r:id="rId1744"/>
    <p:sldId id="2147476934" r:id="rId1745"/>
    <p:sldId id="2147476935" r:id="rId1746"/>
    <p:sldId id="2147476936" r:id="rId1747"/>
    <p:sldId id="2147476937" r:id="rId1748"/>
    <p:sldId id="2147476938" r:id="rId1749"/>
    <p:sldId id="2147476939" r:id="rId1750"/>
    <p:sldId id="2147476940" r:id="rId1751"/>
    <p:sldId id="2147476941" r:id="rId1752"/>
    <p:sldId id="2147476942" r:id="rId1753"/>
    <p:sldId id="2147476943" r:id="rId1754"/>
    <p:sldId id="2147476944" r:id="rId1755"/>
    <p:sldId id="2147476945" r:id="rId1756"/>
    <p:sldId id="2147476946" r:id="rId1757"/>
    <p:sldId id="2147476947" r:id="rId1758"/>
    <p:sldId id="2147476948" r:id="rId1759"/>
    <p:sldId id="2147476949" r:id="rId1760"/>
    <p:sldId id="2147476950" r:id="rId1761"/>
    <p:sldId id="2147476951" r:id="rId1762"/>
    <p:sldId id="2147476952" r:id="rId1763"/>
    <p:sldId id="2147476953" r:id="rId1764"/>
    <p:sldId id="2147476954" r:id="rId1765"/>
    <p:sldId id="2147476955" r:id="rId1766"/>
    <p:sldId id="2147476956" r:id="rId1767"/>
    <p:sldId id="2147476957" r:id="rId1768"/>
    <p:sldId id="2147476958" r:id="rId1769"/>
    <p:sldId id="2147476959" r:id="rId1770"/>
    <p:sldId id="2147476960" r:id="rId1771"/>
    <p:sldId id="2147476961" r:id="rId1772"/>
    <p:sldId id="2147476962" r:id="rId1773"/>
    <p:sldId id="2147476963" r:id="rId1774"/>
    <p:sldId id="2147476964" r:id="rId1775"/>
    <p:sldId id="2147476965" r:id="rId1776"/>
    <p:sldId id="2147476966" r:id="rId1777"/>
    <p:sldId id="2147476967" r:id="rId1778"/>
    <p:sldId id="2147476968" r:id="rId1779"/>
    <p:sldId id="2147476969" r:id="rId1780"/>
    <p:sldId id="2147476970" r:id="rId1781"/>
    <p:sldId id="2147476971" r:id="rId1782"/>
    <p:sldId id="2147476972" r:id="rId1783"/>
    <p:sldId id="2147476973" r:id="rId1784"/>
    <p:sldId id="2147476974" r:id="rId1785"/>
    <p:sldId id="2147476975" r:id="rId1786"/>
    <p:sldId id="2147476976" r:id="rId1787"/>
    <p:sldId id="2147476977" r:id="rId1788"/>
    <p:sldId id="2147476978" r:id="rId1789"/>
    <p:sldId id="2147476979" r:id="rId1790"/>
    <p:sldId id="2147476980" r:id="rId1791"/>
    <p:sldId id="2147476981" r:id="rId1792"/>
    <p:sldId id="2147476982" r:id="rId1793"/>
    <p:sldId id="2147476983" r:id="rId1794"/>
    <p:sldId id="2147476984" r:id="rId1795"/>
    <p:sldId id="2147476985" r:id="rId1796"/>
    <p:sldId id="2147476986" r:id="rId1797"/>
    <p:sldId id="2147476987" r:id="rId1798"/>
    <p:sldId id="2147476988" r:id="rId1799"/>
    <p:sldId id="2147476989" r:id="rId1800"/>
    <p:sldId id="2147476990" r:id="rId1801"/>
    <p:sldId id="2147476991" r:id="rId1802"/>
    <p:sldId id="2147476992" r:id="rId1803"/>
    <p:sldId id="2147476993" r:id="rId1804"/>
    <p:sldId id="2147476994" r:id="rId1805"/>
    <p:sldId id="2147476995" r:id="rId1806"/>
    <p:sldId id="2147476996" r:id="rId1807"/>
    <p:sldId id="2147476997" r:id="rId1808"/>
    <p:sldId id="2147476998" r:id="rId1809"/>
    <p:sldId id="2147476999" r:id="rId1810"/>
    <p:sldId id="2147477000" r:id="rId1811"/>
    <p:sldId id="2147477001" r:id="rId1812"/>
    <p:sldId id="2147477002" r:id="rId1813"/>
    <p:sldId id="2147477003" r:id="rId1814"/>
    <p:sldId id="2147477004" r:id="rId1815"/>
    <p:sldId id="2147477005" r:id="rId1816"/>
    <p:sldId id="2147477006" r:id="rId1817"/>
    <p:sldId id="2147477007" r:id="rId1818"/>
    <p:sldId id="2147477008" r:id="rId1819"/>
    <p:sldId id="2147477009" r:id="rId1820"/>
    <p:sldId id="2147477010" r:id="rId1821"/>
    <p:sldId id="2147477011" r:id="rId1822"/>
    <p:sldId id="2147477012" r:id="rId1823"/>
    <p:sldId id="2147477013" r:id="rId1824"/>
    <p:sldId id="2147477014" r:id="rId1825"/>
    <p:sldId id="2147477015" r:id="rId1826"/>
    <p:sldId id="2147477016" r:id="rId1827"/>
    <p:sldId id="2147477017" r:id="rId1828"/>
    <p:sldId id="2147477018" r:id="rId1829"/>
    <p:sldId id="2147477019" r:id="rId1830"/>
    <p:sldId id="2147477020" r:id="rId1831"/>
    <p:sldId id="2147477021" r:id="rId1832"/>
    <p:sldId id="2147477022" r:id="rId1833"/>
    <p:sldId id="2147477023" r:id="rId1834"/>
    <p:sldId id="2147477024" r:id="rId1835"/>
    <p:sldId id="2147477025" r:id="rId1836"/>
    <p:sldId id="2147477026" r:id="rId1837"/>
    <p:sldId id="2147477027" r:id="rId1838"/>
    <p:sldId id="2147477028" r:id="rId1839"/>
    <p:sldId id="2147477029" r:id="rId1840"/>
    <p:sldId id="2147477030" r:id="rId1841"/>
    <p:sldId id="2147477031" r:id="rId1842"/>
    <p:sldId id="2147477032" r:id="rId1843"/>
    <p:sldId id="2147477033" r:id="rId1844"/>
    <p:sldId id="2147477034" r:id="rId1845"/>
    <p:sldId id="2147477035" r:id="rId1846"/>
    <p:sldId id="2147477036" r:id="rId1847"/>
    <p:sldId id="2147477037" r:id="rId1848"/>
    <p:sldId id="2147477038" r:id="rId1849"/>
    <p:sldId id="2147477039" r:id="rId1850"/>
    <p:sldId id="2147477040" r:id="rId1851"/>
    <p:sldId id="2147477041" r:id="rId1852"/>
    <p:sldId id="2147477042" r:id="rId1853"/>
    <p:sldId id="2147477043" r:id="rId1854"/>
    <p:sldId id="2147477044" r:id="rId1855"/>
    <p:sldId id="2147477045" r:id="rId1856"/>
    <p:sldId id="2147477046" r:id="rId1857"/>
    <p:sldId id="2147477047" r:id="rId1858"/>
    <p:sldId id="2147477048" r:id="rId1859"/>
    <p:sldId id="2147477049" r:id="rId1860"/>
    <p:sldId id="2147477050" r:id="rId1861"/>
    <p:sldId id="2147477051" r:id="rId1862"/>
    <p:sldId id="2147477052" r:id="rId1863"/>
    <p:sldId id="2147477053" r:id="rId1864"/>
    <p:sldId id="2147477054" r:id="rId1865"/>
    <p:sldId id="2147477055" r:id="rId1866"/>
    <p:sldId id="2147477056" r:id="rId1867"/>
    <p:sldId id="2147477057" r:id="rId1868"/>
    <p:sldId id="2147477058" r:id="rId1869"/>
    <p:sldId id="2147477059" r:id="rId1870"/>
    <p:sldId id="2147477060" r:id="rId1871"/>
    <p:sldId id="2147477061" r:id="rId1872"/>
    <p:sldId id="2147477062" r:id="rId1873"/>
    <p:sldId id="2147477063" r:id="rId1874"/>
    <p:sldId id="2147477064" r:id="rId1875"/>
    <p:sldId id="2147477065" r:id="rId1876"/>
    <p:sldId id="2147477066" r:id="rId1877"/>
    <p:sldId id="2147477067" r:id="rId1878"/>
    <p:sldId id="2147477068" r:id="rId1879"/>
    <p:sldId id="2147477069" r:id="rId1880"/>
    <p:sldId id="2147477070" r:id="rId1881"/>
    <p:sldId id="2147477071" r:id="rId1882"/>
    <p:sldId id="2147477072" r:id="rId1883"/>
    <p:sldId id="2147477073" r:id="rId1884"/>
    <p:sldId id="2147477074" r:id="rId1885"/>
    <p:sldId id="2147477075" r:id="rId1886"/>
    <p:sldId id="2147477076" r:id="rId1887"/>
    <p:sldId id="2147477077" r:id="rId1888"/>
    <p:sldId id="2147477078" r:id="rId1889"/>
    <p:sldId id="2147477079" r:id="rId1890"/>
    <p:sldId id="2147477080" r:id="rId1891"/>
    <p:sldId id="2147477081" r:id="rId1892"/>
    <p:sldId id="2147477082" r:id="rId1893"/>
    <p:sldId id="2147477083" r:id="rId1894"/>
    <p:sldId id="2147477084" r:id="rId1895"/>
    <p:sldId id="2147477085" r:id="rId1896"/>
    <p:sldId id="2147477086" r:id="rId1897"/>
    <p:sldId id="2147477087" r:id="rId1898"/>
    <p:sldId id="2147477088" r:id="rId1899"/>
    <p:sldId id="2147477089" r:id="rId1900"/>
    <p:sldId id="2147477090" r:id="rId1901"/>
    <p:sldId id="2147477091" r:id="rId1902"/>
    <p:sldId id="2147477092" r:id="rId1903"/>
    <p:sldId id="2147477093" r:id="rId1904"/>
    <p:sldId id="2147477094" r:id="rId1905"/>
    <p:sldId id="2147477095" r:id="rId1906"/>
    <p:sldId id="2147477096" r:id="rId1907"/>
    <p:sldId id="2147477097" r:id="rId1908"/>
    <p:sldId id="2147477098" r:id="rId1909"/>
    <p:sldId id="2147477099" r:id="rId1910"/>
    <p:sldId id="2147477100" r:id="rId1911"/>
    <p:sldId id="2147477101" r:id="rId1912"/>
    <p:sldId id="2147477102" r:id="rId1913"/>
    <p:sldId id="2147477103" r:id="rId1914"/>
    <p:sldId id="2147477104" r:id="rId1915"/>
    <p:sldId id="2147477105" r:id="rId1916"/>
    <p:sldId id="2147477106" r:id="rId1917"/>
    <p:sldId id="2147477107" r:id="rId1918"/>
    <p:sldId id="2147477108" r:id="rId1919"/>
    <p:sldId id="2147477109" r:id="rId1920"/>
    <p:sldId id="2147477110" r:id="rId1921"/>
    <p:sldId id="2147477111" r:id="rId1922"/>
    <p:sldId id="2147477112" r:id="rId1923"/>
    <p:sldId id="2147477113" r:id="rId1924"/>
    <p:sldId id="2147477114" r:id="rId1925"/>
    <p:sldId id="2147477115" r:id="rId1926"/>
    <p:sldId id="2147477116" r:id="rId1927"/>
    <p:sldId id="2147477117" r:id="rId1928"/>
    <p:sldId id="2147477118" r:id="rId1929"/>
    <p:sldId id="2147477119" r:id="rId1930"/>
    <p:sldId id="2147477120" r:id="rId1931"/>
    <p:sldId id="2147477121" r:id="rId1932"/>
    <p:sldId id="2147477122" r:id="rId1933"/>
    <p:sldId id="2147477123" r:id="rId1934"/>
    <p:sldId id="2147477124" r:id="rId1935"/>
    <p:sldId id="2147477125" r:id="rId1936"/>
    <p:sldId id="2147477126" r:id="rId1937"/>
    <p:sldId id="2147477127" r:id="rId1938"/>
    <p:sldId id="2147477128" r:id="rId1939"/>
    <p:sldId id="2147477129" r:id="rId1940"/>
    <p:sldId id="2147477130" r:id="rId1941"/>
    <p:sldId id="2147477131" r:id="rId1942"/>
    <p:sldId id="2147477132" r:id="rId1943"/>
    <p:sldId id="2147477133" r:id="rId1944"/>
    <p:sldId id="2147477134" r:id="rId1945"/>
    <p:sldId id="2147477135" r:id="rId1946"/>
    <p:sldId id="2147477136" r:id="rId1947"/>
    <p:sldId id="2147477137" r:id="rId1948"/>
    <p:sldId id="2147477138" r:id="rId1949"/>
    <p:sldId id="2147477139" r:id="rId1950"/>
    <p:sldId id="2147477140" r:id="rId1951"/>
    <p:sldId id="2147477141" r:id="rId1952"/>
    <p:sldId id="2147477142" r:id="rId1953"/>
    <p:sldId id="2147477143" r:id="rId1954"/>
    <p:sldId id="2147477144" r:id="rId1955"/>
    <p:sldId id="2147477145" r:id="rId1956"/>
    <p:sldId id="2147477146" r:id="rId1957"/>
    <p:sldId id="2147477147" r:id="rId1958"/>
    <p:sldId id="2147477148" r:id="rId1959"/>
    <p:sldId id="2147477149" r:id="rId1960"/>
    <p:sldId id="2147477150" r:id="rId1961"/>
    <p:sldId id="2147477151" r:id="rId1962"/>
    <p:sldId id="2147477152" r:id="rId1963"/>
    <p:sldId id="2147477153" r:id="rId1964"/>
    <p:sldId id="2147477154" r:id="rId1965"/>
    <p:sldId id="2147477155" r:id="rId1966"/>
    <p:sldId id="2147477156" r:id="rId1967"/>
    <p:sldId id="2147477157" r:id="rId1968"/>
    <p:sldId id="2147477158" r:id="rId1969"/>
    <p:sldId id="2147477159" r:id="rId1970"/>
    <p:sldId id="2147477160" r:id="rId1971"/>
    <p:sldId id="2147477161" r:id="rId1972"/>
    <p:sldId id="2147477162" r:id="rId1973"/>
    <p:sldId id="2147477163" r:id="rId1974"/>
    <p:sldId id="2147477164" r:id="rId1975"/>
    <p:sldId id="2147477165" r:id="rId1976"/>
    <p:sldId id="2147477166" r:id="rId1977"/>
    <p:sldId id="2147477167" r:id="rId1978"/>
    <p:sldId id="2147477168" r:id="rId1979"/>
    <p:sldId id="2147477169" r:id="rId1980"/>
    <p:sldId id="2147477170" r:id="rId1981"/>
    <p:sldId id="2147477171" r:id="rId1982"/>
    <p:sldId id="2147477172" r:id="rId1983"/>
    <p:sldId id="2147477173" r:id="rId1984"/>
    <p:sldId id="2147477174" r:id="rId1985"/>
    <p:sldId id="2147477175" r:id="rId1986"/>
    <p:sldId id="2147477176" r:id="rId1987"/>
    <p:sldId id="2147477177" r:id="rId1988"/>
    <p:sldId id="2147477178" r:id="rId1989"/>
    <p:sldId id="2147477179" r:id="rId1990"/>
    <p:sldId id="2147477180" r:id="rId1991"/>
    <p:sldId id="2147477181" r:id="rId1992"/>
    <p:sldId id="2147477182" r:id="rId1993"/>
    <p:sldId id="2147477183" r:id="rId1994"/>
    <p:sldId id="2147477184" r:id="rId1995"/>
    <p:sldId id="2147477185" r:id="rId1996"/>
    <p:sldId id="2147477186" r:id="rId1997"/>
    <p:sldId id="2147477187" r:id="rId1998"/>
    <p:sldId id="2147477188" r:id="rId1999"/>
    <p:sldId id="2147477189" r:id="rId2000"/>
    <p:sldId id="2147477190" r:id="rId2001"/>
    <p:sldId id="2147477191" r:id="rId2002"/>
    <p:sldId id="2147477192" r:id="rId2003"/>
    <p:sldId id="2147477193" r:id="rId2004"/>
    <p:sldId id="2147477194" r:id="rId2005"/>
    <p:sldId id="2147477195" r:id="rId2006"/>
    <p:sldId id="2147477196" r:id="rId2007"/>
    <p:sldId id="2147477197" r:id="rId2008"/>
    <p:sldId id="2147477198" r:id="rId2009"/>
    <p:sldId id="2147477199" r:id="rId2010"/>
    <p:sldId id="2147477200" r:id="rId2011"/>
    <p:sldId id="2147477201" r:id="rId2012"/>
    <p:sldId id="2147477202" r:id="rId2013"/>
    <p:sldId id="2147477203" r:id="rId2014"/>
    <p:sldId id="2147477204" r:id="rId2015"/>
    <p:sldId id="2147477205" r:id="rId2016"/>
    <p:sldId id="2147477206" r:id="rId2017"/>
    <p:sldId id="2147477207" r:id="rId2018"/>
    <p:sldId id="2147477208" r:id="rId2019"/>
    <p:sldId id="2147477209" r:id="rId2020"/>
    <p:sldId id="2147477210" r:id="rId2021"/>
    <p:sldId id="2147477211" r:id="rId2022"/>
    <p:sldId id="2147477212" r:id="rId2023"/>
    <p:sldId id="2147477213" r:id="rId2024"/>
    <p:sldId id="2147477214" r:id="rId2025"/>
    <p:sldId id="2147477215" r:id="rId2026"/>
    <p:sldId id="2147477216" r:id="rId2027"/>
    <p:sldId id="2147477217" r:id="rId2028"/>
    <p:sldId id="2147477218" r:id="rId2029"/>
    <p:sldId id="2147477219" r:id="rId2030"/>
    <p:sldId id="2147477220" r:id="rId2031"/>
    <p:sldId id="2147477221" r:id="rId2032"/>
    <p:sldId id="2147477222" r:id="rId2033"/>
    <p:sldId id="2147477223" r:id="rId2034"/>
    <p:sldId id="2147477224" r:id="rId2035"/>
    <p:sldId id="2147477225" r:id="rId2036"/>
    <p:sldId id="2147477226" r:id="rId2037"/>
    <p:sldId id="2147477227" r:id="rId2038"/>
    <p:sldId id="2147477228" r:id="rId2039"/>
    <p:sldId id="2147477229" r:id="rId2040"/>
    <p:sldId id="2147477230" r:id="rId2041"/>
    <p:sldId id="2147477231" r:id="rId2042"/>
    <p:sldId id="2147477232" r:id="rId2043"/>
    <p:sldId id="2147477233" r:id="rId2044"/>
    <p:sldId id="2147477234" r:id="rId2045"/>
    <p:sldId id="2147477235" r:id="rId2046"/>
    <p:sldId id="2147477236" r:id="rId2047"/>
    <p:sldId id="2147477237" r:id="rId2048"/>
    <p:sldId id="2147477238" r:id="rId2049"/>
    <p:sldId id="2147477239" r:id="rId2050"/>
    <p:sldId id="2147477240" r:id="rId2051"/>
    <p:sldId id="2147477241" r:id="rId2052"/>
    <p:sldId id="2147477242" r:id="rId2053"/>
    <p:sldId id="2147477243" r:id="rId2054"/>
    <p:sldId id="2147477244" r:id="rId2055"/>
    <p:sldId id="2147477245" r:id="rId2056"/>
    <p:sldId id="2147477246" r:id="rId2057"/>
    <p:sldId id="2147477247" r:id="rId2058"/>
    <p:sldId id="2147477248" r:id="rId2059"/>
    <p:sldId id="2147477249" r:id="rId2060"/>
    <p:sldId id="2147477250" r:id="rId2061"/>
    <p:sldId id="2147477251" r:id="rId2062"/>
    <p:sldId id="2147477252" r:id="rId2063"/>
    <p:sldId id="2147477253" r:id="rId2064"/>
    <p:sldId id="2147477254" r:id="rId2065"/>
    <p:sldId id="2147477255" r:id="rId2066"/>
    <p:sldId id="2147477256" r:id="rId2067"/>
    <p:sldId id="2147477257" r:id="rId2068"/>
    <p:sldId id="2147477258" r:id="rId2069"/>
    <p:sldId id="2147477259" r:id="rId2070"/>
    <p:sldId id="2147477260" r:id="rId2071"/>
    <p:sldId id="2147477261" r:id="rId2072"/>
    <p:sldId id="2147477262" r:id="rId2073"/>
    <p:sldId id="2147477263" r:id="rId2074"/>
    <p:sldId id="2147477264" r:id="rId2075"/>
    <p:sldId id="2147477265" r:id="rId2076"/>
    <p:sldId id="2147477266" r:id="rId2077"/>
    <p:sldId id="2147477267" r:id="rId2078"/>
    <p:sldId id="2147477268" r:id="rId2079"/>
    <p:sldId id="2147477269" r:id="rId2080"/>
    <p:sldId id="2147477270" r:id="rId2081"/>
    <p:sldId id="2147477271" r:id="rId2082"/>
    <p:sldId id="2147477272" r:id="rId2083"/>
    <p:sldId id="2147477273" r:id="rId2084"/>
    <p:sldId id="2147477274" r:id="rId2085"/>
    <p:sldId id="2147477275" r:id="rId2086"/>
    <p:sldId id="2147477276" r:id="rId2087"/>
    <p:sldId id="2147477277" r:id="rId2088"/>
    <p:sldId id="2147477278" r:id="rId2089"/>
    <p:sldId id="2147477279" r:id="rId2090"/>
    <p:sldId id="2147477280" r:id="rId2091"/>
    <p:sldId id="2147477281" r:id="rId2092"/>
    <p:sldId id="2147477282" r:id="rId2093"/>
    <p:sldId id="2147477283" r:id="rId2094"/>
    <p:sldId id="2147477284" r:id="rId2095"/>
    <p:sldId id="2147477285" r:id="rId2096"/>
    <p:sldId id="2147477286" r:id="rId2097"/>
    <p:sldId id="2147477287" r:id="rId2098"/>
    <p:sldId id="2147477288" r:id="rId2099"/>
    <p:sldId id="2147477289" r:id="rId2100"/>
    <p:sldId id="2147477290" r:id="rId2101"/>
    <p:sldId id="2147477291" r:id="rId2102"/>
    <p:sldId id="2147477292" r:id="rId2103"/>
    <p:sldId id="2147477293" r:id="rId2104"/>
    <p:sldId id="2147477294" r:id="rId2105"/>
    <p:sldId id="2147477295" r:id="rId2106"/>
    <p:sldId id="2147477296" r:id="rId2107"/>
    <p:sldId id="2147477297" r:id="rId2108"/>
    <p:sldId id="2147477298" r:id="rId2109"/>
    <p:sldId id="2147477299" r:id="rId2110"/>
    <p:sldId id="2147477300" r:id="rId2111"/>
    <p:sldId id="2147477301" r:id="rId2112"/>
    <p:sldId id="2147477302" r:id="rId2113"/>
    <p:sldId id="2147477303" r:id="rId2114"/>
    <p:sldId id="2147477304" r:id="rId2115"/>
    <p:sldId id="2147477305" r:id="rId2116"/>
    <p:sldId id="2147477306" r:id="rId2117"/>
    <p:sldId id="2147477307" r:id="rId2118"/>
    <p:sldId id="2147477308" r:id="rId2119"/>
    <p:sldId id="2147477309" r:id="rId2120"/>
    <p:sldId id="2147477310" r:id="rId2121"/>
    <p:sldId id="2147477311" r:id="rId2122"/>
    <p:sldId id="2147477312" r:id="rId2123"/>
    <p:sldId id="2147477313" r:id="rId2124"/>
    <p:sldId id="2147477314" r:id="rId2125"/>
    <p:sldId id="2147477315" r:id="rId2126"/>
    <p:sldId id="2147477316" r:id="rId2127"/>
    <p:sldId id="2147477317" r:id="rId2128"/>
    <p:sldId id="2147477318" r:id="rId2129"/>
    <p:sldId id="2147477319" r:id="rId2130"/>
    <p:sldId id="2147477320" r:id="rId2131"/>
    <p:sldId id="2147477321" r:id="rId2132"/>
    <p:sldId id="2147477322" r:id="rId2133"/>
    <p:sldId id="2147477323" r:id="rId2134"/>
    <p:sldId id="2147477324" r:id="rId2135"/>
    <p:sldId id="2147477325" r:id="rId2136"/>
    <p:sldId id="2147477326" r:id="rId2137"/>
    <p:sldId id="2147477327" r:id="rId2138"/>
    <p:sldId id="2147477328" r:id="rId2139"/>
    <p:sldId id="2147477329" r:id="rId2140"/>
    <p:sldId id="2147477330" r:id="rId2141"/>
    <p:sldId id="2147477331" r:id="rId2142"/>
    <p:sldId id="2147477332" r:id="rId2143"/>
    <p:sldId id="2147477333" r:id="rId2144"/>
    <p:sldId id="2147477334" r:id="rId2145"/>
    <p:sldId id="2147477335" r:id="rId2146"/>
    <p:sldId id="2147477336" r:id="rId2147"/>
    <p:sldId id="2147477337" r:id="rId2148"/>
    <p:sldId id="2147477338" r:id="rId2149"/>
    <p:sldId id="2147477339" r:id="rId2150"/>
    <p:sldId id="2147477340" r:id="rId2151"/>
    <p:sldId id="2147477341" r:id="rId2152"/>
    <p:sldId id="2147477342" r:id="rId2153"/>
    <p:sldId id="2147477343" r:id="rId2154"/>
    <p:sldId id="2147477344" r:id="rId2155"/>
    <p:sldId id="2147477345" r:id="rId2156"/>
    <p:sldId id="2147477346" r:id="rId2157"/>
    <p:sldId id="2147477347" r:id="rId2158"/>
    <p:sldId id="2147477348" r:id="rId2159"/>
    <p:sldId id="2147477349" r:id="rId2160"/>
    <p:sldId id="2147477350" r:id="rId2161"/>
    <p:sldId id="2147477351" r:id="rId2162"/>
    <p:sldId id="2147477352" r:id="rId2163"/>
    <p:sldId id="2147477353" r:id="rId2164"/>
    <p:sldId id="2147477354" r:id="rId2165"/>
    <p:sldId id="2147477355" r:id="rId2166"/>
    <p:sldId id="2147477356" r:id="rId2167"/>
    <p:sldId id="2147477357" r:id="rId2168"/>
    <p:sldId id="2147477358" r:id="rId2169"/>
    <p:sldId id="2147477359" r:id="rId2170"/>
    <p:sldId id="2147477360" r:id="rId2171"/>
    <p:sldId id="2147477361" r:id="rId2172"/>
    <p:sldId id="2147477362" r:id="rId2173"/>
    <p:sldId id="2147477363" r:id="rId2174"/>
    <p:sldId id="2147477364" r:id="rId2175"/>
    <p:sldId id="2147477365" r:id="rId2176"/>
    <p:sldId id="2147477366" r:id="rId2177"/>
    <p:sldId id="2147477367" r:id="rId2178"/>
    <p:sldId id="2147477368" r:id="rId2179"/>
    <p:sldId id="2147477369" r:id="rId2180"/>
    <p:sldId id="2147477370" r:id="rId2181"/>
    <p:sldId id="2147477371" r:id="rId2182"/>
    <p:sldId id="2147477372" r:id="rId2183"/>
    <p:sldId id="2147477373" r:id="rId2184"/>
    <p:sldId id="2147477374" r:id="rId2185"/>
    <p:sldId id="2147477375" r:id="rId2186"/>
    <p:sldId id="2147477376" r:id="rId2187"/>
    <p:sldId id="2147477377" r:id="rId2188"/>
    <p:sldId id="2147477378" r:id="rId2189"/>
    <p:sldId id="2147477379" r:id="rId2190"/>
    <p:sldId id="2147477380" r:id="rId2191"/>
    <p:sldId id="2147477381" r:id="rId2192"/>
    <p:sldId id="2147477382" r:id="rId2193"/>
    <p:sldId id="2147477383" r:id="rId2194"/>
    <p:sldId id="2147477384" r:id="rId2195"/>
    <p:sldId id="2147477385" r:id="rId2196"/>
    <p:sldId id="2147477386" r:id="rId2197"/>
    <p:sldId id="2147477387" r:id="rId2198"/>
    <p:sldId id="2147477388" r:id="rId2199"/>
    <p:sldId id="2147477389" r:id="rId2200"/>
    <p:sldId id="2147477390" r:id="rId2201"/>
    <p:sldId id="2147477391" r:id="rId2202"/>
    <p:sldId id="2147477392" r:id="rId2203"/>
    <p:sldId id="2147477393" r:id="rId2204"/>
    <p:sldId id="2147477394" r:id="rId2205"/>
    <p:sldId id="2147477395" r:id="rId2206"/>
    <p:sldId id="2147477396" r:id="rId2207"/>
    <p:sldId id="2147477397" r:id="rId2208"/>
    <p:sldId id="2147477398" r:id="rId2209"/>
    <p:sldId id="2147477399" r:id="rId2210"/>
    <p:sldId id="2147477400" r:id="rId2211"/>
    <p:sldId id="2147477401" r:id="rId2212"/>
    <p:sldId id="2147477402" r:id="rId2213"/>
    <p:sldId id="2147477403" r:id="rId2214"/>
    <p:sldId id="2147477404" r:id="rId2215"/>
    <p:sldId id="2147477405" r:id="rId2216"/>
    <p:sldId id="2147477406" r:id="rId2217"/>
    <p:sldId id="2147477407" r:id="rId2218"/>
    <p:sldId id="2147477408" r:id="rId2219"/>
    <p:sldId id="2147477409" r:id="rId2220"/>
    <p:sldId id="2147477410" r:id="rId2221"/>
    <p:sldId id="2147477411" r:id="rId2222"/>
    <p:sldId id="2147477412" r:id="rId2223"/>
    <p:sldId id="2147477413" r:id="rId2224"/>
    <p:sldId id="2147477414" r:id="rId2225"/>
    <p:sldId id="2147477415" r:id="rId2226"/>
    <p:sldId id="2147477416" r:id="rId2227"/>
    <p:sldId id="2147477417" r:id="rId2228"/>
    <p:sldId id="2147477418" r:id="rId2229"/>
    <p:sldId id="2147477419" r:id="rId2230"/>
    <p:sldId id="2147477420" r:id="rId2231"/>
    <p:sldId id="2147477421" r:id="rId2232"/>
    <p:sldId id="2147477422" r:id="rId2233"/>
    <p:sldId id="2147477423" r:id="rId2234"/>
    <p:sldId id="2147477424" r:id="rId2235"/>
    <p:sldId id="2147477425" r:id="rId2236"/>
    <p:sldId id="2147477426" r:id="rId2237"/>
    <p:sldId id="2147477427" r:id="rId2238"/>
    <p:sldId id="2147477428" r:id="rId2239"/>
    <p:sldId id="2147477429" r:id="rId2240"/>
    <p:sldId id="2147477430" r:id="rId2241"/>
    <p:sldId id="2147477431" r:id="rId2242"/>
    <p:sldId id="2147477432" r:id="rId2243"/>
    <p:sldId id="2147477433" r:id="rId2244"/>
    <p:sldId id="2147477434" r:id="rId2245"/>
    <p:sldId id="2147477435" r:id="rId2246"/>
    <p:sldId id="2147477436" r:id="rId2247"/>
    <p:sldId id="2147477437" r:id="rId2248"/>
    <p:sldId id="2147477438" r:id="rId2249"/>
    <p:sldId id="2147477439" r:id="rId2250"/>
    <p:sldId id="2147477440" r:id="rId2251"/>
    <p:sldId id="2147477441" r:id="rId2252"/>
    <p:sldId id="2147477442" r:id="rId2253"/>
    <p:sldId id="2147477443" r:id="rId2254"/>
    <p:sldId id="2147477444" r:id="rId2255"/>
    <p:sldId id="2147477445" r:id="rId2256"/>
    <p:sldId id="2147477446" r:id="rId2257"/>
    <p:sldId id="2147477447" r:id="rId2258"/>
    <p:sldId id="2147477448" r:id="rId2259"/>
    <p:sldId id="2147477449" r:id="rId2260"/>
    <p:sldId id="2147477450" r:id="rId2261"/>
    <p:sldId id="2147477451" r:id="rId2262"/>
    <p:sldId id="2147477452" r:id="rId2263"/>
    <p:sldId id="2147477453" r:id="rId2264"/>
    <p:sldId id="2147477454" r:id="rId2265"/>
    <p:sldId id="2147477455" r:id="rId2266"/>
    <p:sldId id="2147477456" r:id="rId2267"/>
    <p:sldId id="2147477457" r:id="rId2268"/>
    <p:sldId id="2147477458" r:id="rId2269"/>
    <p:sldId id="2147477459" r:id="rId2270"/>
    <p:sldId id="2147477460" r:id="rId2271"/>
    <p:sldId id="2147477461" r:id="rId2272"/>
    <p:sldId id="2147477462" r:id="rId2273"/>
    <p:sldId id="2147477463" r:id="rId2274"/>
    <p:sldId id="2147477464" r:id="rId2275"/>
    <p:sldId id="2147477465" r:id="rId2276"/>
    <p:sldId id="2147477466" r:id="rId2277"/>
    <p:sldId id="2147477467" r:id="rId2278"/>
    <p:sldId id="2147477468" r:id="rId2279"/>
    <p:sldId id="2147477469" r:id="rId2280"/>
    <p:sldId id="2147477470" r:id="rId2281"/>
    <p:sldId id="2147477471" r:id="rId2282"/>
    <p:sldId id="2147477472" r:id="rId2283"/>
    <p:sldId id="2147477473" r:id="rId2284"/>
    <p:sldId id="2147477474" r:id="rId2285"/>
    <p:sldId id="2147477475" r:id="rId2286"/>
    <p:sldId id="2147477476" r:id="rId2287"/>
    <p:sldId id="2147477477" r:id="rId2288"/>
    <p:sldId id="2147477478" r:id="rId2289"/>
    <p:sldId id="2147477479" r:id="rId2290"/>
    <p:sldId id="2147477480" r:id="rId2291"/>
    <p:sldId id="2147477481" r:id="rId2292"/>
    <p:sldId id="2147477482" r:id="rId2293"/>
    <p:sldId id="2147477483" r:id="rId2294"/>
    <p:sldId id="2147477484" r:id="rId2295"/>
    <p:sldId id="2147477485" r:id="rId2296"/>
    <p:sldId id="2147477486" r:id="rId2297"/>
    <p:sldId id="2147477487" r:id="rId2298"/>
    <p:sldId id="2147477488" r:id="rId2299"/>
    <p:sldId id="2147477489" r:id="rId2300"/>
    <p:sldId id="2147477490" r:id="rId2301"/>
    <p:sldId id="2147477491" r:id="rId2302"/>
    <p:sldId id="2147477492" r:id="rId2303"/>
    <p:sldId id="2147477493" r:id="rId2304"/>
    <p:sldId id="2147477494" r:id="rId2305"/>
    <p:sldId id="2147477495" r:id="rId2306"/>
    <p:sldId id="2147477496" r:id="rId2307"/>
    <p:sldId id="2147477497" r:id="rId2308"/>
    <p:sldId id="2147477498" r:id="rId2309"/>
    <p:sldId id="2147477499" r:id="rId2310"/>
    <p:sldId id="2147477500" r:id="rId2311"/>
    <p:sldId id="2147477501" r:id="rId2312"/>
    <p:sldId id="2147477502" r:id="rId2313"/>
    <p:sldId id="2147477503" r:id="rId2314"/>
    <p:sldId id="2147477504" r:id="rId2315"/>
    <p:sldId id="2147477505" r:id="rId2316"/>
    <p:sldId id="2147477506" r:id="rId2317"/>
    <p:sldId id="2147477507" r:id="rId2318"/>
    <p:sldId id="2147477508" r:id="rId2319"/>
    <p:sldId id="2147477509" r:id="rId2320"/>
    <p:sldId id="2147477510" r:id="rId2321"/>
    <p:sldId id="2147477511" r:id="rId2322"/>
    <p:sldId id="2147477512" r:id="rId2323"/>
    <p:sldId id="2147477513" r:id="rId2324"/>
    <p:sldId id="2147477514" r:id="rId2325"/>
    <p:sldId id="2147477515" r:id="rId2326"/>
    <p:sldId id="2147477516" r:id="rId2327"/>
    <p:sldId id="2147477517" r:id="rId2328"/>
    <p:sldId id="2147477518" r:id="rId2329"/>
    <p:sldId id="2147477519" r:id="rId2330"/>
    <p:sldId id="2147477520" r:id="rId2331"/>
    <p:sldId id="2147477521" r:id="rId2332"/>
    <p:sldId id="2147477522" r:id="rId2333"/>
    <p:sldId id="2147477523" r:id="rId2334"/>
    <p:sldId id="2147477524" r:id="rId2335"/>
    <p:sldId id="2147477525" r:id="rId2336"/>
    <p:sldId id="2147477526" r:id="rId2337"/>
    <p:sldId id="2147477527" r:id="rId2338"/>
    <p:sldId id="2147477528" r:id="rId2339"/>
    <p:sldId id="2147477529" r:id="rId2340"/>
    <p:sldId id="2147477530" r:id="rId2341"/>
    <p:sldId id="2147477531" r:id="rId2342"/>
    <p:sldId id="2147477532" r:id="rId2343"/>
    <p:sldId id="2147477533" r:id="rId2344"/>
    <p:sldId id="2147477534" r:id="rId2345"/>
    <p:sldId id="2147477535" r:id="rId2346"/>
    <p:sldId id="2147477536" r:id="rId2347"/>
    <p:sldId id="2147477537" r:id="rId2348"/>
    <p:sldId id="2147477538" r:id="rId2349"/>
    <p:sldId id="2147477539" r:id="rId2350"/>
    <p:sldId id="2147477540" r:id="rId2351"/>
    <p:sldId id="2147477541" r:id="rId2352"/>
    <p:sldId id="2147477542" r:id="rId2353"/>
    <p:sldId id="2147477543" r:id="rId2354"/>
    <p:sldId id="2147477544" r:id="rId2355"/>
    <p:sldId id="2147477545" r:id="rId2356"/>
    <p:sldId id="2147477546" r:id="rId2357"/>
    <p:sldId id="2147477547" r:id="rId2358"/>
    <p:sldId id="2147477548" r:id="rId2359"/>
    <p:sldId id="2147477549" r:id="rId2360"/>
    <p:sldId id="2147477550" r:id="rId2361"/>
    <p:sldId id="2147477551" r:id="rId2362"/>
    <p:sldId id="2147477552" r:id="rId2363"/>
    <p:sldId id="2147477553" r:id="rId2364"/>
    <p:sldId id="2147477554" r:id="rId2365"/>
    <p:sldId id="2147477555" r:id="rId2366"/>
    <p:sldId id="2147477556" r:id="rId2367"/>
    <p:sldId id="2147477557" r:id="rId2368"/>
    <p:sldId id="2147477558" r:id="rId2369"/>
    <p:sldId id="2147477559" r:id="rId2370"/>
    <p:sldId id="2147477560" r:id="rId2371"/>
    <p:sldId id="2147477561" r:id="rId2372"/>
    <p:sldId id="2147477562" r:id="rId2373"/>
    <p:sldId id="2147477563" r:id="rId2374"/>
    <p:sldId id="2147477564" r:id="rId2375"/>
    <p:sldId id="2147477565" r:id="rId2376"/>
    <p:sldId id="2147477566" r:id="rId2377"/>
    <p:sldId id="2147477567" r:id="rId2378"/>
    <p:sldId id="2147477568" r:id="rId2379"/>
    <p:sldId id="2147477569" r:id="rId2380"/>
    <p:sldId id="2147477570" r:id="rId2381"/>
    <p:sldId id="2147477571" r:id="rId2382"/>
    <p:sldId id="2147477572" r:id="rId2383"/>
    <p:sldId id="2147477573" r:id="rId2384"/>
    <p:sldId id="2147477574" r:id="rId2385"/>
    <p:sldId id="2147477575" r:id="rId2386"/>
    <p:sldId id="2147477576" r:id="rId2387"/>
    <p:sldId id="2147477577" r:id="rId2388"/>
    <p:sldId id="2147477578" r:id="rId2389"/>
    <p:sldId id="2147477579" r:id="rId2390"/>
    <p:sldId id="2147477580" r:id="rId2391"/>
    <p:sldId id="2147477581" r:id="rId2392"/>
    <p:sldId id="2147477582" r:id="rId2393"/>
    <p:sldId id="2147477583" r:id="rId2394"/>
    <p:sldId id="2147477584" r:id="rId2395"/>
    <p:sldId id="2147477585" r:id="rId2396"/>
    <p:sldId id="2147477586" r:id="rId2397"/>
    <p:sldId id="2147477587" r:id="rId2398"/>
    <p:sldId id="2147477588" r:id="rId2399"/>
    <p:sldId id="2147477589" r:id="rId2400"/>
    <p:sldId id="2147477590" r:id="rId2401"/>
    <p:sldId id="2147477591" r:id="rId2402"/>
    <p:sldId id="2147477592" r:id="rId2403"/>
    <p:sldId id="2147477593" r:id="rId2404"/>
    <p:sldId id="2147477594" r:id="rId2405"/>
    <p:sldId id="2147477595" r:id="rId2406"/>
    <p:sldId id="2147477596" r:id="rId2407"/>
    <p:sldId id="2147477597" r:id="rId2408"/>
    <p:sldId id="2147477598" r:id="rId2409"/>
    <p:sldId id="2147477599" r:id="rId2410"/>
    <p:sldId id="2147477600" r:id="rId2411"/>
    <p:sldId id="2147477601" r:id="rId2412"/>
    <p:sldId id="2147477602" r:id="rId2413"/>
    <p:sldId id="2147477603" r:id="rId2414"/>
    <p:sldId id="2147477604" r:id="rId2415"/>
    <p:sldId id="2147477605" r:id="rId2416"/>
    <p:sldId id="2147477606" r:id="rId2417"/>
    <p:sldId id="2147477607" r:id="rId2418"/>
    <p:sldId id="2147477608" r:id="rId2419"/>
    <p:sldId id="2147477609" r:id="rId2420"/>
    <p:sldId id="2147477610" r:id="rId2421"/>
    <p:sldId id="2147477611" r:id="rId2422"/>
    <p:sldId id="2147477612" r:id="rId2423"/>
    <p:sldId id="2147477613" r:id="rId2424"/>
    <p:sldId id="2147477614" r:id="rId2425"/>
    <p:sldId id="2147477615" r:id="rId2426"/>
    <p:sldId id="2147477616" r:id="rId2427"/>
    <p:sldId id="2147477617" r:id="rId2428"/>
    <p:sldId id="2147477618" r:id="rId2429"/>
    <p:sldId id="2147477619" r:id="rId2430"/>
    <p:sldId id="2147477620" r:id="rId2431"/>
    <p:sldId id="2147477621" r:id="rId2432"/>
    <p:sldId id="2147477622" r:id="rId2433"/>
    <p:sldId id="2147477623" r:id="rId2434"/>
    <p:sldId id="2147477624" r:id="rId2435"/>
    <p:sldId id="2147477625" r:id="rId2436"/>
    <p:sldId id="2147477626" r:id="rId2437"/>
    <p:sldId id="2147477627" r:id="rId2438"/>
    <p:sldId id="2147477628" r:id="rId2439"/>
    <p:sldId id="2147477629" r:id="rId2440"/>
    <p:sldId id="2147477630" r:id="rId2441"/>
    <p:sldId id="2147477631" r:id="rId2442"/>
    <p:sldId id="2147477632" r:id="rId2443"/>
    <p:sldId id="2147477633" r:id="rId2444"/>
    <p:sldId id="2147477634" r:id="rId2445"/>
    <p:sldId id="2147477635" r:id="rId2446"/>
    <p:sldId id="2147477636" r:id="rId2447"/>
    <p:sldId id="2147477637" r:id="rId2448"/>
    <p:sldId id="2147477638" r:id="rId2449"/>
    <p:sldId id="2147477639" r:id="rId2450"/>
    <p:sldId id="2147477640" r:id="rId2451"/>
    <p:sldId id="2147477641" r:id="rId2452"/>
    <p:sldId id="2147477642" r:id="rId2453"/>
    <p:sldId id="2147477643" r:id="rId2454"/>
    <p:sldId id="2147477644" r:id="rId2455"/>
    <p:sldId id="2147477645" r:id="rId2456"/>
    <p:sldId id="2147477646" r:id="rId2457"/>
    <p:sldId id="2147477647" r:id="rId2458"/>
    <p:sldId id="2147477648" r:id="rId2459"/>
    <p:sldId id="2147477649" r:id="rId2460"/>
    <p:sldId id="2147477650" r:id="rId2461"/>
    <p:sldId id="2147477651" r:id="rId2462"/>
    <p:sldId id="2147477652" r:id="rId2463"/>
    <p:sldId id="2147477653" r:id="rId2464"/>
    <p:sldId id="2147477654" r:id="rId2465"/>
    <p:sldId id="2147477655" r:id="rId2466"/>
    <p:sldId id="2147477656" r:id="rId2467"/>
    <p:sldId id="2147477657" r:id="rId2468"/>
    <p:sldId id="2147477658" r:id="rId2469"/>
    <p:sldId id="2147477659" r:id="rId2470"/>
    <p:sldId id="2147477660" r:id="rId2471"/>
    <p:sldId id="2147477661" r:id="rId2472"/>
    <p:sldId id="2147477662" r:id="rId2473"/>
    <p:sldId id="2147477663" r:id="rId2474"/>
    <p:sldId id="2147477664" r:id="rId2475"/>
    <p:sldId id="2147477665" r:id="rId2476"/>
    <p:sldId id="2147477666" r:id="rId2477"/>
    <p:sldId id="2147477667" r:id="rId2478"/>
    <p:sldId id="2147477668" r:id="rId2479"/>
    <p:sldId id="2147477669" r:id="rId2480"/>
    <p:sldId id="2147477670" r:id="rId2481"/>
    <p:sldId id="2147477671" r:id="rId2482"/>
    <p:sldId id="2147477672" r:id="rId2483"/>
    <p:sldId id="2147477673" r:id="rId2484"/>
    <p:sldId id="2147477674" r:id="rId2485"/>
    <p:sldId id="2147477675" r:id="rId2486"/>
    <p:sldId id="2147477676" r:id="rId2487"/>
    <p:sldId id="2147477677" r:id="rId2488"/>
    <p:sldId id="2147477678" r:id="rId2489"/>
    <p:sldId id="2147477679" r:id="rId2490"/>
    <p:sldId id="2147477680" r:id="rId2491"/>
    <p:sldId id="2147477681" r:id="rId2492"/>
    <p:sldId id="2147477682" r:id="rId2493"/>
    <p:sldId id="2147477683" r:id="rId2494"/>
    <p:sldId id="2147477684" r:id="rId2495"/>
    <p:sldId id="2147477685" r:id="rId2496"/>
    <p:sldId id="2147477686" r:id="rId2497"/>
    <p:sldId id="2147477687" r:id="rId2498"/>
    <p:sldId id="2147477688" r:id="rId2499"/>
    <p:sldId id="2147477689" r:id="rId2500"/>
    <p:sldId id="2147477690" r:id="rId2501"/>
    <p:sldId id="2147477691" r:id="rId2502"/>
    <p:sldId id="2147477692" r:id="rId2503"/>
    <p:sldId id="2147477693" r:id="rId2504"/>
    <p:sldId id="2147477694" r:id="rId2505"/>
    <p:sldId id="2147477695" r:id="rId2506"/>
    <p:sldId id="2147477696" r:id="rId2507"/>
    <p:sldId id="2147477697" r:id="rId2508"/>
    <p:sldId id="2147477698" r:id="rId2509"/>
    <p:sldId id="2147477699" r:id="rId2510"/>
    <p:sldId id="2147477700" r:id="rId2511"/>
    <p:sldId id="2147477701" r:id="rId2512"/>
    <p:sldId id="2147477702" r:id="rId2513"/>
    <p:sldId id="2147477703" r:id="rId2514"/>
    <p:sldId id="2147477704" r:id="rId2515"/>
    <p:sldId id="2147477705" r:id="rId2516"/>
    <p:sldId id="2147477706" r:id="rId2517"/>
    <p:sldId id="2147477707" r:id="rId2518"/>
    <p:sldId id="2147477708" r:id="rId2519"/>
    <p:sldId id="2147477709" r:id="rId2520"/>
    <p:sldId id="2147477710" r:id="rId2521"/>
    <p:sldId id="2147477711" r:id="rId2522"/>
    <p:sldId id="2147477712" r:id="rId2523"/>
    <p:sldId id="2147477713" r:id="rId2524"/>
    <p:sldId id="2147477714" r:id="rId2525"/>
    <p:sldId id="2147477715" r:id="rId2526"/>
    <p:sldId id="2147477716" r:id="rId2527"/>
    <p:sldId id="2147477717" r:id="rId2528"/>
    <p:sldId id="2147477718" r:id="rId2529"/>
    <p:sldId id="2147477719" r:id="rId2530"/>
    <p:sldId id="2147477720" r:id="rId2531"/>
    <p:sldId id="2147477721" r:id="rId2532"/>
    <p:sldId id="2147477722" r:id="rId2533"/>
    <p:sldId id="2147477723" r:id="rId2534"/>
    <p:sldId id="2147477724" r:id="rId2535"/>
    <p:sldId id="2147477725" r:id="rId2536"/>
    <p:sldId id="2147477726" r:id="rId2537"/>
    <p:sldId id="2147477727" r:id="rId2538"/>
    <p:sldId id="2147477728" r:id="rId2539"/>
    <p:sldId id="2147477729" r:id="rId2540"/>
    <p:sldId id="2147477730" r:id="rId2541"/>
    <p:sldId id="2147477731" r:id="rId2542"/>
    <p:sldId id="2147477732" r:id="rId2543"/>
    <p:sldId id="2147477733" r:id="rId2544"/>
    <p:sldId id="2147477734" r:id="rId2545"/>
    <p:sldId id="2147477735" r:id="rId2546"/>
    <p:sldId id="2147477736" r:id="rId2547"/>
    <p:sldId id="2147477737" r:id="rId2548"/>
    <p:sldId id="2147477738" r:id="rId2549"/>
    <p:sldId id="2147477739" r:id="rId2550"/>
    <p:sldId id="2147477740" r:id="rId2551"/>
    <p:sldId id="2147477741" r:id="rId2552"/>
    <p:sldId id="2147477742" r:id="rId2553"/>
    <p:sldId id="2147477743" r:id="rId2554"/>
    <p:sldId id="2147477744" r:id="rId2555"/>
    <p:sldId id="2147477745" r:id="rId2556"/>
    <p:sldId id="2147477746" r:id="rId2557"/>
    <p:sldId id="2147477747" r:id="rId2558"/>
    <p:sldId id="2147477748" r:id="rId2559"/>
    <p:sldId id="2147477749" r:id="rId2560"/>
    <p:sldId id="2147477750" r:id="rId2561"/>
    <p:sldId id="2147477751" r:id="rId2562"/>
    <p:sldId id="2147477752" r:id="rId2563"/>
    <p:sldId id="2147477753" r:id="rId2564"/>
    <p:sldId id="2147477754" r:id="rId2565"/>
    <p:sldId id="2147477755" r:id="rId2566"/>
    <p:sldId id="2147477756" r:id="rId2567"/>
    <p:sldId id="2147477757" r:id="rId2568"/>
    <p:sldId id="2147477758" r:id="rId2569"/>
    <p:sldId id="2147477759" r:id="rId2570"/>
    <p:sldId id="2147477760" r:id="rId2571"/>
    <p:sldId id="2147477761" r:id="rId2572"/>
    <p:sldId id="2147477762" r:id="rId2573"/>
    <p:sldId id="2147477763" r:id="rId2574"/>
    <p:sldId id="2147477764" r:id="rId2575"/>
    <p:sldId id="2147477765" r:id="rId2576"/>
    <p:sldId id="2147477766" r:id="rId2577"/>
    <p:sldId id="2147477767" r:id="rId2578"/>
    <p:sldId id="2147477768" r:id="rId2579"/>
    <p:sldId id="2147477769" r:id="rId2580"/>
    <p:sldId id="2147477770" r:id="rId2581"/>
    <p:sldId id="2147477771" r:id="rId2582"/>
    <p:sldId id="2147477772" r:id="rId2583"/>
    <p:sldId id="2147477773" r:id="rId2584"/>
    <p:sldId id="2147477774" r:id="rId2585"/>
    <p:sldId id="2147477775" r:id="rId2586"/>
    <p:sldId id="2147477776" r:id="rId2587"/>
    <p:sldId id="2147477777" r:id="rId2588"/>
    <p:sldId id="2147477778" r:id="rId2589"/>
    <p:sldId id="2147477779" r:id="rId2590"/>
    <p:sldId id="2147477780" r:id="rId2591"/>
    <p:sldId id="2147477781" r:id="rId2592"/>
    <p:sldId id="2147477782" r:id="rId2593"/>
    <p:sldId id="2147477783" r:id="rId2594"/>
    <p:sldId id="2147477784" r:id="rId2595"/>
    <p:sldId id="2147477785" r:id="rId2596"/>
    <p:sldId id="2147477786" r:id="rId2597"/>
    <p:sldId id="2147477787" r:id="rId2598"/>
    <p:sldId id="2147477788" r:id="rId2599"/>
    <p:sldId id="2147477789" r:id="rId2600"/>
    <p:sldId id="2147477790" r:id="rId2601"/>
    <p:sldId id="2147477791" r:id="rId2602"/>
    <p:sldId id="2147477792" r:id="rId2603"/>
    <p:sldId id="2147477793" r:id="rId2604"/>
    <p:sldId id="2147477794" r:id="rId2605"/>
    <p:sldId id="2147477795" r:id="rId2606"/>
    <p:sldId id="2147477796" r:id="rId2607"/>
    <p:sldId id="2147477797" r:id="rId2608"/>
    <p:sldId id="2147477798" r:id="rId2609"/>
    <p:sldId id="2147477799" r:id="rId2610"/>
    <p:sldId id="2147477800" r:id="rId2611"/>
    <p:sldId id="2147477801" r:id="rId2612"/>
    <p:sldId id="2147477802" r:id="rId2613"/>
    <p:sldId id="2147477803" r:id="rId2614"/>
    <p:sldId id="2147477804" r:id="rId2615"/>
    <p:sldId id="2147477805" r:id="rId2616"/>
    <p:sldId id="2147477806" r:id="rId2617"/>
    <p:sldId id="2147477807" r:id="rId2618"/>
    <p:sldId id="2147477808" r:id="rId2619"/>
    <p:sldId id="2147477809" r:id="rId2620"/>
    <p:sldId id="2147477810" r:id="rId2621"/>
    <p:sldId id="2147477811" r:id="rId2622"/>
    <p:sldId id="2147477812" r:id="rId2623"/>
    <p:sldId id="2147477813" r:id="rId2624"/>
    <p:sldId id="2147477814" r:id="rId2625"/>
    <p:sldId id="2147477815" r:id="rId2626"/>
    <p:sldId id="2147477816" r:id="rId2627"/>
    <p:sldId id="2147477817" r:id="rId2628"/>
    <p:sldId id="2147477818" r:id="rId2629"/>
    <p:sldId id="2147477819" r:id="rId2630"/>
    <p:sldId id="2147477820" r:id="rId2631"/>
    <p:sldId id="2147477821" r:id="rId2632"/>
    <p:sldId id="2147477822" r:id="rId2633"/>
    <p:sldId id="2147477823" r:id="rId2634"/>
    <p:sldId id="2147477824" r:id="rId2635"/>
    <p:sldId id="2147477825" r:id="rId2636"/>
    <p:sldId id="2147477826" r:id="rId2637"/>
    <p:sldId id="2147477827" r:id="rId2638"/>
    <p:sldId id="2147477828" r:id="rId2639"/>
    <p:sldId id="2147477829" r:id="rId2640"/>
    <p:sldId id="2147477830" r:id="rId2641"/>
    <p:sldId id="2147477831" r:id="rId2642"/>
    <p:sldId id="2147477832" r:id="rId2643"/>
    <p:sldId id="2147477833" r:id="rId2644"/>
    <p:sldId id="2147477834" r:id="rId2645"/>
    <p:sldId id="2147477835" r:id="rId2646"/>
    <p:sldId id="2147477836" r:id="rId2647"/>
    <p:sldId id="2147477837" r:id="rId2648"/>
    <p:sldId id="2147477838" r:id="rId2649"/>
    <p:sldId id="2147477839" r:id="rId2650"/>
    <p:sldId id="2147477840" r:id="rId2651"/>
    <p:sldId id="2147477841" r:id="rId2652"/>
    <p:sldId id="2147477842" r:id="rId2653"/>
    <p:sldId id="2147477843" r:id="rId2654"/>
    <p:sldId id="2147477844" r:id="rId2655"/>
    <p:sldId id="2147477845" r:id="rId2656"/>
    <p:sldId id="2147477846" r:id="rId2657"/>
    <p:sldId id="2147477847" r:id="rId2658"/>
    <p:sldId id="2147477848" r:id="rId2659"/>
    <p:sldId id="2147477849" r:id="rId2660"/>
    <p:sldId id="2147477850" r:id="rId2661"/>
    <p:sldId id="2147477851" r:id="rId2662"/>
    <p:sldId id="2147477852" r:id="rId2663"/>
    <p:sldId id="2147477853" r:id="rId2664"/>
    <p:sldId id="2147477854" r:id="rId2665"/>
    <p:sldId id="2147477855" r:id="rId2666"/>
    <p:sldId id="2147477856" r:id="rId2667"/>
    <p:sldId id="2147477857" r:id="rId2668"/>
    <p:sldId id="2147477858" r:id="rId2669"/>
    <p:sldId id="2147477859" r:id="rId2670"/>
    <p:sldId id="2147477860" r:id="rId2671"/>
    <p:sldId id="2147477861" r:id="rId2672"/>
    <p:sldId id="2147477862" r:id="rId2673"/>
    <p:sldId id="2147477863" r:id="rId2674"/>
    <p:sldId id="2147477864" r:id="rId2675"/>
    <p:sldId id="2147477865" r:id="rId2676"/>
    <p:sldId id="2147477866" r:id="rId2677"/>
    <p:sldId id="2147477867" r:id="rId2678"/>
    <p:sldId id="2147477868" r:id="rId2679"/>
    <p:sldId id="2147477869" r:id="rId2680"/>
    <p:sldId id="2147477870" r:id="rId2681"/>
    <p:sldId id="2147477871" r:id="rId2682"/>
    <p:sldId id="2147477872" r:id="rId2683"/>
    <p:sldId id="2147477873" r:id="rId2684"/>
    <p:sldId id="2147477874" r:id="rId2685"/>
    <p:sldId id="2147477875" r:id="rId2686"/>
    <p:sldId id="2147477876" r:id="rId2687"/>
    <p:sldId id="2147477877" r:id="rId2688"/>
    <p:sldId id="2147477878" r:id="rId2689"/>
    <p:sldId id="2147477879" r:id="rId2690"/>
    <p:sldId id="2147477880" r:id="rId2691"/>
    <p:sldId id="2147477881" r:id="rId2692"/>
    <p:sldId id="2147477882" r:id="rId2693"/>
    <p:sldId id="2147477883" r:id="rId2694"/>
    <p:sldId id="2147477884" r:id="rId2695"/>
    <p:sldId id="2147477885" r:id="rId2696"/>
    <p:sldId id="2147477886" r:id="rId26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EF939365-D59A-4694-AFE7-5AB1DA0FC50C}">
          <p14:sldIdLst>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Lst>
        </p14:section>
        <p14:section name="Promo Evolution Sector" id="{230C2C9E-9731-4B9B-A1EE-A607BFC4AF54}">
          <p14:sldIdLst>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Lst>
        </p14:section>
        <p14:section name="Promo Evolution Segment" id="{3B8B06CB-64DE-496F-86D2-4F7FC9CBB645}">
          <p14:sldIdLst>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Lst>
        </p14:section>
        <p14:section name="VSOD Summary by Sector Sector" id="{9EF4B5FE-8840-4FC6-A481-8AD3D2F82EE3}">
          <p14:sldIdLst>
            <p14:sldId id="2147475418"/>
            <p14:sldId id="2147475419"/>
            <p14:sldId id="2147475420"/>
            <p14:sldId id="2147475421"/>
            <p14:sldId id="2147475422"/>
            <p14:sldId id="2147475423"/>
            <p14:sldId id="2147475424"/>
            <p14:sldId id="2147475425"/>
            <p14:sldId id="2147475426"/>
            <p14:sldId id="2147475427"/>
            <p14:sldId id="2147475428"/>
          </p14:sldIdLst>
        </p14:section>
        <p14:section name="VSOD Summary by Sector Segment" id="{A39C714A-6525-43B6-A8C7-AEE65D551F0B}">
          <p14:sldIdLst>
            <p14:sldId id="2147475429"/>
            <p14:sldId id="2147475430"/>
            <p14:sldId id="2147475431"/>
            <p14:sldId id="2147475432"/>
            <p14:sldId id="2147475433"/>
            <p14:sldId id="2147475434"/>
            <p14:sldId id="2147475435"/>
            <p14:sldId id="2147475436"/>
            <p14:sldId id="2147475437"/>
            <p14:sldId id="2147475438"/>
            <p14:sldId id="2147475439"/>
          </p14:sldIdLst>
        </p14:section>
        <p14:section name="Value uplift by retailer by brand Category" id="{D6C326C9-57AA-4A7F-8397-50C0356F6C4B}">
          <p14:sldIdLst>
            <p14:sldId id="2147475440"/>
          </p14:sldIdLst>
        </p14:section>
        <p14:section name="Value uplift by retailer by brand Sector" id="{1ED5AC8D-EEF7-4E2B-AD8C-A1F3DE864E89}">
          <p14:sldIdLst>
            <p14:sldId id="2147475441"/>
            <p14:sldId id="2147475442"/>
            <p14:sldId id="2147475443"/>
          </p14:sldIdLst>
        </p14:section>
        <p14:section name="Value uplift by retailer by brand Segment" id="{1980B220-884F-4AFD-9F89-7A9B4BA77769}">
          <p14:sldIdLst>
            <p14:sldId id="2147475444"/>
            <p14:sldId id="2147475445"/>
            <p14:sldId id="2147475446"/>
            <p14:sldId id="2147475447"/>
            <p14:sldId id="2147475448"/>
            <p14:sldId id="2147475449"/>
            <p14:sldId id="2147475450"/>
            <p14:sldId id="2147475451"/>
            <p14:sldId id="2147475452"/>
            <p14:sldId id="2147475453"/>
            <p14:sldId id="2147475454"/>
          </p14:sldIdLst>
        </p14:section>
        <p14:section name="Volume Uplift vs discount depth Category" id="{465FB3C4-EADD-4901-AF4D-8B4061F0310B}">
          <p14:sldIdLst>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Lst>
        </p14:section>
        <p14:section name="Volume Uplift vs discount depth Sector" id="{1D6C8BE4-1F46-4A2C-A877-B61894BF177C}">
          <p14:sldIdLst>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Lst>
        </p14:section>
        <p14:section name="Volume Uplift vs discount depth Segment" id="{33B599A6-B51A-4364-8715-8CE731291B38}">
          <p14:sldIdLst>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Lst>
        </p14:section>
        <p14:section name="Value Uplift vs Promo Efficiency Quadrant Category" id="{D3AA5E1E-0D49-4189-8682-26A4FA52AC0D}">
          <p14:sldIdLst>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Lst>
        </p14:section>
        <p14:section name="Value Uplift vs Promo Efficiency Quadrant Sector" id="{700DBC11-E1BB-4B85-9984-3998A86A706D}">
          <p14:sldIdLst>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Lst>
        </p14:section>
        <p14:section name="Value Uplift vs Promo Efficiency Quadrant Segment" id="{39B825AE-3FDF-4783-9978-AAB4F18872AE}">
          <p14:sldIdLst>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Lst>
        </p14:section>
        <p14:section name="Top 20 promotions Category" id="{D5C34489-1FF2-44C7-AAF3-65851A101093}">
          <p14:sldIdLst>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Lst>
        </p14:section>
        <p14:section name="Top 20 promotions Sector" id="{C18A7DE0-E646-4640-80D4-8CBC2AB3F3E6}">
          <p14:sldIdLst>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Lst>
        </p14:section>
        <p14:section name="Top 20 promotions Segment" id="{9C1FEBB7-EECE-41D3-BB66-C01D596CBDD6}">
          <p14:sldIdLst>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Lst>
        </p14:section>
        <p14:section name="Top 20 promotions CLIENT ONLY Category" id="{660C39B4-11D3-42EE-B042-0BDD63ECCC43}">
          <p14:sldIdLst>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Lst>
        </p14:section>
        <p14:section name="Top 20 promotions CLIENT ONLY Sector" id="{B5635EFC-1E56-40DD-A835-FA0AA97C12CE}">
          <p14:sldIdLst>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Lst>
        </p14:section>
        <p14:section name="Top 20 promotions CLIENT ONLY Segment" id="{F51CA9AB-01A1-4072-8A53-5B1923B2273F}">
          <p14:sldIdLst>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Lst>
        </p14:section>
        <p14:section name="Bottom 20 promotions CLIENT ONLY Category" id="{7B423A04-0E84-43AA-B730-15B347941EBF}">
          <p14:sldIdLst>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Lst>
        </p14:section>
        <p14:section name="Bottom 20 promotions CLIENT ONLY Sector" id="{579FDC5A-2575-48CE-BD0B-C11A354A8BEB}">
          <p14:sldIdLst>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Lst>
        </p14:section>
        <p14:section name="Bottom 20 promotions CLIENT ONLY Segment" id="{AAE02609-7C1D-4D77-BC8D-5233C3B493BF}">
          <p14:sldIdLst>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Lst>
        </p14:section>
        <p14:section name="Volume Sold on Deal Sector" id="{7D287A3F-E43F-4FED-9EEA-D34BD137AA88}">
          <p14:sldIdLst>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Lst>
        </p14:section>
        <p14:section name="Volume Sold on Deal Segment" id="{C5DE4559-42D0-43B2-B866-70A0809B01D5}">
          <p14:sldIdLst>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Lst>
        </p14:section>
        <p14:section name="Promo share vs Value Share Category" id="{F7B8FE51-72CB-41F5-BECD-C6A6D8B4C062}">
          <p14:sldIdLst>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Lst>
        </p14:section>
        <p14:section name="Promo share vs Value Share Sector" id="{2188ADF3-0427-4824-A3FB-C1C2D54CE6EC}">
          <p14:sldIdLst>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Lst>
        </p14:section>
        <p14:section name="Promo share vs Value Share Segment" id="{3E2E9454-C5FF-4723-A08D-5D94D58D6D1C}">
          <p14:sldIdLst>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 id="2147476530"/>
            <p14:sldId id="2147476531"/>
            <p14:sldId id="2147476532"/>
            <p14:sldId id="2147476533"/>
            <p14:sldId id="2147476534"/>
            <p14:sldId id="2147476535"/>
            <p14:sldId id="2147476536"/>
            <p14:sldId id="2147476537"/>
            <p14:sldId id="2147476538"/>
            <p14:sldId id="2147476539"/>
          </p14:sldIdLst>
        </p14:section>
        <p14:section name="Promo Sales by total size Category" id="{91572177-CA91-4FED-A02F-66AACFEB07CB}">
          <p14:sldIdLst>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Lst>
        </p14:section>
        <p14:section name="Promo Sales by total size Sector" id="{EA2E5585-1788-4048-BE9B-8245DA1B1224}">
          <p14:sldIdLst>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Lst>
        </p14:section>
        <p14:section name="Promo Sales by total size Segment" id="{52590B3A-2D67-433F-9675-28FB090CF486}">
          <p14:sldIdLst>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 id="2147476752"/>
            <p14:sldId id="2147476753"/>
            <p14:sldId id="2147476754"/>
            <p14:sldId id="2147476755"/>
            <p14:sldId id="2147476756"/>
            <p14:sldId id="2147476757"/>
            <p14:sldId id="2147476758"/>
            <p14:sldId id="2147476759"/>
            <p14:sldId id="2147476760"/>
            <p14:sldId id="2147476761"/>
            <p14:sldId id="2147476762"/>
            <p14:sldId id="2147476763"/>
          </p14:sldIdLst>
        </p14:section>
        <p14:section name="Promo Frequency learnings Category" id="{C96110E1-D68F-4177-9555-2B242E9C9C2C}">
          <p14:sldIdLst>
            <p14:sldId id="2147476764"/>
            <p14:sldId id="2147476765"/>
            <p14:sldId id="2147476766"/>
            <p14:sldId id="2147476767"/>
            <p14:sldId id="2147476768"/>
            <p14:sldId id="2147476769"/>
            <p14:sldId id="2147476770"/>
            <p14:sldId id="2147476771"/>
            <p14:sldId id="2147476772"/>
            <p14:sldId id="2147476773"/>
            <p14:sldId id="2147476774"/>
            <p14:sldId id="2147476775"/>
            <p14:sldId id="2147476776"/>
            <p14:sldId id="2147476777"/>
            <p14:sldId id="2147476778"/>
            <p14:sldId id="2147476779"/>
            <p14:sldId id="2147476780"/>
            <p14:sldId id="2147476781"/>
            <p14:sldId id="2147476782"/>
            <p14:sldId id="2147476783"/>
            <p14:sldId id="2147476784"/>
            <p14:sldId id="2147476785"/>
            <p14:sldId id="2147476786"/>
            <p14:sldId id="2147476787"/>
            <p14:sldId id="2147476788"/>
            <p14:sldId id="2147476789"/>
            <p14:sldId id="2147476790"/>
            <p14:sldId id="2147476791"/>
            <p14:sldId id="2147476792"/>
            <p14:sldId id="2147476793"/>
            <p14:sldId id="2147476794"/>
            <p14:sldId id="2147476795"/>
          </p14:sldIdLst>
        </p14:section>
        <p14:section name="Promo Frequency learnings Sector" id="{F78DE956-352E-406A-86EB-FD5207512856}">
          <p14:sldIdLst>
            <p14:sldId id="2147476796"/>
            <p14:sldId id="2147476797"/>
            <p14:sldId id="2147476798"/>
            <p14:sldId id="2147476799"/>
            <p14:sldId id="2147476800"/>
            <p14:sldId id="2147476801"/>
            <p14:sldId id="2147476802"/>
            <p14:sldId id="2147476803"/>
            <p14:sldId id="2147476804"/>
            <p14:sldId id="2147476805"/>
            <p14:sldId id="2147476806"/>
            <p14:sldId id="2147476807"/>
            <p14:sldId id="2147476808"/>
            <p14:sldId id="2147476809"/>
            <p14:sldId id="2147476810"/>
            <p14:sldId id="2147476811"/>
            <p14:sldId id="2147476812"/>
            <p14:sldId id="2147476813"/>
            <p14:sldId id="2147476814"/>
            <p14:sldId id="2147476815"/>
            <p14:sldId id="2147476816"/>
            <p14:sldId id="2147476817"/>
            <p14:sldId id="2147476818"/>
            <p14:sldId id="2147476819"/>
            <p14:sldId id="2147476820"/>
            <p14:sldId id="2147476821"/>
            <p14:sldId id="2147476822"/>
            <p14:sldId id="2147476823"/>
            <p14:sldId id="2147476824"/>
            <p14:sldId id="2147476825"/>
            <p14:sldId id="2147476826"/>
            <p14:sldId id="2147476827"/>
          </p14:sldIdLst>
        </p14:section>
        <p14:section name="Promo Frequency learnings Segment" id="{11664288-8CFC-4D7E-AA7D-947360658EE2}">
          <p14:sldIdLst>
            <p14:sldId id="2147476828"/>
            <p14:sldId id="2147476829"/>
            <p14:sldId id="2147476830"/>
            <p14:sldId id="2147476831"/>
            <p14:sldId id="2147476832"/>
            <p14:sldId id="2147476833"/>
            <p14:sldId id="2147476834"/>
            <p14:sldId id="2147476835"/>
            <p14:sldId id="2147476836"/>
            <p14:sldId id="2147476837"/>
            <p14:sldId id="2147476838"/>
            <p14:sldId id="2147476839"/>
            <p14:sldId id="2147476840"/>
            <p14:sldId id="2147476841"/>
            <p14:sldId id="2147476842"/>
            <p14:sldId id="2147476843"/>
            <p14:sldId id="2147476844"/>
            <p14:sldId id="2147476845"/>
            <p14:sldId id="2147476846"/>
            <p14:sldId id="2147476847"/>
            <p14:sldId id="2147476848"/>
            <p14:sldId id="2147476849"/>
            <p14:sldId id="2147476850"/>
            <p14:sldId id="2147476851"/>
            <p14:sldId id="2147476852"/>
            <p14:sldId id="2147476853"/>
            <p14:sldId id="2147476854"/>
            <p14:sldId id="2147476855"/>
            <p14:sldId id="2147476856"/>
            <p14:sldId id="2147476857"/>
            <p14:sldId id="2147476858"/>
            <p14:sldId id="2147476859"/>
            <p14:sldId id="2147476860"/>
            <p14:sldId id="2147476861"/>
            <p14:sldId id="2147476862"/>
            <p14:sldId id="2147476863"/>
            <p14:sldId id="2147476864"/>
            <p14:sldId id="2147476865"/>
            <p14:sldId id="2147476866"/>
            <p14:sldId id="2147476867"/>
            <p14:sldId id="2147476868"/>
            <p14:sldId id="2147476869"/>
            <p14:sldId id="2147476870"/>
            <p14:sldId id="2147476871"/>
            <p14:sldId id="2147476872"/>
            <p14:sldId id="2147476873"/>
            <p14:sldId id="2147476874"/>
            <p14:sldId id="2147476875"/>
            <p14:sldId id="2147476876"/>
            <p14:sldId id="2147476877"/>
            <p14:sldId id="2147476878"/>
            <p14:sldId id="2147476879"/>
            <p14:sldId id="2147476880"/>
            <p14:sldId id="2147476881"/>
            <p14:sldId id="2147476882"/>
            <p14:sldId id="2147476883"/>
            <p14:sldId id="2147476884"/>
            <p14:sldId id="2147476885"/>
            <p14:sldId id="2147476886"/>
            <p14:sldId id="2147476887"/>
            <p14:sldId id="2147476888"/>
            <p14:sldId id="2147476889"/>
            <p14:sldId id="2147476890"/>
            <p14:sldId id="2147476891"/>
            <p14:sldId id="2147476892"/>
            <p14:sldId id="2147476893"/>
            <p14:sldId id="2147476894"/>
            <p14:sldId id="2147476895"/>
            <p14:sldId id="2147476896"/>
            <p14:sldId id="2147476897"/>
            <p14:sldId id="2147476898"/>
            <p14:sldId id="2147476899"/>
            <p14:sldId id="2147476900"/>
            <p14:sldId id="2147476901"/>
            <p14:sldId id="2147476902"/>
            <p14:sldId id="2147476903"/>
            <p14:sldId id="2147476904"/>
            <p14:sldId id="2147476905"/>
            <p14:sldId id="2147476906"/>
            <p14:sldId id="2147476907"/>
            <p14:sldId id="2147476908"/>
            <p14:sldId id="2147476909"/>
            <p14:sldId id="2147476910"/>
            <p14:sldId id="2147476911"/>
            <p14:sldId id="2147476912"/>
            <p14:sldId id="2147476913"/>
            <p14:sldId id="2147476914"/>
            <p14:sldId id="2147476915"/>
            <p14:sldId id="2147476916"/>
            <p14:sldId id="2147476917"/>
            <p14:sldId id="2147476918"/>
            <p14:sldId id="2147476919"/>
            <p14:sldId id="2147476920"/>
            <p14:sldId id="2147476921"/>
            <p14:sldId id="2147476922"/>
            <p14:sldId id="2147476923"/>
            <p14:sldId id="2147476924"/>
            <p14:sldId id="2147476925"/>
            <p14:sldId id="2147476926"/>
            <p14:sldId id="2147476927"/>
            <p14:sldId id="2147476928"/>
            <p14:sldId id="2147476929"/>
            <p14:sldId id="2147476930"/>
            <p14:sldId id="2147476931"/>
            <p14:sldId id="2147476932"/>
            <p14:sldId id="2147476933"/>
            <p14:sldId id="2147476934"/>
            <p14:sldId id="2147476935"/>
            <p14:sldId id="2147476936"/>
            <p14:sldId id="2147476937"/>
            <p14:sldId id="2147476938"/>
            <p14:sldId id="2147476939"/>
            <p14:sldId id="2147476940"/>
            <p14:sldId id="2147476941"/>
            <p14:sldId id="2147476942"/>
            <p14:sldId id="2147476943"/>
            <p14:sldId id="2147476944"/>
            <p14:sldId id="2147476945"/>
            <p14:sldId id="2147476946"/>
            <p14:sldId id="2147476947"/>
            <p14:sldId id="2147476948"/>
            <p14:sldId id="2147476949"/>
            <p14:sldId id="2147476950"/>
            <p14:sldId id="2147476951"/>
            <p14:sldId id="2147476952"/>
            <p14:sldId id="2147476953"/>
            <p14:sldId id="2147476954"/>
            <p14:sldId id="2147476955"/>
          </p14:sldIdLst>
        </p14:section>
        <p14:section name="Promo sales per retailer Category" id="{AFD0D73A-0125-4D25-B256-75CD6EC919E2}">
          <p14:sldIdLst>
            <p14:sldId id="2147476956"/>
            <p14:sldId id="2147476957"/>
            <p14:sldId id="2147476958"/>
            <p14:sldId id="2147476959"/>
            <p14:sldId id="2147476960"/>
            <p14:sldId id="2147476961"/>
            <p14:sldId id="2147476962"/>
            <p14:sldId id="2147476963"/>
          </p14:sldIdLst>
        </p14:section>
        <p14:section name="Promo sales per retailer Sector" id="{38F483CB-8532-4E0A-97C5-2B26D1CF1E97}">
          <p14:sldIdLst>
            <p14:sldId id="2147476964"/>
            <p14:sldId id="2147476965"/>
            <p14:sldId id="2147476966"/>
            <p14:sldId id="2147476967"/>
            <p14:sldId id="2147476968"/>
            <p14:sldId id="2147476969"/>
            <p14:sldId id="2147476970"/>
            <p14:sldId id="2147476971"/>
          </p14:sldIdLst>
        </p14:section>
        <p14:section name="Promo sales per retailer Segment" id="{A2E1F057-87BE-4A06-9E89-C38E1A46ABA4}">
          <p14:sldIdLst>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Lst>
        </p14:section>
        <p14:section name="Promo sales per retailer SubSegment" id="{B8B43ABE-9A51-4D5D-9062-C9368EA0505C}">
          <p14:sldIdLst/>
        </p14:section>
        <p14:section name="Value Uplift vs discount depth Category" id="{5A1CB0CB-910C-4149-BA8F-E4ED5C8DD2F0}">
          <p14:sldIdLst>
            <p14:sldId id="2147477004"/>
            <p14:sldId id="2147477005"/>
            <p14:sldId id="2147477006"/>
            <p14:sldId id="2147477007"/>
            <p14:sldId id="2147477008"/>
            <p14:sldId id="2147477009"/>
            <p14:sldId id="2147477010"/>
            <p14:sldId id="2147477011"/>
            <p14:sldId id="2147477012"/>
          </p14:sldIdLst>
        </p14:section>
        <p14:section name="Value Uplift vs discount depth Sector" id="{0ACB6D5F-D10C-49DA-A53D-31B45EBA57B1}">
          <p14:sldIdLst>
            <p14:sldId id="2147477013"/>
            <p14:sldId id="2147477014"/>
            <p14:sldId id="2147477015"/>
            <p14:sldId id="2147477016"/>
            <p14:sldId id="2147477017"/>
            <p14:sldId id="2147477018"/>
            <p14:sldId id="2147477019"/>
            <p14:sldId id="2147477020"/>
            <p14:sldId id="2147477021"/>
          </p14:sldIdLst>
        </p14:section>
        <p14:section name="Value Uplift vs discount depth Segment" id="{082CD98C-BE99-4C8F-98C7-F49EA599F98A}">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Lst>
        </p14:section>
        <p14:section name="Seasonality Index Category" id="{E973CB8B-48A5-4811-BCCF-0A8FEF467E4D}">
          <p14:sldIdLst>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Lst>
        </p14:section>
        <p14:section name="Seasonality Index Sector" id="{1393B08C-AD19-4E44-B63A-EF3EDCCA0C4A}">
          <p14:sldIdLst>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Lst>
        </p14:section>
        <p14:section name="Seasonality Index Segment" id="{ACBA1E67-FAC8-42F2-9AD3-ED2A5A3BB62A}">
          <p14:sldIdLst>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Lst>
        </p14:section>
        <p14:section name="Seasonality Index Subsegment" id="{34CDF9C0-5E84-429D-933C-123C02EDD055}">
          <p14:sldIdLst/>
        </p14:section>
        <p14:section name="Promotional Frequency Analysis Category" id="{AA56608D-9275-4D31-8200-AFC1B87E42D8}">
          <p14:sldIdLst>
            <p14:sldId id="2147477106"/>
            <p14:sldId id="2147477107"/>
            <p14:sldId id="2147477108"/>
            <p14:sldId id="2147477109"/>
            <p14:sldId id="2147477110"/>
            <p14:sldId id="2147477111"/>
            <p14:sldId id="2147477112"/>
            <p14:sldId id="2147477113"/>
            <p14:sldId id="2147477114"/>
            <p14:sldId id="2147477115"/>
          </p14:sldIdLst>
        </p14:section>
        <p14:section name="Promotional Frequency Analysis Sector" id="{B8A23607-069F-47AE-8516-7685133B5945}">
          <p14:sldIdLst>
            <p14:sldId id="2147477116"/>
            <p14:sldId id="2147477117"/>
            <p14:sldId id="2147477118"/>
            <p14:sldId id="2147477119"/>
            <p14:sldId id="2147477120"/>
            <p14:sldId id="2147477121"/>
            <p14:sldId id="2147477122"/>
            <p14:sldId id="2147477123"/>
            <p14:sldId id="2147477124"/>
            <p14:sldId id="2147477125"/>
          </p14:sldIdLst>
        </p14:section>
        <p14:section name="Promotional Frequency Analysis Segment" id="{FDF326EA-5D9A-48D1-B6E4-CB824FCF785A}">
          <p14:sldIdLst>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Lst>
        </p14:section>
        <p14:section name="Promotional Frequency Analysis Subsegment" id="{D7FE7B4B-FC63-48B7-B97F-A1DA98659C71}">
          <p14:sldIdLst/>
        </p14:section>
        <p14:section name="Promo Evolution no client prio Category" id="{A5603862-F379-422C-A252-EE9409E81CE8}">
          <p14:sldIdLst>
            <p14:sldId id="2147477146"/>
            <p14:sldId id="2147477147"/>
            <p14:sldId id="2147477148"/>
            <p14:sldId id="2147477149"/>
            <p14:sldId id="2147477150"/>
            <p14:sldId id="2147477151"/>
            <p14:sldId id="2147477152"/>
            <p14:sldId id="2147477153"/>
            <p14:sldId id="2147477154"/>
            <p14:sldId id="2147477155"/>
            <p14:sldId id="2147477156"/>
            <p14:sldId id="2147477157"/>
            <p14:sldId id="2147477158"/>
            <p14:sldId id="2147477159"/>
            <p14:sldId id="2147477160"/>
            <p14:sldId id="2147477161"/>
          </p14:sldIdLst>
        </p14:section>
        <p14:section name="Promo Evolution no client prio Sector" id="{2D499F97-9325-4947-BB0C-D0F12BE8A557}">
          <p14:sldIdLst>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Lst>
        </p14:section>
        <p14:section name="Promo Evolution no client prio Segment" id="{81EA8D93-DC4D-40EC-8174-DAE589BB6B48}">
          <p14:sldIdLst>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 id="2147477241"/>
            <p14:sldId id="2147477242"/>
            <p14:sldId id="2147477243"/>
            <p14:sldId id="2147477244"/>
            <p14:sldId id="2147477245"/>
            <p14:sldId id="2147477246"/>
            <p14:sldId id="2147477247"/>
            <p14:sldId id="2147477248"/>
            <p14:sldId id="2147477249"/>
            <p14:sldId id="2147477250"/>
            <p14:sldId id="2147477251"/>
            <p14:sldId id="2147477252"/>
            <p14:sldId id="2147477253"/>
            <p14:sldId id="2147477254"/>
            <p14:sldId id="2147477255"/>
            <p14:sldId id="2147477256"/>
            <p14:sldId id="2147477257"/>
            <p14:sldId id="2147477258"/>
            <p14:sldId id="2147477259"/>
            <p14:sldId id="2147477260"/>
            <p14:sldId id="2147477261"/>
            <p14:sldId id="2147477262"/>
            <p14:sldId id="2147477263"/>
            <p14:sldId id="2147477264"/>
            <p14:sldId id="2147477265"/>
            <p14:sldId id="2147477266"/>
            <p14:sldId id="2147477267"/>
            <p14:sldId id="2147477268"/>
            <p14:sldId id="2147477269"/>
            <p14:sldId id="2147477270"/>
            <p14:sldId id="2147477271"/>
            <p14:sldId id="2147477272"/>
            <p14:sldId id="2147477273"/>
            <p14:sldId id="2147477274"/>
            <p14:sldId id="2147477275"/>
            <p14:sldId id="2147477276"/>
            <p14:sldId id="2147477277"/>
            <p14:sldId id="2147477278"/>
            <p14:sldId id="2147477279"/>
            <p14:sldId id="2147477280"/>
            <p14:sldId id="2147477281"/>
            <p14:sldId id="2147477282"/>
            <p14:sldId id="2147477283"/>
            <p14:sldId id="2147477284"/>
            <p14:sldId id="2147477285"/>
            <p14:sldId id="2147477286"/>
            <p14:sldId id="2147477287"/>
            <p14:sldId id="2147477288"/>
            <p14:sldId id="2147477289"/>
            <p14:sldId id="2147477290"/>
            <p14:sldId id="2147477291"/>
            <p14:sldId id="2147477292"/>
            <p14:sldId id="2147477293"/>
            <p14:sldId id="2147477294"/>
            <p14:sldId id="2147477295"/>
            <p14:sldId id="2147477296"/>
            <p14:sldId id="2147477297"/>
            <p14:sldId id="2147477298"/>
            <p14:sldId id="2147477299"/>
            <p14:sldId id="2147477300"/>
            <p14:sldId id="2147477301"/>
            <p14:sldId id="2147477302"/>
            <p14:sldId id="2147477303"/>
            <p14:sldId id="2147477304"/>
            <p14:sldId id="2147477305"/>
            <p14:sldId id="2147477306"/>
            <p14:sldId id="2147477307"/>
            <p14:sldId id="2147477308"/>
            <p14:sldId id="2147477309"/>
            <p14:sldId id="2147477310"/>
            <p14:sldId id="2147477311"/>
            <p14:sldId id="2147477312"/>
            <p14:sldId id="2147477313"/>
            <p14:sldId id="2147477314"/>
            <p14:sldId id="2147477315"/>
            <p14:sldId id="2147477316"/>
            <p14:sldId id="2147477317"/>
            <p14:sldId id="2147477318"/>
            <p14:sldId id="2147477319"/>
            <p14:sldId id="2147477320"/>
            <p14:sldId id="2147477321"/>
            <p14:sldId id="2147477322"/>
            <p14:sldId id="2147477323"/>
            <p14:sldId id="2147477324"/>
            <p14:sldId id="2147477325"/>
            <p14:sldId id="2147477326"/>
            <p14:sldId id="2147477327"/>
            <p14:sldId id="2147477328"/>
            <p14:sldId id="2147477329"/>
            <p14:sldId id="2147477330"/>
            <p14:sldId id="2147477331"/>
            <p14:sldId id="2147477332"/>
            <p14:sldId id="2147477333"/>
            <p14:sldId id="2147477334"/>
            <p14:sldId id="2147477335"/>
            <p14:sldId id="2147477336"/>
            <p14:sldId id="2147477337"/>
            <p14:sldId id="2147477338"/>
            <p14:sldId id="2147477339"/>
            <p14:sldId id="2147477340"/>
            <p14:sldId id="2147477341"/>
            <p14:sldId id="2147477342"/>
            <p14:sldId id="2147477343"/>
            <p14:sldId id="2147477344"/>
            <p14:sldId id="2147477345"/>
            <p14:sldId id="2147477346"/>
            <p14:sldId id="2147477347"/>
            <p14:sldId id="2147477348"/>
            <p14:sldId id="2147477349"/>
            <p14:sldId id="2147477350"/>
            <p14:sldId id="2147477351"/>
            <p14:sldId id="2147477352"/>
            <p14:sldId id="2147477353"/>
            <p14:sldId id="2147477354"/>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 name="VSOD Summary by Sector no client prio Sector" id="{77F53933-AF80-44D5-BAF5-311870150AF4}">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VSOD Summary by Sector no client prio Segment" id="{ADAAD896-2D7B-4DE0-93D3-886C6F56CE9A}">
          <p14:sldIdLst>
            <p14:sldId id="2147477397"/>
            <p14:sldId id="2147477398"/>
            <p14:sldId id="2147477399"/>
            <p14:sldId id="2147477400"/>
            <p14:sldId id="2147477401"/>
            <p14:sldId id="2147477402"/>
            <p14:sldId id="2147477403"/>
            <p14:sldId id="2147477404"/>
            <p14:sldId id="2147477405"/>
            <p14:sldId id="2147477406"/>
            <p14:sldId id="2147477407"/>
          </p14:sldIdLst>
        </p14:section>
        <p14:section name="Value uplift by retailer by brand no client prio Category" id="{BA9C7A4D-06AB-4ED2-AB14-A09FA426C76E}">
          <p14:sldIdLst>
            <p14:sldId id="2147477408"/>
          </p14:sldIdLst>
        </p14:section>
        <p14:section name="Value uplift by retailer by brand no client prio Sector" id="{02D74D30-4ADA-42E6-885A-7C5F7E8719E8}">
          <p14:sldIdLst>
            <p14:sldId id="2147477409"/>
            <p14:sldId id="2147477410"/>
            <p14:sldId id="2147477411"/>
          </p14:sldIdLst>
        </p14:section>
        <p14:section name="Value uplift by retailer by brand no client prio Segment" id="{C9132F11-BFA0-4307-A29C-A12BB1B1458E}">
          <p14:sldIdLst>
            <p14:sldId id="2147477412"/>
            <p14:sldId id="2147477413"/>
            <p14:sldId id="2147477414"/>
            <p14:sldId id="2147477415"/>
            <p14:sldId id="2147477416"/>
            <p14:sldId id="2147477417"/>
            <p14:sldId id="2147477418"/>
            <p14:sldId id="2147477419"/>
            <p14:sldId id="2147477420"/>
            <p14:sldId id="2147477421"/>
            <p14:sldId id="2147477422"/>
          </p14:sldIdLst>
        </p14:section>
        <p14:section name="Promo share vs Value Share no client prio Category" id="{101F72E2-2F8B-4660-A26C-B4206708D918}">
          <p14:sldIdLst>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Lst>
        </p14:section>
        <p14:section name="Promo share vs Value Share no client prio Sector" id="{3221BF94-5806-4C32-854E-2D96E5D8BEFE}">
          <p14:sldIdLst>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Lst>
        </p14:section>
        <p14:section name="Promo share vs Value Share no client prio Segment" id="{92260D91-58AF-4DF0-9BB5-58BD3E4C77C9}">
          <p14:sldIdLst>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Lst>
        </p14:section>
        <p14:section name="Promo Sales by total size no client prio Category" id="{75BD7F91-1596-4643-A588-EC311A7979E8}">
          <p14:sldIdLst>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Lst>
        </p14:section>
        <p14:section name="Promo Sales by total size no client prio Sector" id="{17F68FD1-C8FD-4E94-B101-27C8DC1B8E4D}">
          <p14:sldIdLst>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Lst>
        </p14:section>
        <p14:section name="Promo Sales by total size no client prio Segment" id="{7AA922DC-5D1D-487E-A69C-91EBB9A21325}">
          <p14:sldIdLst>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slide" Target="slides/slide2013.xml"/><Relationship Id="rId2018" Type="http://schemas.openxmlformats.org/officeDocument/2006/relationships/slide" Target="slides/slide2014.xml"/><Relationship Id="rId2019" Type="http://schemas.openxmlformats.org/officeDocument/2006/relationships/slide" Target="slides/slide2015.xml"/><Relationship Id="rId2020" Type="http://schemas.openxmlformats.org/officeDocument/2006/relationships/slide" Target="slides/slide2016.xml"/><Relationship Id="rId2021" Type="http://schemas.openxmlformats.org/officeDocument/2006/relationships/slide" Target="slides/slide2017.xml"/><Relationship Id="rId2022" Type="http://schemas.openxmlformats.org/officeDocument/2006/relationships/slide" Target="slides/slide2018.xml"/><Relationship Id="rId2023" Type="http://schemas.openxmlformats.org/officeDocument/2006/relationships/slide" Target="slides/slide2019.xml"/><Relationship Id="rId2024" Type="http://schemas.openxmlformats.org/officeDocument/2006/relationships/slide" Target="slides/slide2020.xml"/><Relationship Id="rId2025" Type="http://schemas.openxmlformats.org/officeDocument/2006/relationships/slide" Target="slides/slide2021.xml"/><Relationship Id="rId2026" Type="http://schemas.openxmlformats.org/officeDocument/2006/relationships/slide" Target="slides/slide2022.xml"/><Relationship Id="rId2027" Type="http://schemas.openxmlformats.org/officeDocument/2006/relationships/slide" Target="slides/slide2023.xml"/><Relationship Id="rId2028" Type="http://schemas.openxmlformats.org/officeDocument/2006/relationships/slide" Target="slides/slide2024.xml"/><Relationship Id="rId2029" Type="http://schemas.openxmlformats.org/officeDocument/2006/relationships/slide" Target="slides/slide2025.xml"/><Relationship Id="rId2030" Type="http://schemas.openxmlformats.org/officeDocument/2006/relationships/slide" Target="slides/slide2026.xml"/><Relationship Id="rId2031" Type="http://schemas.openxmlformats.org/officeDocument/2006/relationships/slide" Target="slides/slide2027.xml"/><Relationship Id="rId2032" Type="http://schemas.openxmlformats.org/officeDocument/2006/relationships/slide" Target="slides/slide2028.xml"/><Relationship Id="rId2033" Type="http://schemas.openxmlformats.org/officeDocument/2006/relationships/slide" Target="slides/slide2029.xml"/><Relationship Id="rId2034" Type="http://schemas.openxmlformats.org/officeDocument/2006/relationships/slide" Target="slides/slide2030.xml"/><Relationship Id="rId2035" Type="http://schemas.openxmlformats.org/officeDocument/2006/relationships/slide" Target="slides/slide2031.xml"/><Relationship Id="rId2036" Type="http://schemas.openxmlformats.org/officeDocument/2006/relationships/slide" Target="slides/slide2032.xml"/><Relationship Id="rId2037" Type="http://schemas.openxmlformats.org/officeDocument/2006/relationships/slide" Target="slides/slide2033.xml"/><Relationship Id="rId2038" Type="http://schemas.openxmlformats.org/officeDocument/2006/relationships/slide" Target="slides/slide2034.xml"/><Relationship Id="rId2039" Type="http://schemas.openxmlformats.org/officeDocument/2006/relationships/slide" Target="slides/slide2035.xml"/><Relationship Id="rId2040" Type="http://schemas.openxmlformats.org/officeDocument/2006/relationships/slide" Target="slides/slide2036.xml"/><Relationship Id="rId2041" Type="http://schemas.openxmlformats.org/officeDocument/2006/relationships/slide" Target="slides/slide2037.xml"/><Relationship Id="rId2042" Type="http://schemas.openxmlformats.org/officeDocument/2006/relationships/slide" Target="slides/slide2038.xml"/><Relationship Id="rId2043" Type="http://schemas.openxmlformats.org/officeDocument/2006/relationships/slide" Target="slides/slide2039.xml"/><Relationship Id="rId2044" Type="http://schemas.openxmlformats.org/officeDocument/2006/relationships/slide" Target="slides/slide2040.xml"/><Relationship Id="rId2045" Type="http://schemas.openxmlformats.org/officeDocument/2006/relationships/slide" Target="slides/slide2041.xml"/><Relationship Id="rId2046" Type="http://schemas.openxmlformats.org/officeDocument/2006/relationships/slide" Target="slides/slide2042.xml"/><Relationship Id="rId2047" Type="http://schemas.openxmlformats.org/officeDocument/2006/relationships/slide" Target="slides/slide2043.xml"/><Relationship Id="rId2048" Type="http://schemas.openxmlformats.org/officeDocument/2006/relationships/slide" Target="slides/slide2044.xml"/><Relationship Id="rId2049" Type="http://schemas.openxmlformats.org/officeDocument/2006/relationships/slide" Target="slides/slide2045.xml"/><Relationship Id="rId2050" Type="http://schemas.openxmlformats.org/officeDocument/2006/relationships/slide" Target="slides/slide2046.xml"/><Relationship Id="rId2051" Type="http://schemas.openxmlformats.org/officeDocument/2006/relationships/slide" Target="slides/slide2047.xml"/><Relationship Id="rId2052" Type="http://schemas.openxmlformats.org/officeDocument/2006/relationships/slide" Target="slides/slide2048.xml"/><Relationship Id="rId2053" Type="http://schemas.openxmlformats.org/officeDocument/2006/relationships/slide" Target="slides/slide2049.xml"/><Relationship Id="rId2054" Type="http://schemas.openxmlformats.org/officeDocument/2006/relationships/slide" Target="slides/slide2050.xml"/><Relationship Id="rId2055" Type="http://schemas.openxmlformats.org/officeDocument/2006/relationships/slide" Target="slides/slide2051.xml"/><Relationship Id="rId2056" Type="http://schemas.openxmlformats.org/officeDocument/2006/relationships/slide" Target="slides/slide2052.xml"/><Relationship Id="rId2057" Type="http://schemas.openxmlformats.org/officeDocument/2006/relationships/slide" Target="slides/slide2053.xml"/><Relationship Id="rId2058" Type="http://schemas.openxmlformats.org/officeDocument/2006/relationships/slide" Target="slides/slide2054.xml"/><Relationship Id="rId2059" Type="http://schemas.openxmlformats.org/officeDocument/2006/relationships/slide" Target="slides/slide2055.xml"/><Relationship Id="rId2060" Type="http://schemas.openxmlformats.org/officeDocument/2006/relationships/slide" Target="slides/slide2056.xml"/><Relationship Id="rId2061" Type="http://schemas.openxmlformats.org/officeDocument/2006/relationships/slide" Target="slides/slide2057.xml"/><Relationship Id="rId2062" Type="http://schemas.openxmlformats.org/officeDocument/2006/relationships/slide" Target="slides/slide2058.xml"/><Relationship Id="rId2063" Type="http://schemas.openxmlformats.org/officeDocument/2006/relationships/slide" Target="slides/slide2059.xml"/><Relationship Id="rId2064" Type="http://schemas.openxmlformats.org/officeDocument/2006/relationships/slide" Target="slides/slide2060.xml"/><Relationship Id="rId2065" Type="http://schemas.openxmlformats.org/officeDocument/2006/relationships/slide" Target="slides/slide2061.xml"/><Relationship Id="rId2066" Type="http://schemas.openxmlformats.org/officeDocument/2006/relationships/slide" Target="slides/slide2062.xml"/><Relationship Id="rId2067" Type="http://schemas.openxmlformats.org/officeDocument/2006/relationships/slide" Target="slides/slide2063.xml"/><Relationship Id="rId2068" Type="http://schemas.openxmlformats.org/officeDocument/2006/relationships/slide" Target="slides/slide2064.xml"/><Relationship Id="rId2069" Type="http://schemas.openxmlformats.org/officeDocument/2006/relationships/slide" Target="slides/slide2065.xml"/><Relationship Id="rId2070" Type="http://schemas.openxmlformats.org/officeDocument/2006/relationships/slide" Target="slides/slide2066.xml"/><Relationship Id="rId2071" Type="http://schemas.openxmlformats.org/officeDocument/2006/relationships/slide" Target="slides/slide2067.xml"/><Relationship Id="rId2072" Type="http://schemas.openxmlformats.org/officeDocument/2006/relationships/slide" Target="slides/slide2068.xml"/><Relationship Id="rId2073" Type="http://schemas.openxmlformats.org/officeDocument/2006/relationships/slide" Target="slides/slide2069.xml"/><Relationship Id="rId2074" Type="http://schemas.openxmlformats.org/officeDocument/2006/relationships/slide" Target="slides/slide2070.xml"/><Relationship Id="rId2075" Type="http://schemas.openxmlformats.org/officeDocument/2006/relationships/slide" Target="slides/slide2071.xml"/><Relationship Id="rId2076" Type="http://schemas.openxmlformats.org/officeDocument/2006/relationships/slide" Target="slides/slide2072.xml"/><Relationship Id="rId2077" Type="http://schemas.openxmlformats.org/officeDocument/2006/relationships/slide" Target="slides/slide2073.xml"/><Relationship Id="rId2078" Type="http://schemas.openxmlformats.org/officeDocument/2006/relationships/slide" Target="slides/slide2074.xml"/><Relationship Id="rId2079" Type="http://schemas.openxmlformats.org/officeDocument/2006/relationships/slide" Target="slides/slide2075.xml"/><Relationship Id="rId2080" Type="http://schemas.openxmlformats.org/officeDocument/2006/relationships/slide" Target="slides/slide2076.xml"/><Relationship Id="rId2081" Type="http://schemas.openxmlformats.org/officeDocument/2006/relationships/slide" Target="slides/slide2077.xml"/><Relationship Id="rId2082" Type="http://schemas.openxmlformats.org/officeDocument/2006/relationships/slide" Target="slides/slide2078.xml"/><Relationship Id="rId2083" Type="http://schemas.openxmlformats.org/officeDocument/2006/relationships/slide" Target="slides/slide2079.xml"/><Relationship Id="rId2084" Type="http://schemas.openxmlformats.org/officeDocument/2006/relationships/slide" Target="slides/slide2080.xml"/><Relationship Id="rId2085" Type="http://schemas.openxmlformats.org/officeDocument/2006/relationships/slide" Target="slides/slide2081.xml"/><Relationship Id="rId2086" Type="http://schemas.openxmlformats.org/officeDocument/2006/relationships/slide" Target="slides/slide2082.xml"/><Relationship Id="rId2087" Type="http://schemas.openxmlformats.org/officeDocument/2006/relationships/slide" Target="slides/slide2083.xml"/><Relationship Id="rId2088" Type="http://schemas.openxmlformats.org/officeDocument/2006/relationships/slide" Target="slides/slide2084.xml"/><Relationship Id="rId2089" Type="http://schemas.openxmlformats.org/officeDocument/2006/relationships/slide" Target="slides/slide2085.xml"/><Relationship Id="rId2090" Type="http://schemas.openxmlformats.org/officeDocument/2006/relationships/slide" Target="slides/slide2086.xml"/><Relationship Id="rId2091" Type="http://schemas.openxmlformats.org/officeDocument/2006/relationships/slide" Target="slides/slide2087.xml"/><Relationship Id="rId2092" Type="http://schemas.openxmlformats.org/officeDocument/2006/relationships/slide" Target="slides/slide2088.xml"/><Relationship Id="rId2093" Type="http://schemas.openxmlformats.org/officeDocument/2006/relationships/slide" Target="slides/slide2089.xml"/><Relationship Id="rId2094" Type="http://schemas.openxmlformats.org/officeDocument/2006/relationships/slide" Target="slides/slide2090.xml"/><Relationship Id="rId2095" Type="http://schemas.openxmlformats.org/officeDocument/2006/relationships/slide" Target="slides/slide2091.xml"/><Relationship Id="rId2096" Type="http://schemas.openxmlformats.org/officeDocument/2006/relationships/slide" Target="slides/slide2092.xml"/><Relationship Id="rId2097" Type="http://schemas.openxmlformats.org/officeDocument/2006/relationships/slide" Target="slides/slide2093.xml"/><Relationship Id="rId2098" Type="http://schemas.openxmlformats.org/officeDocument/2006/relationships/slide" Target="slides/slide2094.xml"/><Relationship Id="rId2099" Type="http://schemas.openxmlformats.org/officeDocument/2006/relationships/slide" Target="slides/slide2095.xml"/><Relationship Id="rId2100" Type="http://schemas.openxmlformats.org/officeDocument/2006/relationships/slide" Target="slides/slide2096.xml"/><Relationship Id="rId2101" Type="http://schemas.openxmlformats.org/officeDocument/2006/relationships/slide" Target="slides/slide2097.xml"/><Relationship Id="rId2102" Type="http://schemas.openxmlformats.org/officeDocument/2006/relationships/slide" Target="slides/slide2098.xml"/><Relationship Id="rId2103" Type="http://schemas.openxmlformats.org/officeDocument/2006/relationships/slide" Target="slides/slide2099.xml"/><Relationship Id="rId2104" Type="http://schemas.openxmlformats.org/officeDocument/2006/relationships/slide" Target="slides/slide2100.xml"/><Relationship Id="rId2105" Type="http://schemas.openxmlformats.org/officeDocument/2006/relationships/slide" Target="slides/slide2101.xml"/><Relationship Id="rId2106" Type="http://schemas.openxmlformats.org/officeDocument/2006/relationships/slide" Target="slides/slide2102.xml"/><Relationship Id="rId2107" Type="http://schemas.openxmlformats.org/officeDocument/2006/relationships/slide" Target="slides/slide2103.xml"/><Relationship Id="rId2108" Type="http://schemas.openxmlformats.org/officeDocument/2006/relationships/slide" Target="slides/slide2104.xml"/><Relationship Id="rId2109" Type="http://schemas.openxmlformats.org/officeDocument/2006/relationships/slide" Target="slides/slide2105.xml"/><Relationship Id="rId2110" Type="http://schemas.openxmlformats.org/officeDocument/2006/relationships/slide" Target="slides/slide2106.xml"/><Relationship Id="rId2111" Type="http://schemas.openxmlformats.org/officeDocument/2006/relationships/slide" Target="slides/slide2107.xml"/><Relationship Id="rId2112" Type="http://schemas.openxmlformats.org/officeDocument/2006/relationships/slide" Target="slides/slide2108.xml"/><Relationship Id="rId2113" Type="http://schemas.openxmlformats.org/officeDocument/2006/relationships/slide" Target="slides/slide2109.xml"/><Relationship Id="rId2114" Type="http://schemas.openxmlformats.org/officeDocument/2006/relationships/slide" Target="slides/slide2110.xml"/><Relationship Id="rId2115" Type="http://schemas.openxmlformats.org/officeDocument/2006/relationships/slide" Target="slides/slide2111.xml"/><Relationship Id="rId2116" Type="http://schemas.openxmlformats.org/officeDocument/2006/relationships/slide" Target="slides/slide2112.xml"/><Relationship Id="rId2117" Type="http://schemas.openxmlformats.org/officeDocument/2006/relationships/slide" Target="slides/slide2113.xml"/><Relationship Id="rId2118" Type="http://schemas.openxmlformats.org/officeDocument/2006/relationships/slide" Target="slides/slide2114.xml"/><Relationship Id="rId2119" Type="http://schemas.openxmlformats.org/officeDocument/2006/relationships/slide" Target="slides/slide2115.xml"/><Relationship Id="rId2120" Type="http://schemas.openxmlformats.org/officeDocument/2006/relationships/slide" Target="slides/slide2116.xml"/><Relationship Id="rId2121" Type="http://schemas.openxmlformats.org/officeDocument/2006/relationships/slide" Target="slides/slide2117.xml"/><Relationship Id="rId2122" Type="http://schemas.openxmlformats.org/officeDocument/2006/relationships/slide" Target="slides/slide2118.xml"/><Relationship Id="rId2123" Type="http://schemas.openxmlformats.org/officeDocument/2006/relationships/slide" Target="slides/slide2119.xml"/><Relationship Id="rId2124" Type="http://schemas.openxmlformats.org/officeDocument/2006/relationships/slide" Target="slides/slide2120.xml"/><Relationship Id="rId2125" Type="http://schemas.openxmlformats.org/officeDocument/2006/relationships/slide" Target="slides/slide2121.xml"/><Relationship Id="rId2126" Type="http://schemas.openxmlformats.org/officeDocument/2006/relationships/slide" Target="slides/slide2122.xml"/><Relationship Id="rId2127" Type="http://schemas.openxmlformats.org/officeDocument/2006/relationships/slide" Target="slides/slide2123.xml"/><Relationship Id="rId2128" Type="http://schemas.openxmlformats.org/officeDocument/2006/relationships/slide" Target="slides/slide2124.xml"/><Relationship Id="rId2129" Type="http://schemas.openxmlformats.org/officeDocument/2006/relationships/slide" Target="slides/slide2125.xml"/><Relationship Id="rId2130" Type="http://schemas.openxmlformats.org/officeDocument/2006/relationships/slide" Target="slides/slide2126.xml"/><Relationship Id="rId2131" Type="http://schemas.openxmlformats.org/officeDocument/2006/relationships/slide" Target="slides/slide2127.xml"/><Relationship Id="rId2132" Type="http://schemas.openxmlformats.org/officeDocument/2006/relationships/slide" Target="slides/slide2128.xml"/><Relationship Id="rId2133" Type="http://schemas.openxmlformats.org/officeDocument/2006/relationships/slide" Target="slides/slide2129.xml"/><Relationship Id="rId2134" Type="http://schemas.openxmlformats.org/officeDocument/2006/relationships/slide" Target="slides/slide2130.xml"/><Relationship Id="rId2135" Type="http://schemas.openxmlformats.org/officeDocument/2006/relationships/slide" Target="slides/slide2131.xml"/><Relationship Id="rId2136" Type="http://schemas.openxmlformats.org/officeDocument/2006/relationships/slide" Target="slides/slide2132.xml"/><Relationship Id="rId2137" Type="http://schemas.openxmlformats.org/officeDocument/2006/relationships/slide" Target="slides/slide2133.xml"/><Relationship Id="rId2138" Type="http://schemas.openxmlformats.org/officeDocument/2006/relationships/slide" Target="slides/slide2134.xml"/><Relationship Id="rId2139" Type="http://schemas.openxmlformats.org/officeDocument/2006/relationships/slide" Target="slides/slide2135.xml"/><Relationship Id="rId2140" Type="http://schemas.openxmlformats.org/officeDocument/2006/relationships/slide" Target="slides/slide2136.xml"/><Relationship Id="rId2141" Type="http://schemas.openxmlformats.org/officeDocument/2006/relationships/slide" Target="slides/slide2137.xml"/><Relationship Id="rId2142" Type="http://schemas.openxmlformats.org/officeDocument/2006/relationships/slide" Target="slides/slide2138.xml"/><Relationship Id="rId2143" Type="http://schemas.openxmlformats.org/officeDocument/2006/relationships/slide" Target="slides/slide2139.xml"/><Relationship Id="rId2144" Type="http://schemas.openxmlformats.org/officeDocument/2006/relationships/slide" Target="slides/slide2140.xml"/><Relationship Id="rId2145" Type="http://schemas.openxmlformats.org/officeDocument/2006/relationships/slide" Target="slides/slide2141.xml"/><Relationship Id="rId2146" Type="http://schemas.openxmlformats.org/officeDocument/2006/relationships/slide" Target="slides/slide2142.xml"/><Relationship Id="rId2147" Type="http://schemas.openxmlformats.org/officeDocument/2006/relationships/slide" Target="slides/slide2143.xml"/><Relationship Id="rId2148" Type="http://schemas.openxmlformats.org/officeDocument/2006/relationships/slide" Target="slides/slide2144.xml"/><Relationship Id="rId2149" Type="http://schemas.openxmlformats.org/officeDocument/2006/relationships/slide" Target="slides/slide2145.xml"/><Relationship Id="rId2150" Type="http://schemas.openxmlformats.org/officeDocument/2006/relationships/slide" Target="slides/slide2146.xml"/><Relationship Id="rId2151" Type="http://schemas.openxmlformats.org/officeDocument/2006/relationships/slide" Target="slides/slide2147.xml"/><Relationship Id="rId2152" Type="http://schemas.openxmlformats.org/officeDocument/2006/relationships/slide" Target="slides/slide2148.xml"/><Relationship Id="rId2153" Type="http://schemas.openxmlformats.org/officeDocument/2006/relationships/slide" Target="slides/slide2149.xml"/><Relationship Id="rId2154" Type="http://schemas.openxmlformats.org/officeDocument/2006/relationships/slide" Target="slides/slide2150.xml"/><Relationship Id="rId2155" Type="http://schemas.openxmlformats.org/officeDocument/2006/relationships/slide" Target="slides/slide2151.xml"/><Relationship Id="rId2156" Type="http://schemas.openxmlformats.org/officeDocument/2006/relationships/slide" Target="slides/slide2152.xml"/><Relationship Id="rId2157" Type="http://schemas.openxmlformats.org/officeDocument/2006/relationships/slide" Target="slides/slide2153.xml"/><Relationship Id="rId2158" Type="http://schemas.openxmlformats.org/officeDocument/2006/relationships/slide" Target="slides/slide2154.xml"/><Relationship Id="rId2159" Type="http://schemas.openxmlformats.org/officeDocument/2006/relationships/slide" Target="slides/slide2155.xml"/><Relationship Id="rId2160" Type="http://schemas.openxmlformats.org/officeDocument/2006/relationships/slide" Target="slides/slide2156.xml"/><Relationship Id="rId2161" Type="http://schemas.openxmlformats.org/officeDocument/2006/relationships/slide" Target="slides/slide2157.xml"/><Relationship Id="rId2162" Type="http://schemas.openxmlformats.org/officeDocument/2006/relationships/slide" Target="slides/slide2158.xml"/><Relationship Id="rId2163" Type="http://schemas.openxmlformats.org/officeDocument/2006/relationships/slide" Target="slides/slide2159.xml"/><Relationship Id="rId2164" Type="http://schemas.openxmlformats.org/officeDocument/2006/relationships/slide" Target="slides/slide2160.xml"/><Relationship Id="rId2165" Type="http://schemas.openxmlformats.org/officeDocument/2006/relationships/slide" Target="slides/slide2161.xml"/><Relationship Id="rId2166" Type="http://schemas.openxmlformats.org/officeDocument/2006/relationships/slide" Target="slides/slide2162.xml"/><Relationship Id="rId2167" Type="http://schemas.openxmlformats.org/officeDocument/2006/relationships/slide" Target="slides/slide2163.xml"/><Relationship Id="rId2168" Type="http://schemas.openxmlformats.org/officeDocument/2006/relationships/slide" Target="slides/slide2164.xml"/><Relationship Id="rId2169" Type="http://schemas.openxmlformats.org/officeDocument/2006/relationships/slide" Target="slides/slide2165.xml"/><Relationship Id="rId2170" Type="http://schemas.openxmlformats.org/officeDocument/2006/relationships/slide" Target="slides/slide2166.xml"/><Relationship Id="rId2171" Type="http://schemas.openxmlformats.org/officeDocument/2006/relationships/slide" Target="slides/slide2167.xml"/><Relationship Id="rId2172" Type="http://schemas.openxmlformats.org/officeDocument/2006/relationships/slide" Target="slides/slide2168.xml"/><Relationship Id="rId2173" Type="http://schemas.openxmlformats.org/officeDocument/2006/relationships/slide" Target="slides/slide2169.xml"/><Relationship Id="rId2174" Type="http://schemas.openxmlformats.org/officeDocument/2006/relationships/slide" Target="slides/slide2170.xml"/><Relationship Id="rId2175" Type="http://schemas.openxmlformats.org/officeDocument/2006/relationships/slide" Target="slides/slide2171.xml"/><Relationship Id="rId2176" Type="http://schemas.openxmlformats.org/officeDocument/2006/relationships/slide" Target="slides/slide2172.xml"/><Relationship Id="rId2177" Type="http://schemas.openxmlformats.org/officeDocument/2006/relationships/slide" Target="slides/slide2173.xml"/><Relationship Id="rId2178" Type="http://schemas.openxmlformats.org/officeDocument/2006/relationships/slide" Target="slides/slide2174.xml"/><Relationship Id="rId2179" Type="http://schemas.openxmlformats.org/officeDocument/2006/relationships/slide" Target="slides/slide2175.xml"/><Relationship Id="rId2180" Type="http://schemas.openxmlformats.org/officeDocument/2006/relationships/slide" Target="slides/slide2176.xml"/><Relationship Id="rId2181" Type="http://schemas.openxmlformats.org/officeDocument/2006/relationships/slide" Target="slides/slide2177.xml"/><Relationship Id="rId2182" Type="http://schemas.openxmlformats.org/officeDocument/2006/relationships/slide" Target="slides/slide2178.xml"/><Relationship Id="rId2183" Type="http://schemas.openxmlformats.org/officeDocument/2006/relationships/slide" Target="slides/slide2179.xml"/><Relationship Id="rId2184" Type="http://schemas.openxmlformats.org/officeDocument/2006/relationships/slide" Target="slides/slide2180.xml"/><Relationship Id="rId2185" Type="http://schemas.openxmlformats.org/officeDocument/2006/relationships/slide" Target="slides/slide2181.xml"/><Relationship Id="rId2186" Type="http://schemas.openxmlformats.org/officeDocument/2006/relationships/slide" Target="slides/slide2182.xml"/><Relationship Id="rId2187" Type="http://schemas.openxmlformats.org/officeDocument/2006/relationships/slide" Target="slides/slide2183.xml"/><Relationship Id="rId2188" Type="http://schemas.openxmlformats.org/officeDocument/2006/relationships/slide" Target="slides/slide2184.xml"/><Relationship Id="rId2189" Type="http://schemas.openxmlformats.org/officeDocument/2006/relationships/slide" Target="slides/slide2185.xml"/><Relationship Id="rId2190" Type="http://schemas.openxmlformats.org/officeDocument/2006/relationships/slide" Target="slides/slide2186.xml"/><Relationship Id="rId2191" Type="http://schemas.openxmlformats.org/officeDocument/2006/relationships/slide" Target="slides/slide2187.xml"/><Relationship Id="rId2192" Type="http://schemas.openxmlformats.org/officeDocument/2006/relationships/slide" Target="slides/slide2188.xml"/><Relationship Id="rId2193" Type="http://schemas.openxmlformats.org/officeDocument/2006/relationships/slide" Target="slides/slide2189.xml"/><Relationship Id="rId2194" Type="http://schemas.openxmlformats.org/officeDocument/2006/relationships/slide" Target="slides/slide2190.xml"/><Relationship Id="rId2195" Type="http://schemas.openxmlformats.org/officeDocument/2006/relationships/slide" Target="slides/slide2191.xml"/><Relationship Id="rId2196" Type="http://schemas.openxmlformats.org/officeDocument/2006/relationships/slide" Target="slides/slide2192.xml"/><Relationship Id="rId2197" Type="http://schemas.openxmlformats.org/officeDocument/2006/relationships/slide" Target="slides/slide2193.xml"/><Relationship Id="rId2198" Type="http://schemas.openxmlformats.org/officeDocument/2006/relationships/slide" Target="slides/slide2194.xml"/><Relationship Id="rId2199" Type="http://schemas.openxmlformats.org/officeDocument/2006/relationships/slide" Target="slides/slide2195.xml"/><Relationship Id="rId2200" Type="http://schemas.openxmlformats.org/officeDocument/2006/relationships/slide" Target="slides/slide2196.xml"/><Relationship Id="rId2201" Type="http://schemas.openxmlformats.org/officeDocument/2006/relationships/slide" Target="slides/slide2197.xml"/><Relationship Id="rId2202" Type="http://schemas.openxmlformats.org/officeDocument/2006/relationships/slide" Target="slides/slide2198.xml"/><Relationship Id="rId2203" Type="http://schemas.openxmlformats.org/officeDocument/2006/relationships/slide" Target="slides/slide2199.xml"/><Relationship Id="rId2204" Type="http://schemas.openxmlformats.org/officeDocument/2006/relationships/slide" Target="slides/slide2200.xml"/><Relationship Id="rId2205" Type="http://schemas.openxmlformats.org/officeDocument/2006/relationships/slide" Target="slides/slide2201.xml"/><Relationship Id="rId2206" Type="http://schemas.openxmlformats.org/officeDocument/2006/relationships/slide" Target="slides/slide2202.xml"/><Relationship Id="rId2207" Type="http://schemas.openxmlformats.org/officeDocument/2006/relationships/slide" Target="slides/slide2203.xml"/><Relationship Id="rId2208" Type="http://schemas.openxmlformats.org/officeDocument/2006/relationships/slide" Target="slides/slide2204.xml"/><Relationship Id="rId2209" Type="http://schemas.openxmlformats.org/officeDocument/2006/relationships/slide" Target="slides/slide2205.xml"/><Relationship Id="rId2210" Type="http://schemas.openxmlformats.org/officeDocument/2006/relationships/slide" Target="slides/slide2206.xml"/><Relationship Id="rId2211" Type="http://schemas.openxmlformats.org/officeDocument/2006/relationships/slide" Target="slides/slide2207.xml"/><Relationship Id="rId2212" Type="http://schemas.openxmlformats.org/officeDocument/2006/relationships/slide" Target="slides/slide2208.xml"/><Relationship Id="rId2213" Type="http://schemas.openxmlformats.org/officeDocument/2006/relationships/slide" Target="slides/slide2209.xml"/><Relationship Id="rId2214" Type="http://schemas.openxmlformats.org/officeDocument/2006/relationships/slide" Target="slides/slide2210.xml"/><Relationship Id="rId2215" Type="http://schemas.openxmlformats.org/officeDocument/2006/relationships/slide" Target="slides/slide2211.xml"/><Relationship Id="rId2216" Type="http://schemas.openxmlformats.org/officeDocument/2006/relationships/slide" Target="slides/slide2212.xml"/><Relationship Id="rId2217" Type="http://schemas.openxmlformats.org/officeDocument/2006/relationships/slide" Target="slides/slide2213.xml"/><Relationship Id="rId2218" Type="http://schemas.openxmlformats.org/officeDocument/2006/relationships/slide" Target="slides/slide2214.xml"/><Relationship Id="rId2219" Type="http://schemas.openxmlformats.org/officeDocument/2006/relationships/slide" Target="slides/slide2215.xml"/><Relationship Id="rId2220" Type="http://schemas.openxmlformats.org/officeDocument/2006/relationships/slide" Target="slides/slide2216.xml"/><Relationship Id="rId2221" Type="http://schemas.openxmlformats.org/officeDocument/2006/relationships/slide" Target="slides/slide2217.xml"/><Relationship Id="rId2222" Type="http://schemas.openxmlformats.org/officeDocument/2006/relationships/slide" Target="slides/slide2218.xml"/><Relationship Id="rId2223" Type="http://schemas.openxmlformats.org/officeDocument/2006/relationships/slide" Target="slides/slide2219.xml"/><Relationship Id="rId2224" Type="http://schemas.openxmlformats.org/officeDocument/2006/relationships/slide" Target="slides/slide2220.xml"/><Relationship Id="rId2225" Type="http://schemas.openxmlformats.org/officeDocument/2006/relationships/slide" Target="slides/slide2221.xml"/><Relationship Id="rId2226" Type="http://schemas.openxmlformats.org/officeDocument/2006/relationships/slide" Target="slides/slide2222.xml"/><Relationship Id="rId2227" Type="http://schemas.openxmlformats.org/officeDocument/2006/relationships/slide" Target="slides/slide2223.xml"/><Relationship Id="rId2228" Type="http://schemas.openxmlformats.org/officeDocument/2006/relationships/slide" Target="slides/slide2224.xml"/><Relationship Id="rId2229" Type="http://schemas.openxmlformats.org/officeDocument/2006/relationships/slide" Target="slides/slide2225.xml"/><Relationship Id="rId2230" Type="http://schemas.openxmlformats.org/officeDocument/2006/relationships/slide" Target="slides/slide2226.xml"/><Relationship Id="rId2231" Type="http://schemas.openxmlformats.org/officeDocument/2006/relationships/slide" Target="slides/slide2227.xml"/><Relationship Id="rId2232" Type="http://schemas.openxmlformats.org/officeDocument/2006/relationships/slide" Target="slides/slide2228.xml"/><Relationship Id="rId2233" Type="http://schemas.openxmlformats.org/officeDocument/2006/relationships/slide" Target="slides/slide2229.xml"/><Relationship Id="rId2234" Type="http://schemas.openxmlformats.org/officeDocument/2006/relationships/slide" Target="slides/slide2230.xml"/><Relationship Id="rId2235" Type="http://schemas.openxmlformats.org/officeDocument/2006/relationships/slide" Target="slides/slide2231.xml"/><Relationship Id="rId2236" Type="http://schemas.openxmlformats.org/officeDocument/2006/relationships/slide" Target="slides/slide2232.xml"/><Relationship Id="rId2237" Type="http://schemas.openxmlformats.org/officeDocument/2006/relationships/slide" Target="slides/slide2233.xml"/><Relationship Id="rId2238" Type="http://schemas.openxmlformats.org/officeDocument/2006/relationships/slide" Target="slides/slide2234.xml"/><Relationship Id="rId2239" Type="http://schemas.openxmlformats.org/officeDocument/2006/relationships/slide" Target="slides/slide2235.xml"/><Relationship Id="rId2240" Type="http://schemas.openxmlformats.org/officeDocument/2006/relationships/slide" Target="slides/slide2236.xml"/><Relationship Id="rId2241" Type="http://schemas.openxmlformats.org/officeDocument/2006/relationships/slide" Target="slides/slide2237.xml"/><Relationship Id="rId2242" Type="http://schemas.openxmlformats.org/officeDocument/2006/relationships/slide" Target="slides/slide2238.xml"/><Relationship Id="rId2243" Type="http://schemas.openxmlformats.org/officeDocument/2006/relationships/slide" Target="slides/slide2239.xml"/><Relationship Id="rId2244" Type="http://schemas.openxmlformats.org/officeDocument/2006/relationships/slide" Target="slides/slide2240.xml"/><Relationship Id="rId2245" Type="http://schemas.openxmlformats.org/officeDocument/2006/relationships/slide" Target="slides/slide2241.xml"/><Relationship Id="rId2246" Type="http://schemas.openxmlformats.org/officeDocument/2006/relationships/slide" Target="slides/slide2242.xml"/><Relationship Id="rId2247" Type="http://schemas.openxmlformats.org/officeDocument/2006/relationships/slide" Target="slides/slide2243.xml"/><Relationship Id="rId2248" Type="http://schemas.openxmlformats.org/officeDocument/2006/relationships/slide" Target="slides/slide2244.xml"/><Relationship Id="rId2249" Type="http://schemas.openxmlformats.org/officeDocument/2006/relationships/slide" Target="slides/slide2245.xml"/><Relationship Id="rId2250" Type="http://schemas.openxmlformats.org/officeDocument/2006/relationships/slide" Target="slides/slide2246.xml"/><Relationship Id="rId2251" Type="http://schemas.openxmlformats.org/officeDocument/2006/relationships/slide" Target="slides/slide2247.xml"/><Relationship Id="rId2252" Type="http://schemas.openxmlformats.org/officeDocument/2006/relationships/slide" Target="slides/slide2248.xml"/><Relationship Id="rId2253" Type="http://schemas.openxmlformats.org/officeDocument/2006/relationships/slide" Target="slides/slide2249.xml"/><Relationship Id="rId2254" Type="http://schemas.openxmlformats.org/officeDocument/2006/relationships/slide" Target="slides/slide2250.xml"/><Relationship Id="rId2255" Type="http://schemas.openxmlformats.org/officeDocument/2006/relationships/slide" Target="slides/slide2251.xml"/><Relationship Id="rId2256" Type="http://schemas.openxmlformats.org/officeDocument/2006/relationships/slide" Target="slides/slide2252.xml"/><Relationship Id="rId2257" Type="http://schemas.openxmlformats.org/officeDocument/2006/relationships/slide" Target="slides/slide2253.xml"/><Relationship Id="rId2258" Type="http://schemas.openxmlformats.org/officeDocument/2006/relationships/slide" Target="slides/slide2254.xml"/><Relationship Id="rId2259" Type="http://schemas.openxmlformats.org/officeDocument/2006/relationships/slide" Target="slides/slide2255.xml"/><Relationship Id="rId2260" Type="http://schemas.openxmlformats.org/officeDocument/2006/relationships/slide" Target="slides/slide2256.xml"/><Relationship Id="rId2261" Type="http://schemas.openxmlformats.org/officeDocument/2006/relationships/slide" Target="slides/slide2257.xml"/><Relationship Id="rId2262" Type="http://schemas.openxmlformats.org/officeDocument/2006/relationships/slide" Target="slides/slide2258.xml"/><Relationship Id="rId2263" Type="http://schemas.openxmlformats.org/officeDocument/2006/relationships/slide" Target="slides/slide2259.xml"/><Relationship Id="rId2264" Type="http://schemas.openxmlformats.org/officeDocument/2006/relationships/slide" Target="slides/slide2260.xml"/><Relationship Id="rId2265" Type="http://schemas.openxmlformats.org/officeDocument/2006/relationships/slide" Target="slides/slide2261.xml"/><Relationship Id="rId2266" Type="http://schemas.openxmlformats.org/officeDocument/2006/relationships/slide" Target="slides/slide2262.xml"/><Relationship Id="rId2267" Type="http://schemas.openxmlformats.org/officeDocument/2006/relationships/slide" Target="slides/slide2263.xml"/><Relationship Id="rId2268" Type="http://schemas.openxmlformats.org/officeDocument/2006/relationships/slide" Target="slides/slide2264.xml"/><Relationship Id="rId2269" Type="http://schemas.openxmlformats.org/officeDocument/2006/relationships/slide" Target="slides/slide2265.xml"/><Relationship Id="rId2270" Type="http://schemas.openxmlformats.org/officeDocument/2006/relationships/slide" Target="slides/slide2266.xml"/><Relationship Id="rId2271" Type="http://schemas.openxmlformats.org/officeDocument/2006/relationships/slide" Target="slides/slide2267.xml"/><Relationship Id="rId2272" Type="http://schemas.openxmlformats.org/officeDocument/2006/relationships/slide" Target="slides/slide2268.xml"/><Relationship Id="rId2273" Type="http://schemas.openxmlformats.org/officeDocument/2006/relationships/slide" Target="slides/slide2269.xml"/><Relationship Id="rId2274" Type="http://schemas.openxmlformats.org/officeDocument/2006/relationships/slide" Target="slides/slide2270.xml"/><Relationship Id="rId2275" Type="http://schemas.openxmlformats.org/officeDocument/2006/relationships/slide" Target="slides/slide2271.xml"/><Relationship Id="rId2276" Type="http://schemas.openxmlformats.org/officeDocument/2006/relationships/slide" Target="slides/slide2272.xml"/><Relationship Id="rId2277" Type="http://schemas.openxmlformats.org/officeDocument/2006/relationships/slide" Target="slides/slide2273.xml"/><Relationship Id="rId2278" Type="http://schemas.openxmlformats.org/officeDocument/2006/relationships/slide" Target="slides/slide2274.xml"/><Relationship Id="rId2279" Type="http://schemas.openxmlformats.org/officeDocument/2006/relationships/slide" Target="slides/slide2275.xml"/><Relationship Id="rId2280" Type="http://schemas.openxmlformats.org/officeDocument/2006/relationships/slide" Target="slides/slide2276.xml"/><Relationship Id="rId2281" Type="http://schemas.openxmlformats.org/officeDocument/2006/relationships/slide" Target="slides/slide2277.xml"/><Relationship Id="rId2282" Type="http://schemas.openxmlformats.org/officeDocument/2006/relationships/slide" Target="slides/slide2278.xml"/><Relationship Id="rId2283" Type="http://schemas.openxmlformats.org/officeDocument/2006/relationships/slide" Target="slides/slide2279.xml"/><Relationship Id="rId2284" Type="http://schemas.openxmlformats.org/officeDocument/2006/relationships/slide" Target="slides/slide2280.xml"/><Relationship Id="rId2285" Type="http://schemas.openxmlformats.org/officeDocument/2006/relationships/slide" Target="slides/slide2281.xml"/><Relationship Id="rId2286" Type="http://schemas.openxmlformats.org/officeDocument/2006/relationships/slide" Target="slides/slide2282.xml"/><Relationship Id="rId2287" Type="http://schemas.openxmlformats.org/officeDocument/2006/relationships/slide" Target="slides/slide2283.xml"/><Relationship Id="rId2288" Type="http://schemas.openxmlformats.org/officeDocument/2006/relationships/slide" Target="slides/slide2284.xml"/><Relationship Id="rId2289" Type="http://schemas.openxmlformats.org/officeDocument/2006/relationships/slide" Target="slides/slide2285.xml"/><Relationship Id="rId2290" Type="http://schemas.openxmlformats.org/officeDocument/2006/relationships/slide" Target="slides/slide2286.xml"/><Relationship Id="rId2291" Type="http://schemas.openxmlformats.org/officeDocument/2006/relationships/slide" Target="slides/slide2287.xml"/><Relationship Id="rId2292" Type="http://schemas.openxmlformats.org/officeDocument/2006/relationships/slide" Target="slides/slide2288.xml"/><Relationship Id="rId2293" Type="http://schemas.openxmlformats.org/officeDocument/2006/relationships/slide" Target="slides/slide2289.xml"/><Relationship Id="rId2294" Type="http://schemas.openxmlformats.org/officeDocument/2006/relationships/slide" Target="slides/slide2290.xml"/><Relationship Id="rId2295" Type="http://schemas.openxmlformats.org/officeDocument/2006/relationships/slide" Target="slides/slide2291.xml"/><Relationship Id="rId2296" Type="http://schemas.openxmlformats.org/officeDocument/2006/relationships/slide" Target="slides/slide2292.xml"/><Relationship Id="rId2297" Type="http://schemas.openxmlformats.org/officeDocument/2006/relationships/slide" Target="slides/slide2293.xml"/><Relationship Id="rId2298" Type="http://schemas.openxmlformats.org/officeDocument/2006/relationships/slide" Target="slides/slide2294.xml"/><Relationship Id="rId2299" Type="http://schemas.openxmlformats.org/officeDocument/2006/relationships/slide" Target="slides/slide2295.xml"/><Relationship Id="rId2300" Type="http://schemas.openxmlformats.org/officeDocument/2006/relationships/slide" Target="slides/slide2296.xml"/><Relationship Id="rId2301" Type="http://schemas.openxmlformats.org/officeDocument/2006/relationships/slide" Target="slides/slide2297.xml"/><Relationship Id="rId2302" Type="http://schemas.openxmlformats.org/officeDocument/2006/relationships/slide" Target="slides/slide2298.xml"/><Relationship Id="rId2303" Type="http://schemas.openxmlformats.org/officeDocument/2006/relationships/slide" Target="slides/slide2299.xml"/><Relationship Id="rId2304" Type="http://schemas.openxmlformats.org/officeDocument/2006/relationships/slide" Target="slides/slide2300.xml"/><Relationship Id="rId2305" Type="http://schemas.openxmlformats.org/officeDocument/2006/relationships/slide" Target="slides/slide2301.xml"/><Relationship Id="rId2306" Type="http://schemas.openxmlformats.org/officeDocument/2006/relationships/slide" Target="slides/slide2302.xml"/><Relationship Id="rId2307" Type="http://schemas.openxmlformats.org/officeDocument/2006/relationships/slide" Target="slides/slide2303.xml"/><Relationship Id="rId2308" Type="http://schemas.openxmlformats.org/officeDocument/2006/relationships/slide" Target="slides/slide2304.xml"/><Relationship Id="rId2309" Type="http://schemas.openxmlformats.org/officeDocument/2006/relationships/slide" Target="slides/slide2305.xml"/><Relationship Id="rId2310" Type="http://schemas.openxmlformats.org/officeDocument/2006/relationships/slide" Target="slides/slide2306.xml"/><Relationship Id="rId2311" Type="http://schemas.openxmlformats.org/officeDocument/2006/relationships/slide" Target="slides/slide2307.xml"/><Relationship Id="rId2312" Type="http://schemas.openxmlformats.org/officeDocument/2006/relationships/slide" Target="slides/slide2308.xml"/><Relationship Id="rId2313" Type="http://schemas.openxmlformats.org/officeDocument/2006/relationships/slide" Target="slides/slide2309.xml"/><Relationship Id="rId2314" Type="http://schemas.openxmlformats.org/officeDocument/2006/relationships/slide" Target="slides/slide2310.xml"/><Relationship Id="rId2315" Type="http://schemas.openxmlformats.org/officeDocument/2006/relationships/slide" Target="slides/slide2311.xml"/><Relationship Id="rId2316" Type="http://schemas.openxmlformats.org/officeDocument/2006/relationships/slide" Target="slides/slide2312.xml"/><Relationship Id="rId2317" Type="http://schemas.openxmlformats.org/officeDocument/2006/relationships/slide" Target="slides/slide2313.xml"/><Relationship Id="rId2318" Type="http://schemas.openxmlformats.org/officeDocument/2006/relationships/slide" Target="slides/slide2314.xml"/><Relationship Id="rId2319" Type="http://schemas.openxmlformats.org/officeDocument/2006/relationships/slide" Target="slides/slide2315.xml"/><Relationship Id="rId2320" Type="http://schemas.openxmlformats.org/officeDocument/2006/relationships/slide" Target="slides/slide2316.xml"/><Relationship Id="rId2321" Type="http://schemas.openxmlformats.org/officeDocument/2006/relationships/slide" Target="slides/slide2317.xml"/><Relationship Id="rId2322" Type="http://schemas.openxmlformats.org/officeDocument/2006/relationships/slide" Target="slides/slide2318.xml"/><Relationship Id="rId2323" Type="http://schemas.openxmlformats.org/officeDocument/2006/relationships/slide" Target="slides/slide2319.xml"/><Relationship Id="rId2324" Type="http://schemas.openxmlformats.org/officeDocument/2006/relationships/slide" Target="slides/slide2320.xml"/><Relationship Id="rId2325" Type="http://schemas.openxmlformats.org/officeDocument/2006/relationships/slide" Target="slides/slide2321.xml"/><Relationship Id="rId2326" Type="http://schemas.openxmlformats.org/officeDocument/2006/relationships/slide" Target="slides/slide2322.xml"/><Relationship Id="rId2327" Type="http://schemas.openxmlformats.org/officeDocument/2006/relationships/slide" Target="slides/slide2323.xml"/><Relationship Id="rId2328" Type="http://schemas.openxmlformats.org/officeDocument/2006/relationships/slide" Target="slides/slide2324.xml"/><Relationship Id="rId2329" Type="http://schemas.openxmlformats.org/officeDocument/2006/relationships/slide" Target="slides/slide2325.xml"/><Relationship Id="rId2330" Type="http://schemas.openxmlformats.org/officeDocument/2006/relationships/slide" Target="slides/slide2326.xml"/><Relationship Id="rId2331" Type="http://schemas.openxmlformats.org/officeDocument/2006/relationships/slide" Target="slides/slide2327.xml"/><Relationship Id="rId2332" Type="http://schemas.openxmlformats.org/officeDocument/2006/relationships/slide" Target="slides/slide2328.xml"/><Relationship Id="rId2333" Type="http://schemas.openxmlformats.org/officeDocument/2006/relationships/slide" Target="slides/slide2329.xml"/><Relationship Id="rId2334" Type="http://schemas.openxmlformats.org/officeDocument/2006/relationships/slide" Target="slides/slide2330.xml"/><Relationship Id="rId2335" Type="http://schemas.openxmlformats.org/officeDocument/2006/relationships/slide" Target="slides/slide2331.xml"/><Relationship Id="rId2336" Type="http://schemas.openxmlformats.org/officeDocument/2006/relationships/slide" Target="slides/slide2332.xml"/><Relationship Id="rId2337" Type="http://schemas.openxmlformats.org/officeDocument/2006/relationships/slide" Target="slides/slide2333.xml"/><Relationship Id="rId2338" Type="http://schemas.openxmlformats.org/officeDocument/2006/relationships/slide" Target="slides/slide2334.xml"/><Relationship Id="rId2339" Type="http://schemas.openxmlformats.org/officeDocument/2006/relationships/slide" Target="slides/slide2335.xml"/><Relationship Id="rId2340" Type="http://schemas.openxmlformats.org/officeDocument/2006/relationships/slide" Target="slides/slide2336.xml"/><Relationship Id="rId2341" Type="http://schemas.openxmlformats.org/officeDocument/2006/relationships/slide" Target="slides/slide2337.xml"/><Relationship Id="rId2342" Type="http://schemas.openxmlformats.org/officeDocument/2006/relationships/slide" Target="slides/slide2338.xml"/><Relationship Id="rId2343" Type="http://schemas.openxmlformats.org/officeDocument/2006/relationships/slide" Target="slides/slide2339.xml"/><Relationship Id="rId2344" Type="http://schemas.openxmlformats.org/officeDocument/2006/relationships/slide" Target="slides/slide2340.xml"/><Relationship Id="rId2345" Type="http://schemas.openxmlformats.org/officeDocument/2006/relationships/slide" Target="slides/slide2341.xml"/><Relationship Id="rId2346" Type="http://schemas.openxmlformats.org/officeDocument/2006/relationships/slide" Target="slides/slide2342.xml"/><Relationship Id="rId2347" Type="http://schemas.openxmlformats.org/officeDocument/2006/relationships/slide" Target="slides/slide2343.xml"/><Relationship Id="rId2348" Type="http://schemas.openxmlformats.org/officeDocument/2006/relationships/slide" Target="slides/slide2344.xml"/><Relationship Id="rId2349" Type="http://schemas.openxmlformats.org/officeDocument/2006/relationships/slide" Target="slides/slide2345.xml"/><Relationship Id="rId2350" Type="http://schemas.openxmlformats.org/officeDocument/2006/relationships/slide" Target="slides/slide2346.xml"/><Relationship Id="rId2351" Type="http://schemas.openxmlformats.org/officeDocument/2006/relationships/slide" Target="slides/slide2347.xml"/><Relationship Id="rId2352" Type="http://schemas.openxmlformats.org/officeDocument/2006/relationships/slide" Target="slides/slide2348.xml"/><Relationship Id="rId2353" Type="http://schemas.openxmlformats.org/officeDocument/2006/relationships/slide" Target="slides/slide2349.xml"/><Relationship Id="rId2354" Type="http://schemas.openxmlformats.org/officeDocument/2006/relationships/slide" Target="slides/slide2350.xml"/><Relationship Id="rId2355" Type="http://schemas.openxmlformats.org/officeDocument/2006/relationships/slide" Target="slides/slide2351.xml"/><Relationship Id="rId2356" Type="http://schemas.openxmlformats.org/officeDocument/2006/relationships/slide" Target="slides/slide2352.xml"/><Relationship Id="rId2357" Type="http://schemas.openxmlformats.org/officeDocument/2006/relationships/slide" Target="slides/slide2353.xml"/><Relationship Id="rId2358" Type="http://schemas.openxmlformats.org/officeDocument/2006/relationships/slide" Target="slides/slide2354.xml"/><Relationship Id="rId2359" Type="http://schemas.openxmlformats.org/officeDocument/2006/relationships/slide" Target="slides/slide2355.xml"/><Relationship Id="rId2360" Type="http://schemas.openxmlformats.org/officeDocument/2006/relationships/slide" Target="slides/slide2356.xml"/><Relationship Id="rId2361" Type="http://schemas.openxmlformats.org/officeDocument/2006/relationships/slide" Target="slides/slide2357.xml"/><Relationship Id="rId2362" Type="http://schemas.openxmlformats.org/officeDocument/2006/relationships/slide" Target="slides/slide2358.xml"/><Relationship Id="rId2363" Type="http://schemas.openxmlformats.org/officeDocument/2006/relationships/slide" Target="slides/slide2359.xml"/><Relationship Id="rId2364" Type="http://schemas.openxmlformats.org/officeDocument/2006/relationships/slide" Target="slides/slide2360.xml"/><Relationship Id="rId2365" Type="http://schemas.openxmlformats.org/officeDocument/2006/relationships/slide" Target="slides/slide2361.xml"/><Relationship Id="rId2366" Type="http://schemas.openxmlformats.org/officeDocument/2006/relationships/slide" Target="slides/slide2362.xml"/><Relationship Id="rId2367" Type="http://schemas.openxmlformats.org/officeDocument/2006/relationships/slide" Target="slides/slide2363.xml"/><Relationship Id="rId2368" Type="http://schemas.openxmlformats.org/officeDocument/2006/relationships/slide" Target="slides/slide2364.xml"/><Relationship Id="rId2369" Type="http://schemas.openxmlformats.org/officeDocument/2006/relationships/slide" Target="slides/slide2365.xml"/><Relationship Id="rId2370" Type="http://schemas.openxmlformats.org/officeDocument/2006/relationships/slide" Target="slides/slide2366.xml"/><Relationship Id="rId2371" Type="http://schemas.openxmlformats.org/officeDocument/2006/relationships/slide" Target="slides/slide2367.xml"/><Relationship Id="rId2372" Type="http://schemas.openxmlformats.org/officeDocument/2006/relationships/slide" Target="slides/slide2368.xml"/><Relationship Id="rId2373" Type="http://schemas.openxmlformats.org/officeDocument/2006/relationships/slide" Target="slides/slide2369.xml"/><Relationship Id="rId2374" Type="http://schemas.openxmlformats.org/officeDocument/2006/relationships/slide" Target="slides/slide2370.xml"/><Relationship Id="rId2375" Type="http://schemas.openxmlformats.org/officeDocument/2006/relationships/slide" Target="slides/slide2371.xml"/><Relationship Id="rId2376" Type="http://schemas.openxmlformats.org/officeDocument/2006/relationships/slide" Target="slides/slide2372.xml"/><Relationship Id="rId2377" Type="http://schemas.openxmlformats.org/officeDocument/2006/relationships/slide" Target="slides/slide2373.xml"/><Relationship Id="rId2378" Type="http://schemas.openxmlformats.org/officeDocument/2006/relationships/slide" Target="slides/slide2374.xml"/><Relationship Id="rId2379" Type="http://schemas.openxmlformats.org/officeDocument/2006/relationships/slide" Target="slides/slide2375.xml"/><Relationship Id="rId2380" Type="http://schemas.openxmlformats.org/officeDocument/2006/relationships/slide" Target="slides/slide2376.xml"/><Relationship Id="rId2381" Type="http://schemas.openxmlformats.org/officeDocument/2006/relationships/slide" Target="slides/slide2377.xml"/><Relationship Id="rId2382" Type="http://schemas.openxmlformats.org/officeDocument/2006/relationships/slide" Target="slides/slide2378.xml"/><Relationship Id="rId2383" Type="http://schemas.openxmlformats.org/officeDocument/2006/relationships/slide" Target="slides/slide2379.xml"/><Relationship Id="rId2384" Type="http://schemas.openxmlformats.org/officeDocument/2006/relationships/slide" Target="slides/slide2380.xml"/><Relationship Id="rId2385" Type="http://schemas.openxmlformats.org/officeDocument/2006/relationships/slide" Target="slides/slide2381.xml"/><Relationship Id="rId2386" Type="http://schemas.openxmlformats.org/officeDocument/2006/relationships/slide" Target="slides/slide2382.xml"/><Relationship Id="rId2387" Type="http://schemas.openxmlformats.org/officeDocument/2006/relationships/slide" Target="slides/slide2383.xml"/><Relationship Id="rId2388" Type="http://schemas.openxmlformats.org/officeDocument/2006/relationships/slide" Target="slides/slide2384.xml"/><Relationship Id="rId2389" Type="http://schemas.openxmlformats.org/officeDocument/2006/relationships/slide" Target="slides/slide2385.xml"/><Relationship Id="rId2390" Type="http://schemas.openxmlformats.org/officeDocument/2006/relationships/slide" Target="slides/slide2386.xml"/><Relationship Id="rId2391" Type="http://schemas.openxmlformats.org/officeDocument/2006/relationships/slide" Target="slides/slide2387.xml"/><Relationship Id="rId2392" Type="http://schemas.openxmlformats.org/officeDocument/2006/relationships/slide" Target="slides/slide2388.xml"/><Relationship Id="rId2393" Type="http://schemas.openxmlformats.org/officeDocument/2006/relationships/slide" Target="slides/slide2389.xml"/><Relationship Id="rId2394" Type="http://schemas.openxmlformats.org/officeDocument/2006/relationships/slide" Target="slides/slide2390.xml"/><Relationship Id="rId2395" Type="http://schemas.openxmlformats.org/officeDocument/2006/relationships/slide" Target="slides/slide2391.xml"/><Relationship Id="rId2396" Type="http://schemas.openxmlformats.org/officeDocument/2006/relationships/slide" Target="slides/slide2392.xml"/><Relationship Id="rId2397" Type="http://schemas.openxmlformats.org/officeDocument/2006/relationships/slide" Target="slides/slide2393.xml"/><Relationship Id="rId2398" Type="http://schemas.openxmlformats.org/officeDocument/2006/relationships/slide" Target="slides/slide2394.xml"/><Relationship Id="rId2399" Type="http://schemas.openxmlformats.org/officeDocument/2006/relationships/slide" Target="slides/slide2395.xml"/><Relationship Id="rId2400" Type="http://schemas.openxmlformats.org/officeDocument/2006/relationships/slide" Target="slides/slide2396.xml"/><Relationship Id="rId2401" Type="http://schemas.openxmlformats.org/officeDocument/2006/relationships/slide" Target="slides/slide2397.xml"/><Relationship Id="rId2402" Type="http://schemas.openxmlformats.org/officeDocument/2006/relationships/slide" Target="slides/slide2398.xml"/><Relationship Id="rId2403" Type="http://schemas.openxmlformats.org/officeDocument/2006/relationships/slide" Target="slides/slide2399.xml"/><Relationship Id="rId2404" Type="http://schemas.openxmlformats.org/officeDocument/2006/relationships/slide" Target="slides/slide2400.xml"/><Relationship Id="rId2405" Type="http://schemas.openxmlformats.org/officeDocument/2006/relationships/slide" Target="slides/slide2401.xml"/><Relationship Id="rId2406" Type="http://schemas.openxmlformats.org/officeDocument/2006/relationships/slide" Target="slides/slide2402.xml"/><Relationship Id="rId2407" Type="http://schemas.openxmlformats.org/officeDocument/2006/relationships/slide" Target="slides/slide2403.xml"/><Relationship Id="rId2408" Type="http://schemas.openxmlformats.org/officeDocument/2006/relationships/slide" Target="slides/slide2404.xml"/><Relationship Id="rId2409" Type="http://schemas.openxmlformats.org/officeDocument/2006/relationships/slide" Target="slides/slide2405.xml"/><Relationship Id="rId2410" Type="http://schemas.openxmlformats.org/officeDocument/2006/relationships/slide" Target="slides/slide2406.xml"/><Relationship Id="rId2411" Type="http://schemas.openxmlformats.org/officeDocument/2006/relationships/slide" Target="slides/slide2407.xml"/><Relationship Id="rId2412" Type="http://schemas.openxmlformats.org/officeDocument/2006/relationships/slide" Target="slides/slide2408.xml"/><Relationship Id="rId2413" Type="http://schemas.openxmlformats.org/officeDocument/2006/relationships/slide" Target="slides/slide2409.xml"/><Relationship Id="rId2414" Type="http://schemas.openxmlformats.org/officeDocument/2006/relationships/slide" Target="slides/slide2410.xml"/><Relationship Id="rId2415" Type="http://schemas.openxmlformats.org/officeDocument/2006/relationships/slide" Target="slides/slide2411.xml"/><Relationship Id="rId2416" Type="http://schemas.openxmlformats.org/officeDocument/2006/relationships/slide" Target="slides/slide2412.xml"/><Relationship Id="rId2417" Type="http://schemas.openxmlformats.org/officeDocument/2006/relationships/slide" Target="slides/slide2413.xml"/><Relationship Id="rId2418" Type="http://schemas.openxmlformats.org/officeDocument/2006/relationships/slide" Target="slides/slide2414.xml"/><Relationship Id="rId2419" Type="http://schemas.openxmlformats.org/officeDocument/2006/relationships/slide" Target="slides/slide2415.xml"/><Relationship Id="rId2420" Type="http://schemas.openxmlformats.org/officeDocument/2006/relationships/slide" Target="slides/slide2416.xml"/><Relationship Id="rId2421" Type="http://schemas.openxmlformats.org/officeDocument/2006/relationships/slide" Target="slides/slide2417.xml"/><Relationship Id="rId2422" Type="http://schemas.openxmlformats.org/officeDocument/2006/relationships/slide" Target="slides/slide2418.xml"/><Relationship Id="rId2423" Type="http://schemas.openxmlformats.org/officeDocument/2006/relationships/slide" Target="slides/slide2419.xml"/><Relationship Id="rId2424" Type="http://schemas.openxmlformats.org/officeDocument/2006/relationships/slide" Target="slides/slide2420.xml"/><Relationship Id="rId2425" Type="http://schemas.openxmlformats.org/officeDocument/2006/relationships/slide" Target="slides/slide2421.xml"/><Relationship Id="rId2426" Type="http://schemas.openxmlformats.org/officeDocument/2006/relationships/slide" Target="slides/slide2422.xml"/><Relationship Id="rId2427" Type="http://schemas.openxmlformats.org/officeDocument/2006/relationships/slide" Target="slides/slide2423.xml"/><Relationship Id="rId2428" Type="http://schemas.openxmlformats.org/officeDocument/2006/relationships/slide" Target="slides/slide2424.xml"/><Relationship Id="rId2429" Type="http://schemas.openxmlformats.org/officeDocument/2006/relationships/slide" Target="slides/slide2425.xml"/><Relationship Id="rId2430" Type="http://schemas.openxmlformats.org/officeDocument/2006/relationships/slide" Target="slides/slide2426.xml"/><Relationship Id="rId2431" Type="http://schemas.openxmlformats.org/officeDocument/2006/relationships/slide" Target="slides/slide2427.xml"/><Relationship Id="rId2432" Type="http://schemas.openxmlformats.org/officeDocument/2006/relationships/slide" Target="slides/slide2428.xml"/><Relationship Id="rId2433" Type="http://schemas.openxmlformats.org/officeDocument/2006/relationships/slide" Target="slides/slide2429.xml"/><Relationship Id="rId2434" Type="http://schemas.openxmlformats.org/officeDocument/2006/relationships/slide" Target="slides/slide2430.xml"/><Relationship Id="rId2435" Type="http://schemas.openxmlformats.org/officeDocument/2006/relationships/slide" Target="slides/slide2431.xml"/><Relationship Id="rId2436" Type="http://schemas.openxmlformats.org/officeDocument/2006/relationships/slide" Target="slides/slide2432.xml"/><Relationship Id="rId2437" Type="http://schemas.openxmlformats.org/officeDocument/2006/relationships/slide" Target="slides/slide2433.xml"/><Relationship Id="rId2438" Type="http://schemas.openxmlformats.org/officeDocument/2006/relationships/slide" Target="slides/slide2434.xml"/><Relationship Id="rId2439" Type="http://schemas.openxmlformats.org/officeDocument/2006/relationships/slide" Target="slides/slide2435.xml"/><Relationship Id="rId2440" Type="http://schemas.openxmlformats.org/officeDocument/2006/relationships/slide" Target="slides/slide2436.xml"/><Relationship Id="rId2441" Type="http://schemas.openxmlformats.org/officeDocument/2006/relationships/slide" Target="slides/slide2437.xml"/><Relationship Id="rId2442" Type="http://schemas.openxmlformats.org/officeDocument/2006/relationships/slide" Target="slides/slide2438.xml"/><Relationship Id="rId2443" Type="http://schemas.openxmlformats.org/officeDocument/2006/relationships/slide" Target="slides/slide2439.xml"/><Relationship Id="rId2444" Type="http://schemas.openxmlformats.org/officeDocument/2006/relationships/slide" Target="slides/slide2440.xml"/><Relationship Id="rId2445" Type="http://schemas.openxmlformats.org/officeDocument/2006/relationships/slide" Target="slides/slide2441.xml"/><Relationship Id="rId2446" Type="http://schemas.openxmlformats.org/officeDocument/2006/relationships/slide" Target="slides/slide2442.xml"/><Relationship Id="rId2447" Type="http://schemas.openxmlformats.org/officeDocument/2006/relationships/slide" Target="slides/slide2443.xml"/><Relationship Id="rId2448" Type="http://schemas.openxmlformats.org/officeDocument/2006/relationships/slide" Target="slides/slide2444.xml"/><Relationship Id="rId2449" Type="http://schemas.openxmlformats.org/officeDocument/2006/relationships/slide" Target="slides/slide2445.xml"/><Relationship Id="rId2450" Type="http://schemas.openxmlformats.org/officeDocument/2006/relationships/slide" Target="slides/slide2446.xml"/><Relationship Id="rId2451" Type="http://schemas.openxmlformats.org/officeDocument/2006/relationships/slide" Target="slides/slide2447.xml"/><Relationship Id="rId2452" Type="http://schemas.openxmlformats.org/officeDocument/2006/relationships/slide" Target="slides/slide2448.xml"/><Relationship Id="rId2453" Type="http://schemas.openxmlformats.org/officeDocument/2006/relationships/slide" Target="slides/slide2449.xml"/><Relationship Id="rId2454" Type="http://schemas.openxmlformats.org/officeDocument/2006/relationships/slide" Target="slides/slide2450.xml"/><Relationship Id="rId2455" Type="http://schemas.openxmlformats.org/officeDocument/2006/relationships/slide" Target="slides/slide2451.xml"/><Relationship Id="rId2456" Type="http://schemas.openxmlformats.org/officeDocument/2006/relationships/slide" Target="slides/slide2452.xml"/><Relationship Id="rId2457" Type="http://schemas.openxmlformats.org/officeDocument/2006/relationships/slide" Target="slides/slide2453.xml"/><Relationship Id="rId2458" Type="http://schemas.openxmlformats.org/officeDocument/2006/relationships/slide" Target="slides/slide2454.xml"/><Relationship Id="rId2459" Type="http://schemas.openxmlformats.org/officeDocument/2006/relationships/slide" Target="slides/slide2455.xml"/><Relationship Id="rId2460" Type="http://schemas.openxmlformats.org/officeDocument/2006/relationships/slide" Target="slides/slide2456.xml"/><Relationship Id="rId2461" Type="http://schemas.openxmlformats.org/officeDocument/2006/relationships/slide" Target="slides/slide2457.xml"/><Relationship Id="rId2462" Type="http://schemas.openxmlformats.org/officeDocument/2006/relationships/slide" Target="slides/slide2458.xml"/><Relationship Id="rId2463" Type="http://schemas.openxmlformats.org/officeDocument/2006/relationships/slide" Target="slides/slide2459.xml"/><Relationship Id="rId2464" Type="http://schemas.openxmlformats.org/officeDocument/2006/relationships/slide" Target="slides/slide2460.xml"/><Relationship Id="rId2465" Type="http://schemas.openxmlformats.org/officeDocument/2006/relationships/slide" Target="slides/slide2461.xml"/><Relationship Id="rId2466" Type="http://schemas.openxmlformats.org/officeDocument/2006/relationships/slide" Target="slides/slide2462.xml"/><Relationship Id="rId2467" Type="http://schemas.openxmlformats.org/officeDocument/2006/relationships/slide" Target="slides/slide2463.xml"/><Relationship Id="rId2468" Type="http://schemas.openxmlformats.org/officeDocument/2006/relationships/slide" Target="slides/slide2464.xml"/><Relationship Id="rId2469" Type="http://schemas.openxmlformats.org/officeDocument/2006/relationships/slide" Target="slides/slide2465.xml"/><Relationship Id="rId2470" Type="http://schemas.openxmlformats.org/officeDocument/2006/relationships/slide" Target="slides/slide2466.xml"/><Relationship Id="rId2471" Type="http://schemas.openxmlformats.org/officeDocument/2006/relationships/slide" Target="slides/slide2467.xml"/><Relationship Id="rId2472" Type="http://schemas.openxmlformats.org/officeDocument/2006/relationships/slide" Target="slides/slide2468.xml"/><Relationship Id="rId2473" Type="http://schemas.openxmlformats.org/officeDocument/2006/relationships/slide" Target="slides/slide2469.xml"/><Relationship Id="rId2474" Type="http://schemas.openxmlformats.org/officeDocument/2006/relationships/slide" Target="slides/slide2470.xml"/><Relationship Id="rId2475" Type="http://schemas.openxmlformats.org/officeDocument/2006/relationships/slide" Target="slides/slide2471.xml"/><Relationship Id="rId2476" Type="http://schemas.openxmlformats.org/officeDocument/2006/relationships/slide" Target="slides/slide2472.xml"/><Relationship Id="rId2477" Type="http://schemas.openxmlformats.org/officeDocument/2006/relationships/slide" Target="slides/slide2473.xml"/><Relationship Id="rId2478" Type="http://schemas.openxmlformats.org/officeDocument/2006/relationships/slide" Target="slides/slide2474.xml"/><Relationship Id="rId2479" Type="http://schemas.openxmlformats.org/officeDocument/2006/relationships/slide" Target="slides/slide2475.xml"/><Relationship Id="rId2480" Type="http://schemas.openxmlformats.org/officeDocument/2006/relationships/slide" Target="slides/slide2476.xml"/><Relationship Id="rId2481" Type="http://schemas.openxmlformats.org/officeDocument/2006/relationships/slide" Target="slides/slide2477.xml"/><Relationship Id="rId2482" Type="http://schemas.openxmlformats.org/officeDocument/2006/relationships/slide" Target="slides/slide2478.xml"/><Relationship Id="rId2483" Type="http://schemas.openxmlformats.org/officeDocument/2006/relationships/slide" Target="slides/slide2479.xml"/><Relationship Id="rId2484" Type="http://schemas.openxmlformats.org/officeDocument/2006/relationships/slide" Target="slides/slide2480.xml"/><Relationship Id="rId2485" Type="http://schemas.openxmlformats.org/officeDocument/2006/relationships/slide" Target="slides/slide2481.xml"/><Relationship Id="rId2486" Type="http://schemas.openxmlformats.org/officeDocument/2006/relationships/slide" Target="slides/slide2482.xml"/><Relationship Id="rId2487" Type="http://schemas.openxmlformats.org/officeDocument/2006/relationships/slide" Target="slides/slide2483.xml"/><Relationship Id="rId2488" Type="http://schemas.openxmlformats.org/officeDocument/2006/relationships/slide" Target="slides/slide2484.xml"/><Relationship Id="rId2489" Type="http://schemas.openxmlformats.org/officeDocument/2006/relationships/slide" Target="slides/slide2485.xml"/><Relationship Id="rId2490" Type="http://schemas.openxmlformats.org/officeDocument/2006/relationships/slide" Target="slides/slide2486.xml"/><Relationship Id="rId2491" Type="http://schemas.openxmlformats.org/officeDocument/2006/relationships/slide" Target="slides/slide2487.xml"/><Relationship Id="rId2492" Type="http://schemas.openxmlformats.org/officeDocument/2006/relationships/slide" Target="slides/slide2488.xml"/><Relationship Id="rId2493" Type="http://schemas.openxmlformats.org/officeDocument/2006/relationships/slide" Target="slides/slide2489.xml"/><Relationship Id="rId2494" Type="http://schemas.openxmlformats.org/officeDocument/2006/relationships/slide" Target="slides/slide2490.xml"/><Relationship Id="rId2495" Type="http://schemas.openxmlformats.org/officeDocument/2006/relationships/slide" Target="slides/slide2491.xml"/><Relationship Id="rId2496" Type="http://schemas.openxmlformats.org/officeDocument/2006/relationships/slide" Target="slides/slide2492.xml"/><Relationship Id="rId2497" Type="http://schemas.openxmlformats.org/officeDocument/2006/relationships/slide" Target="slides/slide2493.xml"/><Relationship Id="rId2498" Type="http://schemas.openxmlformats.org/officeDocument/2006/relationships/slide" Target="slides/slide2494.xml"/><Relationship Id="rId2499" Type="http://schemas.openxmlformats.org/officeDocument/2006/relationships/slide" Target="slides/slide2495.xml"/><Relationship Id="rId2500" Type="http://schemas.openxmlformats.org/officeDocument/2006/relationships/slide" Target="slides/slide2496.xml"/><Relationship Id="rId2501" Type="http://schemas.openxmlformats.org/officeDocument/2006/relationships/slide" Target="slides/slide2497.xml"/><Relationship Id="rId2502" Type="http://schemas.openxmlformats.org/officeDocument/2006/relationships/slide" Target="slides/slide2498.xml"/><Relationship Id="rId2503" Type="http://schemas.openxmlformats.org/officeDocument/2006/relationships/slide" Target="slides/slide2499.xml"/><Relationship Id="rId2504" Type="http://schemas.openxmlformats.org/officeDocument/2006/relationships/slide" Target="slides/slide2500.xml"/><Relationship Id="rId2505" Type="http://schemas.openxmlformats.org/officeDocument/2006/relationships/slide" Target="slides/slide2501.xml"/><Relationship Id="rId2506" Type="http://schemas.openxmlformats.org/officeDocument/2006/relationships/slide" Target="slides/slide2502.xml"/><Relationship Id="rId2507" Type="http://schemas.openxmlformats.org/officeDocument/2006/relationships/slide" Target="slides/slide2503.xml"/><Relationship Id="rId2508" Type="http://schemas.openxmlformats.org/officeDocument/2006/relationships/slide" Target="slides/slide2504.xml"/><Relationship Id="rId2509" Type="http://schemas.openxmlformats.org/officeDocument/2006/relationships/slide" Target="slides/slide2505.xml"/><Relationship Id="rId2510" Type="http://schemas.openxmlformats.org/officeDocument/2006/relationships/slide" Target="slides/slide2506.xml"/><Relationship Id="rId2511" Type="http://schemas.openxmlformats.org/officeDocument/2006/relationships/slide" Target="slides/slide2507.xml"/><Relationship Id="rId2512" Type="http://schemas.openxmlformats.org/officeDocument/2006/relationships/slide" Target="slides/slide2508.xml"/><Relationship Id="rId2513" Type="http://schemas.openxmlformats.org/officeDocument/2006/relationships/slide" Target="slides/slide2509.xml"/><Relationship Id="rId2514" Type="http://schemas.openxmlformats.org/officeDocument/2006/relationships/slide" Target="slides/slide2510.xml"/><Relationship Id="rId2515" Type="http://schemas.openxmlformats.org/officeDocument/2006/relationships/slide" Target="slides/slide2511.xml"/><Relationship Id="rId2516" Type="http://schemas.openxmlformats.org/officeDocument/2006/relationships/slide" Target="slides/slide2512.xml"/><Relationship Id="rId2517" Type="http://schemas.openxmlformats.org/officeDocument/2006/relationships/slide" Target="slides/slide2513.xml"/><Relationship Id="rId2518" Type="http://schemas.openxmlformats.org/officeDocument/2006/relationships/slide" Target="slides/slide2514.xml"/><Relationship Id="rId2519" Type="http://schemas.openxmlformats.org/officeDocument/2006/relationships/slide" Target="slides/slide2515.xml"/><Relationship Id="rId2520" Type="http://schemas.openxmlformats.org/officeDocument/2006/relationships/slide" Target="slides/slide2516.xml"/><Relationship Id="rId2521" Type="http://schemas.openxmlformats.org/officeDocument/2006/relationships/slide" Target="slides/slide2517.xml"/><Relationship Id="rId2522" Type="http://schemas.openxmlformats.org/officeDocument/2006/relationships/slide" Target="slides/slide2518.xml"/><Relationship Id="rId2523" Type="http://schemas.openxmlformats.org/officeDocument/2006/relationships/slide" Target="slides/slide2519.xml"/><Relationship Id="rId2524" Type="http://schemas.openxmlformats.org/officeDocument/2006/relationships/slide" Target="slides/slide2520.xml"/><Relationship Id="rId2525" Type="http://schemas.openxmlformats.org/officeDocument/2006/relationships/slide" Target="slides/slide2521.xml"/><Relationship Id="rId2526" Type="http://schemas.openxmlformats.org/officeDocument/2006/relationships/slide" Target="slides/slide2522.xml"/><Relationship Id="rId2527" Type="http://schemas.openxmlformats.org/officeDocument/2006/relationships/slide" Target="slides/slide2523.xml"/><Relationship Id="rId2528" Type="http://schemas.openxmlformats.org/officeDocument/2006/relationships/slide" Target="slides/slide2524.xml"/><Relationship Id="rId2529" Type="http://schemas.openxmlformats.org/officeDocument/2006/relationships/slide" Target="slides/slide2525.xml"/><Relationship Id="rId2530" Type="http://schemas.openxmlformats.org/officeDocument/2006/relationships/slide" Target="slides/slide2526.xml"/><Relationship Id="rId2531" Type="http://schemas.openxmlformats.org/officeDocument/2006/relationships/slide" Target="slides/slide2527.xml"/><Relationship Id="rId2532" Type="http://schemas.openxmlformats.org/officeDocument/2006/relationships/slide" Target="slides/slide2528.xml"/><Relationship Id="rId2533" Type="http://schemas.openxmlformats.org/officeDocument/2006/relationships/slide" Target="slides/slide2529.xml"/><Relationship Id="rId2534" Type="http://schemas.openxmlformats.org/officeDocument/2006/relationships/slide" Target="slides/slide2530.xml"/><Relationship Id="rId2535" Type="http://schemas.openxmlformats.org/officeDocument/2006/relationships/slide" Target="slides/slide2531.xml"/><Relationship Id="rId2536" Type="http://schemas.openxmlformats.org/officeDocument/2006/relationships/slide" Target="slides/slide2532.xml"/><Relationship Id="rId2537" Type="http://schemas.openxmlformats.org/officeDocument/2006/relationships/slide" Target="slides/slide2533.xml"/><Relationship Id="rId2538" Type="http://schemas.openxmlformats.org/officeDocument/2006/relationships/slide" Target="slides/slide2534.xml"/><Relationship Id="rId2539" Type="http://schemas.openxmlformats.org/officeDocument/2006/relationships/slide" Target="slides/slide2535.xml"/><Relationship Id="rId2540" Type="http://schemas.openxmlformats.org/officeDocument/2006/relationships/slide" Target="slides/slide2536.xml"/><Relationship Id="rId2541" Type="http://schemas.openxmlformats.org/officeDocument/2006/relationships/slide" Target="slides/slide2537.xml"/><Relationship Id="rId2542" Type="http://schemas.openxmlformats.org/officeDocument/2006/relationships/slide" Target="slides/slide2538.xml"/><Relationship Id="rId2543" Type="http://schemas.openxmlformats.org/officeDocument/2006/relationships/slide" Target="slides/slide2539.xml"/><Relationship Id="rId2544" Type="http://schemas.openxmlformats.org/officeDocument/2006/relationships/slide" Target="slides/slide2540.xml"/><Relationship Id="rId2545" Type="http://schemas.openxmlformats.org/officeDocument/2006/relationships/slide" Target="slides/slide2541.xml"/><Relationship Id="rId2546" Type="http://schemas.openxmlformats.org/officeDocument/2006/relationships/slide" Target="slides/slide2542.xml"/><Relationship Id="rId2547" Type="http://schemas.openxmlformats.org/officeDocument/2006/relationships/slide" Target="slides/slide2543.xml"/><Relationship Id="rId2548" Type="http://schemas.openxmlformats.org/officeDocument/2006/relationships/slide" Target="slides/slide2544.xml"/><Relationship Id="rId2549" Type="http://schemas.openxmlformats.org/officeDocument/2006/relationships/slide" Target="slides/slide2545.xml"/><Relationship Id="rId2550" Type="http://schemas.openxmlformats.org/officeDocument/2006/relationships/slide" Target="slides/slide2546.xml"/><Relationship Id="rId2551" Type="http://schemas.openxmlformats.org/officeDocument/2006/relationships/slide" Target="slides/slide2547.xml"/><Relationship Id="rId2552" Type="http://schemas.openxmlformats.org/officeDocument/2006/relationships/slide" Target="slides/slide2548.xml"/><Relationship Id="rId2553" Type="http://schemas.openxmlformats.org/officeDocument/2006/relationships/slide" Target="slides/slide2549.xml"/><Relationship Id="rId2554" Type="http://schemas.openxmlformats.org/officeDocument/2006/relationships/slide" Target="slides/slide2550.xml"/><Relationship Id="rId2555" Type="http://schemas.openxmlformats.org/officeDocument/2006/relationships/slide" Target="slides/slide2551.xml"/><Relationship Id="rId2556" Type="http://schemas.openxmlformats.org/officeDocument/2006/relationships/slide" Target="slides/slide2552.xml"/><Relationship Id="rId2557" Type="http://schemas.openxmlformats.org/officeDocument/2006/relationships/slide" Target="slides/slide2553.xml"/><Relationship Id="rId2558" Type="http://schemas.openxmlformats.org/officeDocument/2006/relationships/slide" Target="slides/slide2554.xml"/><Relationship Id="rId2559" Type="http://schemas.openxmlformats.org/officeDocument/2006/relationships/slide" Target="slides/slide2555.xml"/><Relationship Id="rId2560" Type="http://schemas.openxmlformats.org/officeDocument/2006/relationships/slide" Target="slides/slide2556.xml"/><Relationship Id="rId2561" Type="http://schemas.openxmlformats.org/officeDocument/2006/relationships/slide" Target="slides/slide2557.xml"/><Relationship Id="rId2562" Type="http://schemas.openxmlformats.org/officeDocument/2006/relationships/slide" Target="slides/slide2558.xml"/><Relationship Id="rId2563" Type="http://schemas.openxmlformats.org/officeDocument/2006/relationships/slide" Target="slides/slide2559.xml"/><Relationship Id="rId2564" Type="http://schemas.openxmlformats.org/officeDocument/2006/relationships/slide" Target="slides/slide2560.xml"/><Relationship Id="rId2565" Type="http://schemas.openxmlformats.org/officeDocument/2006/relationships/slide" Target="slides/slide2561.xml"/><Relationship Id="rId2566" Type="http://schemas.openxmlformats.org/officeDocument/2006/relationships/slide" Target="slides/slide2562.xml"/><Relationship Id="rId2567" Type="http://schemas.openxmlformats.org/officeDocument/2006/relationships/slide" Target="slides/slide2563.xml"/><Relationship Id="rId2568" Type="http://schemas.openxmlformats.org/officeDocument/2006/relationships/slide" Target="slides/slide2564.xml"/><Relationship Id="rId2569" Type="http://schemas.openxmlformats.org/officeDocument/2006/relationships/slide" Target="slides/slide2565.xml"/><Relationship Id="rId2570" Type="http://schemas.openxmlformats.org/officeDocument/2006/relationships/slide" Target="slides/slide2566.xml"/><Relationship Id="rId2571" Type="http://schemas.openxmlformats.org/officeDocument/2006/relationships/slide" Target="slides/slide2567.xml"/><Relationship Id="rId2572" Type="http://schemas.openxmlformats.org/officeDocument/2006/relationships/slide" Target="slides/slide2568.xml"/><Relationship Id="rId2573" Type="http://schemas.openxmlformats.org/officeDocument/2006/relationships/slide" Target="slides/slide2569.xml"/><Relationship Id="rId2574" Type="http://schemas.openxmlformats.org/officeDocument/2006/relationships/slide" Target="slides/slide2570.xml"/><Relationship Id="rId2575" Type="http://schemas.openxmlformats.org/officeDocument/2006/relationships/slide" Target="slides/slide2571.xml"/><Relationship Id="rId2576" Type="http://schemas.openxmlformats.org/officeDocument/2006/relationships/slide" Target="slides/slide2572.xml"/><Relationship Id="rId2577" Type="http://schemas.openxmlformats.org/officeDocument/2006/relationships/slide" Target="slides/slide2573.xml"/><Relationship Id="rId2578" Type="http://schemas.openxmlformats.org/officeDocument/2006/relationships/slide" Target="slides/slide2574.xml"/><Relationship Id="rId2579" Type="http://schemas.openxmlformats.org/officeDocument/2006/relationships/slide" Target="slides/slide2575.xml"/><Relationship Id="rId2580" Type="http://schemas.openxmlformats.org/officeDocument/2006/relationships/slide" Target="slides/slide2576.xml"/><Relationship Id="rId2581" Type="http://schemas.openxmlformats.org/officeDocument/2006/relationships/slide" Target="slides/slide2577.xml"/><Relationship Id="rId2582" Type="http://schemas.openxmlformats.org/officeDocument/2006/relationships/slide" Target="slides/slide2578.xml"/><Relationship Id="rId2583" Type="http://schemas.openxmlformats.org/officeDocument/2006/relationships/slide" Target="slides/slide2579.xml"/><Relationship Id="rId2584" Type="http://schemas.openxmlformats.org/officeDocument/2006/relationships/slide" Target="slides/slide2580.xml"/><Relationship Id="rId2585" Type="http://schemas.openxmlformats.org/officeDocument/2006/relationships/slide" Target="slides/slide2581.xml"/><Relationship Id="rId2586" Type="http://schemas.openxmlformats.org/officeDocument/2006/relationships/slide" Target="slides/slide2582.xml"/><Relationship Id="rId2587" Type="http://schemas.openxmlformats.org/officeDocument/2006/relationships/slide" Target="slides/slide2583.xml"/><Relationship Id="rId2588" Type="http://schemas.openxmlformats.org/officeDocument/2006/relationships/slide" Target="slides/slide2584.xml"/><Relationship Id="rId2589" Type="http://schemas.openxmlformats.org/officeDocument/2006/relationships/slide" Target="slides/slide2585.xml"/><Relationship Id="rId2590" Type="http://schemas.openxmlformats.org/officeDocument/2006/relationships/slide" Target="slides/slide2586.xml"/><Relationship Id="rId2591" Type="http://schemas.openxmlformats.org/officeDocument/2006/relationships/slide" Target="slides/slide2587.xml"/><Relationship Id="rId2592" Type="http://schemas.openxmlformats.org/officeDocument/2006/relationships/slide" Target="slides/slide2588.xml"/><Relationship Id="rId2593" Type="http://schemas.openxmlformats.org/officeDocument/2006/relationships/slide" Target="slides/slide2589.xml"/><Relationship Id="rId2594" Type="http://schemas.openxmlformats.org/officeDocument/2006/relationships/slide" Target="slides/slide2590.xml"/><Relationship Id="rId2595" Type="http://schemas.openxmlformats.org/officeDocument/2006/relationships/slide" Target="slides/slide2591.xml"/><Relationship Id="rId2596" Type="http://schemas.openxmlformats.org/officeDocument/2006/relationships/slide" Target="slides/slide2592.xml"/><Relationship Id="rId2597" Type="http://schemas.openxmlformats.org/officeDocument/2006/relationships/slide" Target="slides/slide2593.xml"/><Relationship Id="rId2598" Type="http://schemas.openxmlformats.org/officeDocument/2006/relationships/slide" Target="slides/slide2594.xml"/><Relationship Id="rId2599" Type="http://schemas.openxmlformats.org/officeDocument/2006/relationships/slide" Target="slides/slide2595.xml"/><Relationship Id="rId2600" Type="http://schemas.openxmlformats.org/officeDocument/2006/relationships/slide" Target="slides/slide2596.xml"/><Relationship Id="rId2601" Type="http://schemas.openxmlformats.org/officeDocument/2006/relationships/slide" Target="slides/slide2597.xml"/><Relationship Id="rId2602" Type="http://schemas.openxmlformats.org/officeDocument/2006/relationships/slide" Target="slides/slide2598.xml"/><Relationship Id="rId2603" Type="http://schemas.openxmlformats.org/officeDocument/2006/relationships/slide" Target="slides/slide2599.xml"/><Relationship Id="rId2604" Type="http://schemas.openxmlformats.org/officeDocument/2006/relationships/slide" Target="slides/slide2600.xml"/><Relationship Id="rId2605" Type="http://schemas.openxmlformats.org/officeDocument/2006/relationships/slide" Target="slides/slide2601.xml"/><Relationship Id="rId2606" Type="http://schemas.openxmlformats.org/officeDocument/2006/relationships/slide" Target="slides/slide2602.xml"/><Relationship Id="rId2607" Type="http://schemas.openxmlformats.org/officeDocument/2006/relationships/slide" Target="slides/slide2603.xml"/><Relationship Id="rId2608" Type="http://schemas.openxmlformats.org/officeDocument/2006/relationships/slide" Target="slides/slide2604.xml"/><Relationship Id="rId2609" Type="http://schemas.openxmlformats.org/officeDocument/2006/relationships/slide" Target="slides/slide2605.xml"/><Relationship Id="rId2610" Type="http://schemas.openxmlformats.org/officeDocument/2006/relationships/slide" Target="slides/slide2606.xml"/><Relationship Id="rId2611" Type="http://schemas.openxmlformats.org/officeDocument/2006/relationships/slide" Target="slides/slide2607.xml"/><Relationship Id="rId2612" Type="http://schemas.openxmlformats.org/officeDocument/2006/relationships/slide" Target="slides/slide2608.xml"/><Relationship Id="rId2613" Type="http://schemas.openxmlformats.org/officeDocument/2006/relationships/slide" Target="slides/slide2609.xml"/><Relationship Id="rId2614" Type="http://schemas.openxmlformats.org/officeDocument/2006/relationships/slide" Target="slides/slide2610.xml"/><Relationship Id="rId2615" Type="http://schemas.openxmlformats.org/officeDocument/2006/relationships/slide" Target="slides/slide2611.xml"/><Relationship Id="rId2616" Type="http://schemas.openxmlformats.org/officeDocument/2006/relationships/slide" Target="slides/slide2612.xml"/><Relationship Id="rId2617" Type="http://schemas.openxmlformats.org/officeDocument/2006/relationships/slide" Target="slides/slide2613.xml"/><Relationship Id="rId2618" Type="http://schemas.openxmlformats.org/officeDocument/2006/relationships/slide" Target="slides/slide2614.xml"/><Relationship Id="rId2619" Type="http://schemas.openxmlformats.org/officeDocument/2006/relationships/slide" Target="slides/slide2615.xml"/><Relationship Id="rId2620" Type="http://schemas.openxmlformats.org/officeDocument/2006/relationships/slide" Target="slides/slide2616.xml"/><Relationship Id="rId2621" Type="http://schemas.openxmlformats.org/officeDocument/2006/relationships/slide" Target="slides/slide2617.xml"/><Relationship Id="rId2622" Type="http://schemas.openxmlformats.org/officeDocument/2006/relationships/slide" Target="slides/slide2618.xml"/><Relationship Id="rId2623" Type="http://schemas.openxmlformats.org/officeDocument/2006/relationships/slide" Target="slides/slide2619.xml"/><Relationship Id="rId2624" Type="http://schemas.openxmlformats.org/officeDocument/2006/relationships/slide" Target="slides/slide2620.xml"/><Relationship Id="rId2625" Type="http://schemas.openxmlformats.org/officeDocument/2006/relationships/slide" Target="slides/slide2621.xml"/><Relationship Id="rId2626" Type="http://schemas.openxmlformats.org/officeDocument/2006/relationships/slide" Target="slides/slide2622.xml"/><Relationship Id="rId2627" Type="http://schemas.openxmlformats.org/officeDocument/2006/relationships/slide" Target="slides/slide2623.xml"/><Relationship Id="rId2628" Type="http://schemas.openxmlformats.org/officeDocument/2006/relationships/slide" Target="slides/slide2624.xml"/><Relationship Id="rId2629" Type="http://schemas.openxmlformats.org/officeDocument/2006/relationships/slide" Target="slides/slide2625.xml"/><Relationship Id="rId2630" Type="http://schemas.openxmlformats.org/officeDocument/2006/relationships/slide" Target="slides/slide2626.xml"/><Relationship Id="rId2631" Type="http://schemas.openxmlformats.org/officeDocument/2006/relationships/slide" Target="slides/slide2627.xml"/><Relationship Id="rId2632" Type="http://schemas.openxmlformats.org/officeDocument/2006/relationships/slide" Target="slides/slide2628.xml"/><Relationship Id="rId2633" Type="http://schemas.openxmlformats.org/officeDocument/2006/relationships/slide" Target="slides/slide2629.xml"/><Relationship Id="rId2634" Type="http://schemas.openxmlformats.org/officeDocument/2006/relationships/slide" Target="slides/slide2630.xml"/><Relationship Id="rId2635" Type="http://schemas.openxmlformats.org/officeDocument/2006/relationships/slide" Target="slides/slide2631.xml"/><Relationship Id="rId2636" Type="http://schemas.openxmlformats.org/officeDocument/2006/relationships/slide" Target="slides/slide2632.xml"/><Relationship Id="rId2637" Type="http://schemas.openxmlformats.org/officeDocument/2006/relationships/slide" Target="slides/slide2633.xml"/><Relationship Id="rId2638" Type="http://schemas.openxmlformats.org/officeDocument/2006/relationships/slide" Target="slides/slide2634.xml"/><Relationship Id="rId2639" Type="http://schemas.openxmlformats.org/officeDocument/2006/relationships/slide" Target="slides/slide2635.xml"/><Relationship Id="rId2640" Type="http://schemas.openxmlformats.org/officeDocument/2006/relationships/slide" Target="slides/slide2636.xml"/><Relationship Id="rId2641" Type="http://schemas.openxmlformats.org/officeDocument/2006/relationships/slide" Target="slides/slide2637.xml"/><Relationship Id="rId2642" Type="http://schemas.openxmlformats.org/officeDocument/2006/relationships/slide" Target="slides/slide2638.xml"/><Relationship Id="rId2643" Type="http://schemas.openxmlformats.org/officeDocument/2006/relationships/slide" Target="slides/slide2639.xml"/><Relationship Id="rId2644" Type="http://schemas.openxmlformats.org/officeDocument/2006/relationships/slide" Target="slides/slide2640.xml"/><Relationship Id="rId2645" Type="http://schemas.openxmlformats.org/officeDocument/2006/relationships/slide" Target="slides/slide2641.xml"/><Relationship Id="rId2646" Type="http://schemas.openxmlformats.org/officeDocument/2006/relationships/slide" Target="slides/slide2642.xml"/><Relationship Id="rId2647" Type="http://schemas.openxmlformats.org/officeDocument/2006/relationships/slide" Target="slides/slide2643.xml"/><Relationship Id="rId2648" Type="http://schemas.openxmlformats.org/officeDocument/2006/relationships/slide" Target="slides/slide2644.xml"/><Relationship Id="rId2649" Type="http://schemas.openxmlformats.org/officeDocument/2006/relationships/slide" Target="slides/slide2645.xml"/><Relationship Id="rId2650" Type="http://schemas.openxmlformats.org/officeDocument/2006/relationships/slide" Target="slides/slide2646.xml"/><Relationship Id="rId2651" Type="http://schemas.openxmlformats.org/officeDocument/2006/relationships/slide" Target="slides/slide2647.xml"/><Relationship Id="rId2652" Type="http://schemas.openxmlformats.org/officeDocument/2006/relationships/slide" Target="slides/slide2648.xml"/><Relationship Id="rId2653" Type="http://schemas.openxmlformats.org/officeDocument/2006/relationships/slide" Target="slides/slide2649.xml"/><Relationship Id="rId2654" Type="http://schemas.openxmlformats.org/officeDocument/2006/relationships/slide" Target="slides/slide2650.xml"/><Relationship Id="rId2655" Type="http://schemas.openxmlformats.org/officeDocument/2006/relationships/slide" Target="slides/slide2651.xml"/><Relationship Id="rId2656" Type="http://schemas.openxmlformats.org/officeDocument/2006/relationships/slide" Target="slides/slide2652.xml"/><Relationship Id="rId2657" Type="http://schemas.openxmlformats.org/officeDocument/2006/relationships/slide" Target="slides/slide2653.xml"/><Relationship Id="rId2658" Type="http://schemas.openxmlformats.org/officeDocument/2006/relationships/slide" Target="slides/slide2654.xml"/><Relationship Id="rId2659" Type="http://schemas.openxmlformats.org/officeDocument/2006/relationships/slide" Target="slides/slide2655.xml"/><Relationship Id="rId2660" Type="http://schemas.openxmlformats.org/officeDocument/2006/relationships/slide" Target="slides/slide2656.xml"/><Relationship Id="rId2661" Type="http://schemas.openxmlformats.org/officeDocument/2006/relationships/slide" Target="slides/slide2657.xml"/><Relationship Id="rId2662" Type="http://schemas.openxmlformats.org/officeDocument/2006/relationships/slide" Target="slides/slide2658.xml"/><Relationship Id="rId2663" Type="http://schemas.openxmlformats.org/officeDocument/2006/relationships/slide" Target="slides/slide2659.xml"/><Relationship Id="rId2664" Type="http://schemas.openxmlformats.org/officeDocument/2006/relationships/slide" Target="slides/slide2660.xml"/><Relationship Id="rId2665" Type="http://schemas.openxmlformats.org/officeDocument/2006/relationships/slide" Target="slides/slide2661.xml"/><Relationship Id="rId2666" Type="http://schemas.openxmlformats.org/officeDocument/2006/relationships/slide" Target="slides/slide2662.xml"/><Relationship Id="rId2667" Type="http://schemas.openxmlformats.org/officeDocument/2006/relationships/slide" Target="slides/slide2663.xml"/><Relationship Id="rId2668" Type="http://schemas.openxmlformats.org/officeDocument/2006/relationships/slide" Target="slides/slide2664.xml"/><Relationship Id="rId2669" Type="http://schemas.openxmlformats.org/officeDocument/2006/relationships/slide" Target="slides/slide2665.xml"/><Relationship Id="rId2670" Type="http://schemas.openxmlformats.org/officeDocument/2006/relationships/slide" Target="slides/slide2666.xml"/><Relationship Id="rId2671" Type="http://schemas.openxmlformats.org/officeDocument/2006/relationships/slide" Target="slides/slide2667.xml"/><Relationship Id="rId2672" Type="http://schemas.openxmlformats.org/officeDocument/2006/relationships/slide" Target="slides/slide2668.xml"/><Relationship Id="rId2673" Type="http://schemas.openxmlformats.org/officeDocument/2006/relationships/slide" Target="slides/slide2669.xml"/><Relationship Id="rId2674" Type="http://schemas.openxmlformats.org/officeDocument/2006/relationships/slide" Target="slides/slide2670.xml"/><Relationship Id="rId2675" Type="http://schemas.openxmlformats.org/officeDocument/2006/relationships/slide" Target="slides/slide2671.xml"/><Relationship Id="rId2676" Type="http://schemas.openxmlformats.org/officeDocument/2006/relationships/slide" Target="slides/slide2672.xml"/><Relationship Id="rId2677" Type="http://schemas.openxmlformats.org/officeDocument/2006/relationships/slide" Target="slides/slide2673.xml"/><Relationship Id="rId2678" Type="http://schemas.openxmlformats.org/officeDocument/2006/relationships/slide" Target="slides/slide2674.xml"/><Relationship Id="rId2679" Type="http://schemas.openxmlformats.org/officeDocument/2006/relationships/slide" Target="slides/slide2675.xml"/><Relationship Id="rId2680" Type="http://schemas.openxmlformats.org/officeDocument/2006/relationships/slide" Target="slides/slide2676.xml"/><Relationship Id="rId2681" Type="http://schemas.openxmlformats.org/officeDocument/2006/relationships/slide" Target="slides/slide2677.xml"/><Relationship Id="rId2682" Type="http://schemas.openxmlformats.org/officeDocument/2006/relationships/slide" Target="slides/slide2678.xml"/><Relationship Id="rId2683" Type="http://schemas.openxmlformats.org/officeDocument/2006/relationships/slide" Target="slides/slide2679.xml"/><Relationship Id="rId2684" Type="http://schemas.openxmlformats.org/officeDocument/2006/relationships/slide" Target="slides/slide2680.xml"/><Relationship Id="rId2685" Type="http://schemas.openxmlformats.org/officeDocument/2006/relationships/slide" Target="slides/slide2681.xml"/><Relationship Id="rId2686" Type="http://schemas.openxmlformats.org/officeDocument/2006/relationships/slide" Target="slides/slide2682.xml"/><Relationship Id="rId2687" Type="http://schemas.openxmlformats.org/officeDocument/2006/relationships/slide" Target="slides/slide2683.xml"/><Relationship Id="rId2688" Type="http://schemas.openxmlformats.org/officeDocument/2006/relationships/slide" Target="slides/slide2684.xml"/><Relationship Id="rId2689" Type="http://schemas.openxmlformats.org/officeDocument/2006/relationships/slide" Target="slides/slide2685.xml"/><Relationship Id="rId2690" Type="http://schemas.openxmlformats.org/officeDocument/2006/relationships/slide" Target="slides/slide2686.xml"/><Relationship Id="rId2691" Type="http://schemas.openxmlformats.org/officeDocument/2006/relationships/slide" Target="slides/slide2687.xml"/><Relationship Id="rId2692" Type="http://schemas.openxmlformats.org/officeDocument/2006/relationships/slide" Target="slides/slide2688.xml"/><Relationship Id="rId2693" Type="http://schemas.openxmlformats.org/officeDocument/2006/relationships/slide" Target="slides/slide2689.xml"/><Relationship Id="rId2694" Type="http://schemas.openxmlformats.org/officeDocument/2006/relationships/slide" Target="slides/slide2690.xml"/><Relationship Id="rId2695" Type="http://schemas.openxmlformats.org/officeDocument/2006/relationships/slide" Target="slides/slide2691.xml"/><Relationship Id="rId2696" Type="http://schemas.openxmlformats.org/officeDocument/2006/relationships/slide" Target="slides/slide2692.xml"/><Relationship Id="rId2697" Type="http://schemas.openxmlformats.org/officeDocument/2006/relationships/slide" Target="slides/slide2693.xml"/><Relationship Id="rId2698" Type="http://schemas.openxmlformats.org/officeDocument/2006/relationships/notesMaster" Target="notesMasters/notesMaster1.xml"/><Relationship Id="rId2699" Type="http://schemas.openxmlformats.org/officeDocument/2006/relationships/presProps" Target="presProps.xml"/><Relationship Id="rId2700" Type="http://schemas.openxmlformats.org/officeDocument/2006/relationships/viewProps" Target="viewProps.xml"/><Relationship Id="rId2701" Type="http://schemas.openxmlformats.org/officeDocument/2006/relationships/theme" Target="theme/theme1.xml"/><Relationship Id="rId2702" Type="http://schemas.openxmlformats.org/officeDocument/2006/relationships/tableStyles" Target="tableStyles.xml"/><Relationship Id="rId2703" Type="http://schemas.microsoft.com/office/2015/10/relationships/revisionInfo" Target="revisionInfo.xml"/><Relationship Id="rId2704"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6.xml.rels><?xml version='1.0' encoding='UTF-8' standalone='yes'?>
<Relationships xmlns="http://schemas.openxmlformats.org/package/2006/relationships"><Relationship Id="rId1"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package" Target="../embeddings/Microsoft_Excel_Worksheet1166.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78.xml.rels><?xml version='1.0' encoding='UTF-8' standalone='yes'?>
<Relationships xmlns="http://schemas.openxmlformats.org/package/2006/relationships"><Relationship Id="rId1" Type="http://schemas.openxmlformats.org/officeDocument/2006/relationships/package" Target="../embeddings/Microsoft_Excel_Worksheet117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1.xml.rels><?xml version='1.0' encoding='UTF-8' standalone='yes'?>
<Relationships xmlns="http://schemas.openxmlformats.org/package/2006/relationships"><Relationship Id="rId1" Type="http://schemas.openxmlformats.org/officeDocument/2006/relationships/package" Target="../embeddings/Microsoft_Excel_Worksheet1190.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package" Target="../embeddings/Microsoft_Excel_Worksheet1198.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5.xml.rels><?xml version='1.0' encoding='UTF-8' standalone='yes'?>
<Relationships xmlns="http://schemas.openxmlformats.org/package/2006/relationships"><Relationship Id="rId1" Type="http://schemas.openxmlformats.org/officeDocument/2006/relationships/package" Target="../embeddings/Microsoft_Excel_Worksheet1204.xlsx"/></Relationships>
</file>

<file path=ppt/charts/_rels/chart1207.xml.rels><?xml version='1.0' encoding='UTF-8' standalone='yes'?>
<Relationships xmlns="http://schemas.openxmlformats.org/package/2006/relationships"><Relationship Id="rId1" Type="http://schemas.openxmlformats.org/officeDocument/2006/relationships/package" Target="../embeddings/Microsoft_Excel_Worksheet1206.xlsx"/></Relationships>
</file>

<file path=ppt/charts/_rels/chart1214.xml.rels><?xml version='1.0' encoding='UTF-8' standalone='yes'?>
<Relationships xmlns="http://schemas.openxmlformats.org/package/2006/relationships"><Relationship Id="rId1" Type="http://schemas.openxmlformats.org/officeDocument/2006/relationships/package" Target="../embeddings/Microsoft_Excel_Worksheet1213.xlsx"/></Relationships>
</file>

<file path=ppt/charts/_rels/chart1220.xml.rels><?xml version='1.0' encoding='UTF-8' standalone='yes'?>
<Relationships xmlns="http://schemas.openxmlformats.org/package/2006/relationships"><Relationship Id="rId1" Type="http://schemas.openxmlformats.org/officeDocument/2006/relationships/package" Target="../embeddings/Microsoft_Excel_Worksheet1219.xlsx"/></Relationships>
</file>

<file path=ppt/charts/_rels/chart1222.xml.rels><?xml version='1.0' encoding='UTF-8' standalone='yes'?>
<Relationships xmlns="http://schemas.openxmlformats.org/package/2006/relationships"><Relationship Id="rId1" Type="http://schemas.openxmlformats.org/officeDocument/2006/relationships/package" Target="../embeddings/Microsoft_Excel_Worksheet1221.xlsx"/></Relationships>
</file>

<file path=ppt/charts/_rels/chart1228.xml.rels><?xml version='1.0' encoding='UTF-8' standalone='yes'?>
<Relationships xmlns="http://schemas.openxmlformats.org/package/2006/relationships"><Relationship Id="rId1" Type="http://schemas.openxmlformats.org/officeDocument/2006/relationships/package" Target="../embeddings/Microsoft_Excel_Worksheet1227.xlsx"/></Relationships>
</file>

<file path=ppt/charts/_rels/chart1236.xml.rels><?xml version='1.0' encoding='UTF-8' standalone='yes'?>
<Relationships xmlns="http://schemas.openxmlformats.org/package/2006/relationships"><Relationship Id="rId1" Type="http://schemas.openxmlformats.org/officeDocument/2006/relationships/package" Target="../embeddings/Microsoft_Excel_Worksheet1235.xlsx"/></Relationships>
</file>

<file path=ppt/charts/_rels/chart1242.xml.rels><?xml version='1.0' encoding='UTF-8' standalone='yes'?>
<Relationships xmlns="http://schemas.openxmlformats.org/package/2006/relationships"><Relationship Id="rId1" Type="http://schemas.openxmlformats.org/officeDocument/2006/relationships/package" Target="../embeddings/Microsoft_Excel_Worksheet1241.xlsx"/></Relationships>
</file>

<file path=ppt/charts/_rels/chart1243.xml.rels><?xml version='1.0' encoding='UTF-8' standalone='yes'?>
<Relationships xmlns="http://schemas.openxmlformats.org/package/2006/relationships"><Relationship Id="rId1" Type="http://schemas.openxmlformats.org/officeDocument/2006/relationships/package" Target="../embeddings/Microsoft_Excel_Worksheet1242.xlsx"/></Relationships>
</file>

<file path=ppt/charts/_rels/chart1249.xml.rels><?xml version='1.0' encoding='UTF-8' standalone='yes'?>
<Relationships xmlns="http://schemas.openxmlformats.org/package/2006/relationships"><Relationship Id="rId1" Type="http://schemas.openxmlformats.org/officeDocument/2006/relationships/package" Target="../embeddings/Microsoft_Excel_Worksheet1248.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7.xml.rels><?xml version='1.0' encoding='UTF-8' standalone='yes'?>
<Relationships xmlns="http://schemas.openxmlformats.org/package/2006/relationships"><Relationship Id="rId1" Type="http://schemas.openxmlformats.org/officeDocument/2006/relationships/package" Target="../embeddings/Microsoft_Excel_Worksheet1256.xlsx"/></Relationships>
</file>

<file path=ppt/charts/_rels/chart1264.xml.rels><?xml version='1.0' encoding='UTF-8' standalone='yes'?>
<Relationships xmlns="http://schemas.openxmlformats.org/package/2006/relationships"><Relationship Id="rId1" Type="http://schemas.openxmlformats.org/officeDocument/2006/relationships/package" Target="../embeddings/Microsoft_Excel_Worksheet1263.xlsx"/></Relationships>
</file>

<file path=ppt/charts/_rels/chart1272.xml.rels><?xml version='1.0' encoding='UTF-8' standalone='yes'?>
<Relationships xmlns="http://schemas.openxmlformats.org/package/2006/relationships"><Relationship Id="rId1" Type="http://schemas.openxmlformats.org/officeDocument/2006/relationships/package" Target="../embeddings/Microsoft_Excel_Worksheet1271.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7.xml.rels><?xml version='1.0' encoding='UTF-8' standalone='yes'?>
<Relationships xmlns="http://schemas.openxmlformats.org/package/2006/relationships"><Relationship Id="rId1" Type="http://schemas.openxmlformats.org/officeDocument/2006/relationships/package" Target="../embeddings/Microsoft_Excel_Worksheet1286.xlsx"/></Relationships>
</file>

<file path=ppt/charts/_rels/chart1289.xml.rels><?xml version='1.0' encoding='UTF-8' standalone='yes'?>
<Relationships xmlns="http://schemas.openxmlformats.org/package/2006/relationships"><Relationship Id="rId1" Type="http://schemas.openxmlformats.org/officeDocument/2006/relationships/package" Target="../embeddings/Microsoft_Excel_Worksheet1288.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304.xml.rels><?xml version='1.0' encoding='UTF-8' standalone='yes'?>
<Relationships xmlns="http://schemas.openxmlformats.org/package/2006/relationships"><Relationship Id="rId1" Type="http://schemas.openxmlformats.org/officeDocument/2006/relationships/package" Target="../embeddings/Microsoft_Excel_Worksheet1303.xlsx"/></Relationships>
</file>

<file path=ppt/charts/_rels/chart1309.xml.rels><?xml version='1.0' encoding='UTF-8' standalone='yes'?>
<Relationships xmlns="http://schemas.openxmlformats.org/package/2006/relationships"><Relationship Id="rId1" Type="http://schemas.openxmlformats.org/officeDocument/2006/relationships/package" Target="../embeddings/Microsoft_Excel_Worksheet1308.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0.xml.rels><?xml version='1.0' encoding='UTF-8' standalone='yes'?>
<Relationships xmlns="http://schemas.openxmlformats.org/package/2006/relationships"><Relationship Id="rId1" Type="http://schemas.openxmlformats.org/officeDocument/2006/relationships/package" Target="../embeddings/Microsoft_Excel_Worksheet1309.xlsx"/></Relationships>
</file>

<file path=ppt/charts/_rels/chart1312.xml.rels><?xml version='1.0' encoding='UTF-8' standalone='yes'?>
<Relationships xmlns="http://schemas.openxmlformats.org/package/2006/relationships"><Relationship Id="rId1" Type="http://schemas.openxmlformats.org/officeDocument/2006/relationships/package" Target="../embeddings/Microsoft_Excel_Worksheet1311.xlsx"/></Relationships>
</file>

<file path=ppt/charts/_rels/chart1316.xml.rels><?xml version='1.0' encoding='UTF-8' standalone='yes'?>
<Relationships xmlns="http://schemas.openxmlformats.org/package/2006/relationships"><Relationship Id="rId1" Type="http://schemas.openxmlformats.org/officeDocument/2006/relationships/package" Target="../embeddings/Microsoft_Excel_Worksheet1315.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1.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330.xlsx"/></Relationships>
</file>

<file path=ppt/charts/_rels/chart1333.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332.xlsx"/></Relationships>
</file>

<file path=ppt/charts/_rels/chart1339.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1338.xlsx"/></Relationships>
</file>

<file path=ppt/charts/_rels/chart1345.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1344.xlsx"/></Relationships>
</file>

<file path=ppt/charts/_rels/chart1347.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1346.xlsx"/></Relationships>
</file>

<file path=ppt/charts/_rels/chart1354.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1353.xlsx"/></Relationships>
</file>

<file path=ppt/charts/_rels/chart1360.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1359.xlsx"/></Relationships>
</file>

<file path=ppt/charts/_rels/chart1362.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1361.xlsx"/></Relationships>
</file>

<file path=ppt/charts/_rels/chart1368.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1367.xlsx"/></Relationships>
</file>

<file path=ppt/charts/_rels/chart1376.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1376.xlsx"/></Relationships>
</file>

<file path=ppt/charts/_rels/chart1379.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1378.xlsx"/></Relationships>
</file>

<file path=ppt/charts/_rels/chart1385.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1384.xlsx"/></Relationships>
</file>

<file path=ppt/charts/_rels/chart1392.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1391.xlsx"/></Relationships>
</file>

<file path=ppt/charts/_rels/chart1394.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1393.xlsx"/></Relationships>
</file>

<file path=ppt/charts/_rels/chart1398.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1397.xlsx"/></Relationships>
</file>

<file path=ppt/charts/_rels/chart1400.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1399.xlsx"/></Relationships>
</file>

<file path=ppt/charts/_rels/chart1405.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1405.xlsx"/></Relationships>
</file>

<file path=ppt/charts/_rels/chart1421.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1420.xlsx"/></Relationships>
</file>

<file path=ppt/charts/_rels/chart1423.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1422.xlsx"/></Relationships>
</file>

<file path=ppt/charts/_rels/chart1427.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1426.xlsx"/></Relationships>
</file>

<file path=ppt/charts/_rels/chart1429.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1428.xlsx"/></Relationships>
</file>

<file path=ppt/charts/_rels/chart1435.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1434.xlsx"/></Relationships>
</file>

<file path=ppt/charts/_rels/chart1444.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1443.xlsx"/></Relationships>
</file>

<file path=ppt/charts/_rels/chart1449.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1449.xlsx"/></Relationships>
</file>

<file path=ppt/charts/_rels/chart1452.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1451.xlsx"/></Relationships>
</file>

<file path=ppt/charts/_rels/chart1456.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1455.xlsx"/></Relationships>
</file>

<file path=ppt/charts/_rels/chart1458.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1457.xlsx"/></Relationships>
</file>

<file path=ppt/charts/_rels/chart1471.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1470.xlsx"/></Relationships>
</file>

<file path=ppt/charts/_rels/chart1473.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1472.xlsx"/></Relationships>
</file>

<file path=ppt/charts/_rels/chart1482.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1481.xlsx"/></Relationships>
</file>

<file path=ppt/charts/_rels/chart1488.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148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490.xml.rels><?xml version='1.0' encoding='UTF-8' standalone='yes'?>
<Relationships xmlns="http://schemas.openxmlformats.org/package/2006/relationships"><Relationship Id="rId1" Type="http://schemas.microsoft.com/office/2011/relationships/chartStyle" Target="style355.xml"/><Relationship Id="rId2" Type="http://schemas.microsoft.com/office/2011/relationships/chartColorStyle" Target="colors355.xml"/><Relationship Id="rId3" Type="http://schemas.openxmlformats.org/officeDocument/2006/relationships/package" Target="../embeddings/Microsoft_Excel_Worksheet1489.xlsx"/></Relationships>
</file>

<file path=ppt/charts/_rels/chart1496.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1495.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1502.xlsx"/></Relationships>
</file>

<file path=ppt/charts/_rels/chart1511.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1510.xlsx"/></Relationships>
</file>

<file path=ppt/charts/_rels/chart1516.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1515.xlsx"/></Relationships>
</file>

<file path=ppt/charts/_rels/chart1517.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1516.xlsx"/></Relationships>
</file>

<file path=ppt/charts/_rels/chart1519.xml.rels><?xml version='1.0' encoding='UTF-8' standalone='yes'?>
<Relationships xmlns="http://schemas.openxmlformats.org/package/2006/relationships"><Relationship Id="rId1" Type="http://schemas.microsoft.com/office/2011/relationships/chartStyle" Target="style384.xml"/><Relationship Id="rId2" Type="http://schemas.microsoft.com/office/2011/relationships/chartColorStyle" Target="colors384.xml"/><Relationship Id="rId3" Type="http://schemas.openxmlformats.org/officeDocument/2006/relationships/package" Target="../embeddings/Microsoft_Excel_Worksheet1518.xlsx"/></Relationships>
</file>

<file path=ppt/charts/_rels/chart1525.xml.rels><?xml version='1.0' encoding='UTF-8' standalone='yes'?>
<Relationships xmlns="http://schemas.openxmlformats.org/package/2006/relationships"><Relationship Id="rId1" Type="http://schemas.microsoft.com/office/2011/relationships/chartStyle" Target="style390.xml"/><Relationship Id="rId2" Type="http://schemas.microsoft.com/office/2011/relationships/chartColorStyle" Target="colors390.xml"/><Relationship Id="rId3" Type="http://schemas.openxmlformats.org/officeDocument/2006/relationships/package" Target="../embeddings/Microsoft_Excel_Worksheet1524.xlsx"/></Relationships>
</file>

<file path=ppt/charts/_rels/chart1532.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1531.xlsx"/></Relationships>
</file>

<file path=ppt/charts/_rels/chart1534.xml.rels><?xml version='1.0' encoding='UTF-8' standalone='yes'?>
<Relationships xmlns="http://schemas.openxmlformats.org/package/2006/relationships"><Relationship Id="rId1" Type="http://schemas.microsoft.com/office/2011/relationships/chartStyle" Target="style399.xml"/><Relationship Id="rId2" Type="http://schemas.microsoft.com/office/2011/relationships/chartColorStyle" Target="colors399.xml"/><Relationship Id="rId3" Type="http://schemas.openxmlformats.org/officeDocument/2006/relationships/package" Target="../embeddings/Microsoft_Excel_Worksheet1533.xlsx"/></Relationships>
</file>

<file path=ppt/charts/_rels/chart1538.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1537.xlsx"/></Relationships>
</file>

<file path=ppt/charts/_rels/chart1540.xml.rels><?xml version='1.0' encoding='UTF-8' standalone='yes'?>
<Relationships xmlns="http://schemas.openxmlformats.org/package/2006/relationships"><Relationship Id="rId1" Type="http://schemas.microsoft.com/office/2011/relationships/chartStyle" Target="style405.xml"/><Relationship Id="rId2" Type="http://schemas.microsoft.com/office/2011/relationships/chartColorStyle" Target="colors405.xml"/><Relationship Id="rId3" Type="http://schemas.openxmlformats.org/officeDocument/2006/relationships/package" Target="../embeddings/Microsoft_Excel_Worksheet1539.xlsx"/></Relationships>
</file>

<file path=ppt/charts/_rels/chart1545.xml.rels><?xml version='1.0' encoding='UTF-8' standalone='yes'?>
<Relationships xmlns="http://schemas.openxmlformats.org/package/2006/relationships"><Relationship Id="rId1" Type="http://schemas.microsoft.com/office/2011/relationships/chartStyle" Target="style410.xml"/><Relationship Id="rId2" Type="http://schemas.microsoft.com/office/2011/relationships/chartColorStyle" Target="colors410.xml"/><Relationship Id="rId3" Type="http://schemas.openxmlformats.org/officeDocument/2006/relationships/package" Target="../embeddings/Microsoft_Excel_Worksheet1544.xlsx"/></Relationships>
</file>

<file path=ppt/charts/_rels/chart1546.xml.rels><?xml version='1.0' encoding='UTF-8' standalone='yes'?>
<Relationships xmlns="http://schemas.openxmlformats.org/package/2006/relationships"><Relationship Id="rId1" Type="http://schemas.microsoft.com/office/2011/relationships/chartStyle" Target="style411.xml"/><Relationship Id="rId2" Type="http://schemas.microsoft.com/office/2011/relationships/chartColorStyle" Target="colors411.xml"/><Relationship Id="rId3" Type="http://schemas.openxmlformats.org/officeDocument/2006/relationships/package" Target="../embeddings/Microsoft_Excel_Worksheet1545.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7.xml.rels><?xml version='1.0' encoding='UTF-8' standalone='yes'?>
<Relationships xmlns="http://schemas.openxmlformats.org/package/2006/relationships"><Relationship Id="rId1" Type="http://schemas.openxmlformats.org/officeDocument/2006/relationships/package" Target="../embeddings/Microsoft_Excel_Worksheet1566.xlsx"/></Relationships>
</file>

<file path=ppt/charts/_rels/chart1569.xml.rels><?xml version='1.0' encoding='UTF-8' standalone='yes'?>
<Relationships xmlns="http://schemas.openxmlformats.org/package/2006/relationships"><Relationship Id="rId1" Type="http://schemas.openxmlformats.org/officeDocument/2006/relationships/package" Target="../embeddings/Microsoft_Excel_Worksheet1568.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86.xml.rels><?xml version='1.0' encoding='UTF-8' standalone='yes'?>
<Relationships xmlns="http://schemas.openxmlformats.org/package/2006/relationships"><Relationship Id="rId1" Type="http://schemas.openxmlformats.org/officeDocument/2006/relationships/package" Target="../embeddings/Microsoft_Excel_Worksheet1585.xlsx"/></Relationships>
</file>

<file path=ppt/charts/_rels/chart1592.xml.rels><?xml version='1.0' encoding='UTF-8' standalone='yes'?>
<Relationships xmlns="http://schemas.openxmlformats.org/package/2006/relationships"><Relationship Id="rId1" Type="http://schemas.openxmlformats.org/officeDocument/2006/relationships/package" Target="../embeddings/Microsoft_Excel_Worksheet1591.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9.xml.rels><?xml version='1.0' encoding='UTF-8' standalone='yes'?>
<Relationships xmlns="http://schemas.openxmlformats.org/package/2006/relationships"><Relationship Id="rId1"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1.xml.rels><?xml version='1.0' encoding='UTF-8' standalone='yes'?>
<Relationships xmlns="http://schemas.openxmlformats.org/package/2006/relationships"><Relationship Id="rId1" Type="http://schemas.openxmlformats.org/officeDocument/2006/relationships/package" Target="../embeddings/Microsoft_Excel_Worksheet1600.xlsx"/></Relationships>
</file>

<file path=ppt/charts/_rels/chart1605.xml.rels><?xml version='1.0' encoding='UTF-8' standalone='yes'?>
<Relationships xmlns="http://schemas.openxmlformats.org/package/2006/relationships"><Relationship Id="rId1" Type="http://schemas.openxmlformats.org/officeDocument/2006/relationships/package" Target="../embeddings/Microsoft_Excel_Worksheet1604.xlsx"/></Relationships>
</file>

<file path=ppt/charts/_rels/chart1607.xml.rels><?xml version='1.0' encoding='UTF-8' standalone='yes'?>
<Relationships xmlns="http://schemas.openxmlformats.org/package/2006/relationships"><Relationship Id="rId1" Type="http://schemas.openxmlformats.org/officeDocument/2006/relationships/package" Target="../embeddings/Microsoft_Excel_Worksheet1606.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14.xml.rels><?xml version='1.0' encoding='UTF-8' standalone='yes'?>
<Relationships xmlns="http://schemas.openxmlformats.org/package/2006/relationships"><Relationship Id="rId1" Type="http://schemas.openxmlformats.org/officeDocument/2006/relationships/package" Target="../embeddings/Microsoft_Excel_Worksheet1613.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22.xml.rels><?xml version='1.0' encoding='UTF-8' standalone='yes'?>
<Relationships xmlns="http://schemas.openxmlformats.org/package/2006/relationships"><Relationship Id="rId1" Type="http://schemas.openxmlformats.org/officeDocument/2006/relationships/package" Target="../embeddings/Microsoft_Excel_Worksheet1621.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30.xml.rels><?xml version='1.0' encoding='UTF-8' standalone='yes'?>
<Relationships xmlns="http://schemas.openxmlformats.org/package/2006/relationships"><Relationship Id="rId1" Type="http://schemas.openxmlformats.org/officeDocument/2006/relationships/package" Target="../embeddings/Microsoft_Excel_Worksheet1629.xlsx"/></Relationships>
</file>

<file path=ppt/charts/_rels/chart1636.xml.rels><?xml version='1.0' encoding='UTF-8' standalone='yes'?>
<Relationships xmlns="http://schemas.openxmlformats.org/package/2006/relationships"><Relationship Id="rId1" Type="http://schemas.openxmlformats.org/officeDocument/2006/relationships/package" Target="../embeddings/Microsoft_Excel_Worksheet1635.xlsx"/></Relationships>
</file>

<file path=ppt/charts/_rels/chart1643.xml.rels><?xml version='1.0' encoding='UTF-8' standalone='yes'?>
<Relationships xmlns="http://schemas.openxmlformats.org/package/2006/relationships"><Relationship Id="rId1" Type="http://schemas.openxmlformats.org/officeDocument/2006/relationships/package" Target="../embeddings/Microsoft_Excel_Worksheet1642.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6.xml.rels><?xml version='1.0' encoding='UTF-8' standalone='yes'?>
<Relationships xmlns="http://schemas.openxmlformats.org/package/2006/relationships"><Relationship Id="rId1" Type="http://schemas.openxmlformats.org/officeDocument/2006/relationships/package" Target="../embeddings/Microsoft_Excel_Worksheet1655.xlsx"/></Relationships>
</file>

<file path=ppt/charts/_rels/chart1657.xml.rels><?xml version='1.0' encoding='UTF-8' standalone='yes'?>
<Relationships xmlns="http://schemas.openxmlformats.org/package/2006/relationships"><Relationship Id="rId1" Type="http://schemas.openxmlformats.org/officeDocument/2006/relationships/package" Target="../embeddings/Microsoft_Excel_Worksheet1656.xlsx"/></Relationships>
</file>

<file path=ppt/charts/_rels/chart1659.xml.rels><?xml version='1.0' encoding='UTF-8' standalone='yes'?>
<Relationships xmlns="http://schemas.openxmlformats.org/package/2006/relationships"><Relationship Id="rId1" Type="http://schemas.openxmlformats.org/officeDocument/2006/relationships/package" Target="../embeddings/Microsoft_Excel_Worksheet1658.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5.xml.rels><?xml version='1.0' encoding='UTF-8' standalone='yes'?>
<Relationships xmlns="http://schemas.openxmlformats.org/package/2006/relationships"><Relationship Id="rId1" Type="http://schemas.openxmlformats.org/officeDocument/2006/relationships/package" Target="../embeddings/Microsoft_Excel_Worksheet1664.xlsx"/></Relationships>
</file>

<file path=ppt/charts/_rels/chart1672.xml.rels><?xml version='1.0' encoding='UTF-8' standalone='yes'?>
<Relationships xmlns="http://schemas.openxmlformats.org/package/2006/relationships"><Relationship Id="rId1" Type="http://schemas.openxmlformats.org/officeDocument/2006/relationships/package" Target="../embeddings/Microsoft_Excel_Worksheet1671.xlsx"/></Relationships>
</file>

<file path=ppt/charts/_rels/chart1674.xml.rels><?xml version='1.0' encoding='UTF-8' standalone='yes'?>
<Relationships xmlns="http://schemas.openxmlformats.org/package/2006/relationships"><Relationship Id="rId1" Type="http://schemas.openxmlformats.org/officeDocument/2006/relationships/package" Target="../embeddings/Microsoft_Excel_Worksheet1673.xlsx"/></Relationships>
</file>

<file path=ppt/charts/_rels/chart1681.xml.rels><?xml version='1.0' encoding='UTF-8' standalone='yes'?>
<Relationships xmlns="http://schemas.openxmlformats.org/package/2006/relationships"><Relationship Id="rId1" Type="http://schemas.openxmlformats.org/officeDocument/2006/relationships/package" Target="../embeddings/Microsoft_Excel_Worksheet1680.xlsx"/></Relationships>
</file>

<file path=ppt/charts/_rels/chart1683.xml.rels><?xml version='1.0' encoding='UTF-8' standalone='yes'?>
<Relationships xmlns="http://schemas.openxmlformats.org/package/2006/relationships"><Relationship Id="rId1" Type="http://schemas.openxmlformats.org/officeDocument/2006/relationships/package" Target="../embeddings/Microsoft_Excel_Worksheet1682.xlsx"/></Relationships>
</file>

<file path=ppt/charts/_rels/chart1689.xml.rels><?xml version='1.0' encoding='UTF-8' standalone='yes'?>
<Relationships xmlns="http://schemas.openxmlformats.org/package/2006/relationships"><Relationship Id="rId1" Type="http://schemas.openxmlformats.org/officeDocument/2006/relationships/package" Target="../embeddings/Microsoft_Excel_Worksheet1688.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703.xml.rels><?xml version='1.0' encoding='UTF-8' standalone='yes'?>
<Relationships xmlns="http://schemas.openxmlformats.org/package/2006/relationships"><Relationship Id="rId1" Type="http://schemas.openxmlformats.org/officeDocument/2006/relationships/package" Target="../embeddings/Microsoft_Excel_Worksheet1702.xlsx"/></Relationships>
</file>

<file path=ppt/charts/_rels/chart1704.xml.rels><?xml version='1.0' encoding='UTF-8' standalone='yes'?>
<Relationships xmlns="http://schemas.openxmlformats.org/package/2006/relationships"><Relationship Id="rId1" Type="http://schemas.openxmlformats.org/officeDocument/2006/relationships/package" Target="../embeddings/Microsoft_Excel_Worksheet1703.xlsx"/></Relationships>
</file>

<file path=ppt/charts/_rels/chart1710.xml.rels><?xml version='1.0' encoding='UTF-8' standalone='yes'?>
<Relationships xmlns="http://schemas.openxmlformats.org/package/2006/relationships"><Relationship Id="rId1" Type="http://schemas.openxmlformats.org/officeDocument/2006/relationships/package" Target="../embeddings/Microsoft_Excel_Worksheet1709.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18.xml.rels><?xml version='1.0' encoding='UTF-8' standalone='yes'?>
<Relationships xmlns="http://schemas.openxmlformats.org/package/2006/relationships"><Relationship Id="rId1" Type="http://schemas.openxmlformats.org/officeDocument/2006/relationships/package" Target="../embeddings/Microsoft_Excel_Worksheet1717.xlsx"/></Relationships>
</file>

<file path=ppt/charts/_rels/chart1726.xml.rels><?xml version='1.0' encoding='UTF-8' standalone='yes'?>
<Relationships xmlns="http://schemas.openxmlformats.org/package/2006/relationships"><Relationship Id="rId1" Type="http://schemas.openxmlformats.org/officeDocument/2006/relationships/package" Target="../embeddings/Microsoft_Excel_Worksheet1725.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32.xml.rels><?xml version='1.0' encoding='UTF-8' standalone='yes'?>
<Relationships xmlns="http://schemas.openxmlformats.org/package/2006/relationships"><Relationship Id="rId1" Type="http://schemas.openxmlformats.org/officeDocument/2006/relationships/package" Target="../embeddings/Microsoft_Excel_Worksheet1731.xlsx"/></Relationships>
</file>

<file path=ppt/charts/_rels/chart1733.xml.rels><?xml version='1.0' encoding='UTF-8' standalone='yes'?>
<Relationships xmlns="http://schemas.openxmlformats.org/package/2006/relationships"><Relationship Id="rId1" Type="http://schemas.openxmlformats.org/officeDocument/2006/relationships/package" Target="../embeddings/Microsoft_Excel_Worksheet1732.xlsx"/></Relationships>
</file>

<file path=ppt/charts/_rels/chart1739.xml.rels><?xml version='1.0' encoding='UTF-8' standalone='yes'?>
<Relationships xmlns="http://schemas.openxmlformats.org/package/2006/relationships"><Relationship Id="rId1" Type="http://schemas.openxmlformats.org/officeDocument/2006/relationships/package" Target="../embeddings/Microsoft_Excel_Worksheet1738.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41.xml.rels><?xml version='1.0' encoding='UTF-8' standalone='yes'?>
<Relationships xmlns="http://schemas.openxmlformats.org/package/2006/relationships"><Relationship Id="rId1" Type="http://schemas.openxmlformats.org/officeDocument/2006/relationships/package" Target="../embeddings/Microsoft_Excel_Worksheet1740.xlsx"/></Relationships>
</file>

<file path=ppt/charts/_rels/chart1754.xml.rels><?xml version='1.0' encoding='UTF-8' standalone='yes'?>
<Relationships xmlns="http://schemas.openxmlformats.org/package/2006/relationships"><Relationship Id="rId1" Type="http://schemas.microsoft.com/office/2011/relationships/chartStyle" Target="style427.xml"/><Relationship Id="rId2" Type="http://schemas.microsoft.com/office/2011/relationships/chartColorStyle" Target="colors427.xml"/><Relationship Id="rId3"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microsoft.com/office/2011/relationships/chartStyle" Target="style428.xml"/><Relationship Id="rId2" Type="http://schemas.microsoft.com/office/2011/relationships/chartColorStyle" Target="colors428.xml"/><Relationship Id="rId3"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microsoft.com/office/2011/relationships/chartStyle" Target="style429.xml"/><Relationship Id="rId2" Type="http://schemas.microsoft.com/office/2011/relationships/chartColorStyle" Target="colors429.xml"/><Relationship Id="rId3"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microsoft.com/office/2011/relationships/chartStyle" Target="style430.xml"/><Relationship Id="rId2" Type="http://schemas.microsoft.com/office/2011/relationships/chartColorStyle" Target="colors430.xml"/><Relationship Id="rId3" Type="http://schemas.openxmlformats.org/officeDocument/2006/relationships/package" Target="../embeddings/Microsoft_Excel_Worksheet1756.xlsx"/></Relationships>
</file>

<file path=ppt/charts/_rels/chart1762.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1761.xlsx"/></Relationships>
</file>

<file path=ppt/charts/_rels/chart1763.xml.rels><?xml version='1.0' encoding='UTF-8' standalone='yes'?>
<Relationships xmlns="http://schemas.openxmlformats.org/package/2006/relationships"><Relationship Id="rId1" Type="http://schemas.microsoft.com/office/2011/relationships/chartStyle" Target="style436.xml"/><Relationship Id="rId2" Type="http://schemas.microsoft.com/office/2011/relationships/chartColorStyle" Target="colors436.xml"/><Relationship Id="rId3" Type="http://schemas.openxmlformats.org/officeDocument/2006/relationships/package" Target="../embeddings/Microsoft_Excel_Worksheet1762.xlsx"/></Relationships>
</file>

<file path=ppt/charts/_rels/chart1764.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1763.xlsx"/></Relationships>
</file>

<file path=ppt/charts/_rels/chart1765.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1764.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0.xml.rels><?xml version='1.0' encoding='UTF-8' standalone='yes'?>
<Relationships xmlns="http://schemas.openxmlformats.org/package/2006/relationships"><Relationship Id="rId1" Type="http://schemas.microsoft.com/office/2011/relationships/chartStyle" Target="style463.xml"/><Relationship Id="rId2" Type="http://schemas.microsoft.com/office/2011/relationships/chartColorStyle" Target="colors463.xml"/><Relationship Id="rId3" Type="http://schemas.openxmlformats.org/officeDocument/2006/relationships/package" Target="../embeddings/Microsoft_Excel_Worksheet1789.xlsx"/></Relationships>
</file>

<file path=ppt/charts/_rels/chart1791.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1790.xlsx"/></Relationships>
</file>

<file path=ppt/charts/_rels/chart1792.xml.rels><?xml version='1.0' encoding='UTF-8' standalone='yes'?>
<Relationships xmlns="http://schemas.openxmlformats.org/package/2006/relationships"><Relationship Id="rId1" Type="http://schemas.microsoft.com/office/2011/relationships/chartStyle" Target="style465.xml"/><Relationship Id="rId2" Type="http://schemas.microsoft.com/office/2011/relationships/chartColorStyle" Target="colors465.xml"/><Relationship Id="rId3" Type="http://schemas.openxmlformats.org/officeDocument/2006/relationships/package" Target="../embeddings/Microsoft_Excel_Worksheet1791.xlsx"/></Relationships>
</file>

<file path=ppt/charts/_rels/chart1793.xml.rels><?xml version='1.0' encoding='UTF-8' standalone='yes'?>
<Relationships xmlns="http://schemas.openxmlformats.org/package/2006/relationships"><Relationship Id="rId1" Type="http://schemas.microsoft.com/office/2011/relationships/chartStyle" Target="style466.xml"/><Relationship Id="rId2" Type="http://schemas.microsoft.com/office/2011/relationships/chartColorStyle" Target="colors466.xml"/><Relationship Id="rId3" Type="http://schemas.openxmlformats.org/officeDocument/2006/relationships/package" Target="../embeddings/Microsoft_Excel_Worksheet1792.xlsx"/></Relationships>
</file>

<file path=ppt/charts/_rels/chart1822.xml.rels><?xml version='1.0' encoding='UTF-8' standalone='yes'?>
<Relationships xmlns="http://schemas.openxmlformats.org/package/2006/relationships"><Relationship Id="rId1" Type="http://schemas.microsoft.com/office/2011/relationships/chartStyle" Target="style495.xml"/><Relationship Id="rId2" Type="http://schemas.microsoft.com/office/2011/relationships/chartColorStyle" Target="colors495.xml"/><Relationship Id="rId3" Type="http://schemas.openxmlformats.org/officeDocument/2006/relationships/package" Target="../embeddings/Microsoft_Excel_Worksheet1821.xlsx"/></Relationships>
</file>

<file path=ppt/charts/_rels/chart1823.xml.rels><?xml version='1.0' encoding='UTF-8' standalone='yes'?>
<Relationships xmlns="http://schemas.openxmlformats.org/package/2006/relationships"><Relationship Id="rId1" Type="http://schemas.microsoft.com/office/2011/relationships/chartStyle" Target="style496.xml"/><Relationship Id="rId2" Type="http://schemas.microsoft.com/office/2011/relationships/chartColorStyle" Target="colors496.xml"/><Relationship Id="rId3" Type="http://schemas.openxmlformats.org/officeDocument/2006/relationships/package" Target="../embeddings/Microsoft_Excel_Worksheet1822.xlsx"/></Relationships>
</file>

<file path=ppt/charts/_rels/chart1824.xml.rels><?xml version='1.0' encoding='UTF-8' standalone='yes'?>
<Relationships xmlns="http://schemas.openxmlformats.org/package/2006/relationships"><Relationship Id="rId1" Type="http://schemas.microsoft.com/office/2011/relationships/chartStyle" Target="style497.xml"/><Relationship Id="rId2" Type="http://schemas.microsoft.com/office/2011/relationships/chartColorStyle" Target="colors497.xml"/><Relationship Id="rId3" Type="http://schemas.openxmlformats.org/officeDocument/2006/relationships/package" Target="../embeddings/Microsoft_Excel_Worksheet1823.xlsx"/></Relationships>
</file>

<file path=ppt/charts/_rels/chart1825.xml.rels><?xml version='1.0' encoding='UTF-8' standalone='yes'?>
<Relationships xmlns="http://schemas.openxmlformats.org/package/2006/relationships"><Relationship Id="rId1" Type="http://schemas.microsoft.com/office/2011/relationships/chartStyle" Target="style498.xml"/><Relationship Id="rId2" Type="http://schemas.microsoft.com/office/2011/relationships/chartColorStyle" Target="colors498.xml"/><Relationship Id="rId3" Type="http://schemas.openxmlformats.org/officeDocument/2006/relationships/package" Target="../embeddings/Microsoft_Excel_Worksheet1824.xlsx"/></Relationships>
</file>

<file path=ppt/charts/_rels/chart1846.xml.rels><?xml version='1.0' encoding='UTF-8' standalone='yes'?>
<Relationships xmlns="http://schemas.openxmlformats.org/package/2006/relationships"><Relationship Id="rId1" Type="http://schemas.microsoft.com/office/2011/relationships/chartStyle" Target="style519.xml"/><Relationship Id="rId2" Type="http://schemas.microsoft.com/office/2011/relationships/chartColorStyle" Target="colors519.xml"/><Relationship Id="rId3" Type="http://schemas.openxmlformats.org/officeDocument/2006/relationships/package" Target="../embeddings/Microsoft_Excel_Worksheet1845.xlsx"/></Relationships>
</file>

<file path=ppt/charts/_rels/chart1847.xml.rels><?xml version='1.0' encoding='UTF-8' standalone='yes'?>
<Relationships xmlns="http://schemas.openxmlformats.org/package/2006/relationships"><Relationship Id="rId1" Type="http://schemas.microsoft.com/office/2011/relationships/chartStyle" Target="style520.xml"/><Relationship Id="rId2" Type="http://schemas.microsoft.com/office/2011/relationships/chartColorStyle" Target="colors520.xml"/><Relationship Id="rId3"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microsoft.com/office/2011/relationships/chartStyle" Target="style521.xml"/><Relationship Id="rId2" Type="http://schemas.microsoft.com/office/2011/relationships/chartColorStyle" Target="colors521.xml"/><Relationship Id="rId3"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microsoft.com/office/2011/relationships/chartStyle" Target="style522.xml"/><Relationship Id="rId2" Type="http://schemas.microsoft.com/office/2011/relationships/chartColorStyle" Target="colors522.xml"/><Relationship Id="rId3" Type="http://schemas.openxmlformats.org/officeDocument/2006/relationships/package" Target="../embeddings/Microsoft_Excel_Worksheet1848.xlsx"/></Relationships>
</file>

<file path=ppt/charts/_rels/chart1854.xml.rels><?xml version='1.0' encoding='UTF-8' standalone='yes'?>
<Relationships xmlns="http://schemas.openxmlformats.org/package/2006/relationships"><Relationship Id="rId1" Type="http://schemas.microsoft.com/office/2011/relationships/chartStyle" Target="style527.xml"/><Relationship Id="rId2" Type="http://schemas.microsoft.com/office/2011/relationships/chartColorStyle" Target="colors527.xml"/><Relationship Id="rId3" Type="http://schemas.openxmlformats.org/officeDocument/2006/relationships/package" Target="../embeddings/Microsoft_Excel_Worksheet1853.xlsx"/></Relationships>
</file>

<file path=ppt/charts/_rels/chart1855.xml.rels><?xml version='1.0' encoding='UTF-8' standalone='yes'?>
<Relationships xmlns="http://schemas.openxmlformats.org/package/2006/relationships"><Relationship Id="rId1" Type="http://schemas.microsoft.com/office/2011/relationships/chartStyle" Target="style528.xml"/><Relationship Id="rId2" Type="http://schemas.microsoft.com/office/2011/relationships/chartColorStyle" Target="colors528.xml"/><Relationship Id="rId3" Type="http://schemas.openxmlformats.org/officeDocument/2006/relationships/package" Target="../embeddings/Microsoft_Excel_Worksheet1854.xlsx"/></Relationships>
</file>

<file path=ppt/charts/_rels/chart1856.xml.rels><?xml version='1.0' encoding='UTF-8' standalone='yes'?>
<Relationships xmlns="http://schemas.openxmlformats.org/package/2006/relationships"><Relationship Id="rId1" Type="http://schemas.microsoft.com/office/2011/relationships/chartStyle" Target="style529.xml"/><Relationship Id="rId2" Type="http://schemas.microsoft.com/office/2011/relationships/chartColorStyle" Target="colors529.xml"/><Relationship Id="rId3" Type="http://schemas.openxmlformats.org/officeDocument/2006/relationships/package" Target="../embeddings/Microsoft_Excel_Worksheet1855.xlsx"/></Relationships>
</file>

<file path=ppt/charts/_rels/chart1857.xml.rels><?xml version='1.0' encoding='UTF-8' standalone='yes'?>
<Relationships xmlns="http://schemas.openxmlformats.org/package/2006/relationships"><Relationship Id="rId1" Type="http://schemas.microsoft.com/office/2011/relationships/chartStyle" Target="style530.xml"/><Relationship Id="rId2" Type="http://schemas.microsoft.com/office/2011/relationships/chartColorStyle" Target="colors530.xml"/><Relationship Id="rId3" Type="http://schemas.openxmlformats.org/officeDocument/2006/relationships/package" Target="../embeddings/Microsoft_Excel_Worksheet1856.xlsx"/></Relationships>
</file>

<file path=ppt/charts/_rels/chart1882.xml.rels><?xml version='1.0' encoding='UTF-8' standalone='yes'?>
<Relationships xmlns="http://schemas.openxmlformats.org/package/2006/relationships"><Relationship Id="rId1" Type="http://schemas.microsoft.com/office/2011/relationships/chartStyle" Target="style555.xml"/><Relationship Id="rId2" Type="http://schemas.microsoft.com/office/2011/relationships/chartColorStyle" Target="colors555.xml"/><Relationship Id="rId3" Type="http://schemas.openxmlformats.org/officeDocument/2006/relationships/package" Target="../embeddings/Microsoft_Excel_Worksheet1881.xlsx"/></Relationships>
</file>

<file path=ppt/charts/_rels/chart1883.xml.rels><?xml version='1.0' encoding='UTF-8' standalone='yes'?>
<Relationships xmlns="http://schemas.openxmlformats.org/package/2006/relationships"><Relationship Id="rId1" Type="http://schemas.microsoft.com/office/2011/relationships/chartStyle" Target="style556.xml"/><Relationship Id="rId2" Type="http://schemas.microsoft.com/office/2011/relationships/chartColorStyle" Target="colors556.xml"/><Relationship Id="rId3" Type="http://schemas.openxmlformats.org/officeDocument/2006/relationships/package" Target="../embeddings/Microsoft_Excel_Worksheet1882.xlsx"/></Relationships>
</file>

<file path=ppt/charts/_rels/chart1884.xml.rels><?xml version='1.0' encoding='UTF-8' standalone='yes'?>
<Relationships xmlns="http://schemas.openxmlformats.org/package/2006/relationships"><Relationship Id="rId1" Type="http://schemas.microsoft.com/office/2011/relationships/chartStyle" Target="style557.xml"/><Relationship Id="rId2" Type="http://schemas.microsoft.com/office/2011/relationships/chartColorStyle" Target="colors557.xml"/><Relationship Id="rId3" Type="http://schemas.openxmlformats.org/officeDocument/2006/relationships/package" Target="../embeddings/Microsoft_Excel_Worksheet1883.xlsx"/></Relationships>
</file>

<file path=ppt/charts/_rels/chart1885.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1884.xlsx"/></Relationships>
</file>

<file path=ppt/charts/_rels/chart1890.xml.rels><?xml version='1.0' encoding='UTF-8' standalone='yes'?>
<Relationships xmlns="http://schemas.openxmlformats.org/package/2006/relationships"><Relationship Id="rId1" Type="http://schemas.microsoft.com/office/2011/relationships/chartStyle" Target="style563.xml"/><Relationship Id="rId2" Type="http://schemas.microsoft.com/office/2011/relationships/chartColorStyle" Target="colors563.xml"/><Relationship Id="rId3" Type="http://schemas.openxmlformats.org/officeDocument/2006/relationships/package" Target="../embeddings/Microsoft_Excel_Worksheet1889.xlsx"/></Relationships>
</file>

<file path=ppt/charts/_rels/chart1891.xml.rels><?xml version='1.0' encoding='UTF-8' standalone='yes'?>
<Relationships xmlns="http://schemas.openxmlformats.org/package/2006/relationships"><Relationship Id="rId1" Type="http://schemas.microsoft.com/office/2011/relationships/chartStyle" Target="style564.xml"/><Relationship Id="rId2" Type="http://schemas.microsoft.com/office/2011/relationships/chartColorStyle" Target="colors564.xml"/><Relationship Id="rId3" Type="http://schemas.openxmlformats.org/officeDocument/2006/relationships/package" Target="../embeddings/Microsoft_Excel_Worksheet1890.xlsx"/></Relationships>
</file>

<file path=ppt/charts/_rels/chart1892.xml.rels><?xml version='1.0' encoding='UTF-8' standalone='yes'?>
<Relationships xmlns="http://schemas.openxmlformats.org/package/2006/relationships"><Relationship Id="rId1" Type="http://schemas.microsoft.com/office/2011/relationships/chartStyle" Target="style565.xml"/><Relationship Id="rId2" Type="http://schemas.microsoft.com/office/2011/relationships/chartColorStyle" Target="colors565.xml"/><Relationship Id="rId3" Type="http://schemas.openxmlformats.org/officeDocument/2006/relationships/package" Target="../embeddings/Microsoft_Excel_Worksheet1891.xlsx"/></Relationships>
</file>

<file path=ppt/charts/_rels/chart1893.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1892.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14.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1913.xlsx"/></Relationships>
</file>

<file path=ppt/charts/_rels/chart1915.xml.rels><?xml version='1.0' encoding='UTF-8' standalone='yes'?>
<Relationships xmlns="http://schemas.openxmlformats.org/package/2006/relationships"><Relationship Id="rId1" Type="http://schemas.microsoft.com/office/2011/relationships/chartStyle" Target="style588.xml"/><Relationship Id="rId2" Type="http://schemas.microsoft.com/office/2011/relationships/chartColorStyle" Target="colors588.xml"/><Relationship Id="rId3" Type="http://schemas.openxmlformats.org/officeDocument/2006/relationships/package" Target="../embeddings/Microsoft_Excel_Worksheet1914.xlsx"/></Relationships>
</file>

<file path=ppt/charts/_rels/chart1916.xml.rels><?xml version='1.0' encoding='UTF-8' standalone='yes'?>
<Relationships xmlns="http://schemas.openxmlformats.org/package/2006/relationships"><Relationship Id="rId1" Type="http://schemas.microsoft.com/office/2011/relationships/chartStyle" Target="style589.xml"/><Relationship Id="rId2" Type="http://schemas.microsoft.com/office/2011/relationships/chartColorStyle" Target="colors589.xml"/><Relationship Id="rId3" Type="http://schemas.openxmlformats.org/officeDocument/2006/relationships/package" Target="../embeddings/Microsoft_Excel_Worksheet1915.xlsx"/></Relationships>
</file>

<file path=ppt/charts/_rels/chart1917.xml.rels><?xml version='1.0' encoding='UTF-8' standalone='yes'?>
<Relationships xmlns="http://schemas.openxmlformats.org/package/2006/relationships"><Relationship Id="rId1" Type="http://schemas.microsoft.com/office/2011/relationships/chartStyle" Target="style590.xml"/><Relationship Id="rId2" Type="http://schemas.microsoft.com/office/2011/relationships/chartColorStyle" Target="colors590.xml"/><Relationship Id="rId3" Type="http://schemas.openxmlformats.org/officeDocument/2006/relationships/package" Target="../embeddings/Microsoft_Excel_Worksheet1916.xlsx"/></Relationships>
</file>

<file path=ppt/charts/_rels/chart1942.xml.rels><?xml version='1.0' encoding='UTF-8' standalone='yes'?>
<Relationships xmlns="http://schemas.openxmlformats.org/package/2006/relationships"><Relationship Id="rId1" Type="http://schemas.microsoft.com/office/2011/relationships/chartStyle" Target="style615.xml"/><Relationship Id="rId2" Type="http://schemas.microsoft.com/office/2011/relationships/chartColorStyle" Target="colors615.xml"/><Relationship Id="rId3" Type="http://schemas.openxmlformats.org/officeDocument/2006/relationships/package" Target="../embeddings/Microsoft_Excel_Worksheet1941.xlsx"/></Relationships>
</file>

<file path=ppt/charts/_rels/chart1943.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1942.xlsx"/></Relationships>
</file>

<file path=ppt/charts/_rels/chart1952.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1951.xlsx"/></Relationships>
</file>

<file path=ppt/charts/_rels/chart1953.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1952.xlsx"/></Relationships>
</file>

<file path=ppt/charts/_rels/chart1954.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1953.xlsx"/></Relationships>
</file>

<file path=ppt/charts/_rels/chart1955.xml.rels><?xml version='1.0' encoding='UTF-8' standalone='yes'?>
<Relationships xmlns="http://schemas.openxmlformats.org/package/2006/relationships"><Relationship Id="rId1" Type="http://schemas.microsoft.com/office/2011/relationships/chartStyle" Target="style628.xml"/><Relationship Id="rId2" Type="http://schemas.microsoft.com/office/2011/relationships/chartColorStyle" Target="colors628.xml"/><Relationship Id="rId3" Type="http://schemas.openxmlformats.org/officeDocument/2006/relationships/package" Target="../embeddings/Microsoft_Excel_Worksheet1954.xlsx"/></Relationships>
</file>

<file path=ppt/charts/_rels/chart1958.xml.rels><?xml version='1.0' encoding='UTF-8' standalone='yes'?>
<Relationships xmlns="http://schemas.openxmlformats.org/package/2006/relationships"><Relationship Id="rId1" Type="http://schemas.microsoft.com/office/2011/relationships/chartStyle" Target="style631.xml"/><Relationship Id="rId2" Type="http://schemas.microsoft.com/office/2011/relationships/chartColorStyle" Target="colors631.xml"/><Relationship Id="rId3" Type="http://schemas.openxmlformats.org/officeDocument/2006/relationships/package" Target="../embeddings/Microsoft_Excel_Worksheet1957.xlsx"/></Relationships>
</file>

<file path=ppt/charts/_rels/chart1959.xml.rels><?xml version='1.0' encoding='UTF-8' standalone='yes'?>
<Relationships xmlns="http://schemas.openxmlformats.org/package/2006/relationships"><Relationship Id="rId1" Type="http://schemas.microsoft.com/office/2011/relationships/chartStyle" Target="style632.xml"/><Relationship Id="rId2" Type="http://schemas.microsoft.com/office/2011/relationships/chartColorStyle" Target="colors632.xml"/><Relationship Id="rId3" Type="http://schemas.openxmlformats.org/officeDocument/2006/relationships/package" Target="../embeddings/Microsoft_Excel_Worksheet1958.xlsx"/></Relationships>
</file>

<file path=ppt/charts/_rels/chart1966.xml.rels><?xml version='1.0' encoding='UTF-8' standalone='yes'?>
<Relationships xmlns="http://schemas.openxmlformats.org/package/2006/relationships"><Relationship Id="rId1" Type="http://schemas.microsoft.com/office/2011/relationships/chartStyle" Target="style639.xml"/><Relationship Id="rId2" Type="http://schemas.microsoft.com/office/2011/relationships/chartColorStyle" Target="colors639.xml"/><Relationship Id="rId3" Type="http://schemas.openxmlformats.org/officeDocument/2006/relationships/package" Target="../embeddings/Microsoft_Excel_Worksheet1965.xlsx"/></Relationships>
</file>

<file path=ppt/charts/_rels/chart1967.xml.rels><?xml version='1.0' encoding='UTF-8' standalone='yes'?>
<Relationships xmlns="http://schemas.openxmlformats.org/package/2006/relationships"><Relationship Id="rId1" Type="http://schemas.microsoft.com/office/2011/relationships/chartStyle" Target="style640.xml"/><Relationship Id="rId2" Type="http://schemas.microsoft.com/office/2011/relationships/chartColorStyle" Target="colors640.xml"/><Relationship Id="rId3" Type="http://schemas.openxmlformats.org/officeDocument/2006/relationships/package" Target="../embeddings/Microsoft_Excel_Worksheet1966.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70.xml.rels><?xml version='1.0' encoding='UTF-8' standalone='yes'?>
<Relationships xmlns="http://schemas.openxmlformats.org/package/2006/relationships"><Relationship Id="rId1" Type="http://schemas.microsoft.com/office/2011/relationships/chartStyle" Target="style643.xml"/><Relationship Id="rId2" Type="http://schemas.microsoft.com/office/2011/relationships/chartColorStyle" Target="colors643.xml"/><Relationship Id="rId3" Type="http://schemas.openxmlformats.org/officeDocument/2006/relationships/package" Target="../embeddings/Microsoft_Excel_Worksheet1969.xlsx"/></Relationships>
</file>

<file path=ppt/charts/_rels/chart1971.xml.rels><?xml version='1.0' encoding='UTF-8' standalone='yes'?>
<Relationships xmlns="http://schemas.openxmlformats.org/package/2006/relationships"><Relationship Id="rId1" Type="http://schemas.microsoft.com/office/2011/relationships/chartStyle" Target="style644.xml"/><Relationship Id="rId2" Type="http://schemas.microsoft.com/office/2011/relationships/chartColorStyle" Target="colors644.xml"/><Relationship Id="rId3" Type="http://schemas.openxmlformats.org/officeDocument/2006/relationships/package" Target="../embeddings/Microsoft_Excel_Worksheet1970.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1996.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199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00.xml.rels><?xml version='1.0' encoding='UTF-8' standalone='yes'?>
<Relationships xmlns="http://schemas.openxmlformats.org/package/2006/relationships"><Relationship Id="rId1" Type="http://schemas.microsoft.com/office/2011/relationships/chartStyle" Target="style673.xml"/><Relationship Id="rId2" Type="http://schemas.microsoft.com/office/2011/relationships/chartColorStyle" Target="colors673.xml"/><Relationship Id="rId3" Type="http://schemas.openxmlformats.org/officeDocument/2006/relationships/package" Target="../embeddings/Microsoft_Excel_Worksheet1999.xlsx"/></Relationships>
</file>

<file path=ppt/charts/_rels/chart2001.xml.rels><?xml version='1.0' encoding='UTF-8' standalone='yes'?>
<Relationships xmlns="http://schemas.openxmlformats.org/package/2006/relationships"><Relationship Id="rId1" Type="http://schemas.microsoft.com/office/2011/relationships/chartStyle" Target="style674.xml"/><Relationship Id="rId2" Type="http://schemas.microsoft.com/office/2011/relationships/chartColorStyle" Target="colors674.xml"/><Relationship Id="rId3" Type="http://schemas.openxmlformats.org/officeDocument/2006/relationships/package" Target="../embeddings/Microsoft_Excel_Worksheet2000.xlsx"/></Relationships>
</file>

<file path=ppt/charts/_rels/chart2011.xml.rels><?xml version='1.0' encoding='UTF-8' standalone='yes'?>
<Relationships xmlns="http://schemas.openxmlformats.org/package/2006/relationships"><Relationship Id="rId1" Type="http://schemas.openxmlformats.org/officeDocument/2006/relationships/package" Target="../embeddings/Microsoft_Excel_Worksheet2010.xlsx"/></Relationships>
</file>

<file path=ppt/charts/_rels/chart2017.xml.rels><?xml version='1.0' encoding='UTF-8' standalone='yes'?>
<Relationships xmlns="http://schemas.openxmlformats.org/package/2006/relationships"><Relationship Id="rId1" Type="http://schemas.openxmlformats.org/officeDocument/2006/relationships/package" Target="../embeddings/Microsoft_Excel_Worksheet2016.xlsx"/></Relationships>
</file>

<file path=ppt/charts/_rels/chart2019.xml.rels><?xml version='1.0' encoding='UTF-8' standalone='yes'?>
<Relationships xmlns="http://schemas.openxmlformats.org/package/2006/relationships"><Relationship Id="rId1" Type="http://schemas.openxmlformats.org/officeDocument/2006/relationships/package" Target="../embeddings/Microsoft_Excel_Worksheet2018.xlsx"/></Relationships>
</file>

<file path=ppt/charts/_rels/chart2025.xml.rels><?xml version='1.0' encoding='UTF-8' standalone='yes'?>
<Relationships xmlns="http://schemas.openxmlformats.org/package/2006/relationships"><Relationship Id="rId1" Type="http://schemas.openxmlformats.org/officeDocument/2006/relationships/package" Target="../embeddings/Microsoft_Excel_Worksheet2024.xlsx"/></Relationships>
</file>

<file path=ppt/charts/_rels/chart2026.xml.rels><?xml version='1.0' encoding='UTF-8' standalone='yes'?>
<Relationships xmlns="http://schemas.openxmlformats.org/package/2006/relationships"><Relationship Id="rId1" Type="http://schemas.openxmlformats.org/officeDocument/2006/relationships/package" Target="../embeddings/Microsoft_Excel_Worksheet2025.xlsx"/></Relationships>
</file>

<file path=ppt/charts/_rels/chart2027.xml.rels><?xml version='1.0' encoding='UTF-8' standalone='yes'?>
<Relationships xmlns="http://schemas.openxmlformats.org/package/2006/relationships"><Relationship Id="rId1" Type="http://schemas.openxmlformats.org/officeDocument/2006/relationships/package" Target="../embeddings/Microsoft_Excel_Worksheet2026.xlsx"/></Relationships>
</file>

<file path=ppt/charts/_rels/chart2028.xml.rels><?xml version='1.0' encoding='UTF-8' standalone='yes'?>
<Relationships xmlns="http://schemas.openxmlformats.org/package/2006/relationships"><Relationship Id="rId1" Type="http://schemas.openxmlformats.org/officeDocument/2006/relationships/package" Target="../embeddings/Microsoft_Excel_Worksheet2027.xlsx"/></Relationships>
</file>

<file path=ppt/charts/_rels/chart2044.xml.rels><?xml version='1.0' encoding='UTF-8' standalone='yes'?>
<Relationships xmlns="http://schemas.openxmlformats.org/package/2006/relationships"><Relationship Id="rId1" Type="http://schemas.openxmlformats.org/officeDocument/2006/relationships/package" Target="../embeddings/Microsoft_Excel_Worksheet2043.xlsx"/></Relationships>
</file>

<file path=ppt/charts/_rels/chart2045.xml.rels><?xml version='1.0' encoding='UTF-8' standalone='yes'?>
<Relationships xmlns="http://schemas.openxmlformats.org/package/2006/relationships"><Relationship Id="rId1" Type="http://schemas.openxmlformats.org/officeDocument/2006/relationships/package" Target="../embeddings/Microsoft_Excel_Worksheet2044.xlsx"/></Relationships>
</file>

<file path=ppt/charts/_rels/chart2046.xml.rels><?xml version='1.0' encoding='UTF-8' standalone='yes'?>
<Relationships xmlns="http://schemas.openxmlformats.org/package/2006/relationships"><Relationship Id="rId1" Type="http://schemas.openxmlformats.org/officeDocument/2006/relationships/package" Target="../embeddings/Microsoft_Excel_Worksheet2045.xlsx"/></Relationships>
</file>

<file path=ppt/charts/_rels/chart2050.xml.rels><?xml version='1.0' encoding='UTF-8' standalone='yes'?>
<Relationships xmlns="http://schemas.openxmlformats.org/package/2006/relationships"><Relationship Id="rId1" Type="http://schemas.openxmlformats.org/officeDocument/2006/relationships/package" Target="../embeddings/Microsoft_Excel_Worksheet2049.xlsx"/></Relationships>
</file>

<file path=ppt/charts/_rels/chart2051.xml.rels><?xml version='1.0' encoding='UTF-8' standalone='yes'?>
<Relationships xmlns="http://schemas.openxmlformats.org/package/2006/relationships"><Relationship Id="rId1"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openxmlformats.org/officeDocument/2006/relationships/package" Target="../embeddings/Microsoft_Excel_Worksheet2051.xlsx"/></Relationships>
</file>

<file path=ppt/charts/_rels/chart2068.xml.rels><?xml version='1.0' encoding='UTF-8' standalone='yes'?>
<Relationships xmlns="http://schemas.openxmlformats.org/package/2006/relationships"><Relationship Id="rId1" Type="http://schemas.openxmlformats.org/officeDocument/2006/relationships/package" Target="../embeddings/Microsoft_Excel_Worksheet2067.xlsx"/></Relationships>
</file>

<file path=ppt/charts/_rels/chart2069.xml.rels><?xml version='1.0' encoding='UTF-8' standalone='yes'?>
<Relationships xmlns="http://schemas.openxmlformats.org/package/2006/relationships"><Relationship Id="rId1" Type="http://schemas.openxmlformats.org/officeDocument/2006/relationships/package" Target="../embeddings/Microsoft_Excel_Worksheet2068.xlsx"/></Relationships>
</file>

<file path=ppt/charts/_rels/chart2070.xml.rels><?xml version='1.0' encoding='UTF-8' standalone='yes'?>
<Relationships xmlns="http://schemas.openxmlformats.org/package/2006/relationships"><Relationship Id="rId1" Type="http://schemas.openxmlformats.org/officeDocument/2006/relationships/package" Target="../embeddings/Microsoft_Excel_Worksheet206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10.xml.rels><?xml version='1.0' encoding='UTF-8' standalone='yes'?>
<Relationships xmlns="http://schemas.openxmlformats.org/package/2006/relationships"><Relationship Id="rId1" Type="http://schemas.openxmlformats.org/officeDocument/2006/relationships/package" Target="../embeddings/Microsoft_Excel_Worksheet2109.xlsx"/></Relationships>
</file>

<file path=ppt/charts/_rels/chart2111.xml.rels><?xml version='1.0' encoding='UTF-8' standalone='yes'?>
<Relationships xmlns="http://schemas.openxmlformats.org/package/2006/relationships"><Relationship Id="rId1" Type="http://schemas.openxmlformats.org/officeDocument/2006/relationships/package" Target="../embeddings/Microsoft_Excel_Worksheet2110.xlsx"/></Relationships>
</file>

<file path=ppt/charts/_rels/chart2112.xml.rels><?xml version='1.0' encoding='UTF-8' standalone='yes'?>
<Relationships xmlns="http://schemas.openxmlformats.org/package/2006/relationships"><Relationship Id="rId1" Type="http://schemas.openxmlformats.org/officeDocument/2006/relationships/package" Target="../embeddings/Microsoft_Excel_Worksheet2111.xlsx"/></Relationships>
</file>

<file path=ppt/charts/_rels/chart2113.xml.rels><?xml version='1.0' encoding='UTF-8' standalone='yes'?>
<Relationships xmlns="http://schemas.openxmlformats.org/package/2006/relationships"><Relationship Id="rId1" Type="http://schemas.openxmlformats.org/officeDocument/2006/relationships/package" Target="../embeddings/Microsoft_Excel_Worksheet2112.xlsx"/></Relationships>
</file>

<file path=ppt/charts/_rels/chart2114.xml.rels><?xml version='1.0' encoding='UTF-8' standalone='yes'?>
<Relationships xmlns="http://schemas.openxmlformats.org/package/2006/relationships"><Relationship Id="rId1" Type="http://schemas.openxmlformats.org/officeDocument/2006/relationships/package" Target="../embeddings/Microsoft_Excel_Worksheet2113.xlsx"/></Relationships>
</file>

<file path=ppt/charts/_rels/chart2115.xml.rels><?xml version='1.0' encoding='UTF-8' standalone='yes'?>
<Relationships xmlns="http://schemas.openxmlformats.org/package/2006/relationships"><Relationship Id="rId1" Type="http://schemas.openxmlformats.org/officeDocument/2006/relationships/package" Target="../embeddings/Microsoft_Excel_Worksheet2114.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46.xml.rels><?xml version='1.0' encoding='UTF-8' standalone='yes'?>
<Relationships xmlns="http://schemas.openxmlformats.org/package/2006/relationships"><Relationship Id="rId1" Type="http://schemas.openxmlformats.org/officeDocument/2006/relationships/package" Target="../embeddings/Microsoft_Excel_Worksheet2145.xlsx"/></Relationships>
</file>

<file path=ppt/charts/_rels/chart2147.xml.rels><?xml version='1.0' encoding='UTF-8' standalone='yes'?>
<Relationships xmlns="http://schemas.openxmlformats.org/package/2006/relationships"><Relationship Id="rId1" Type="http://schemas.openxmlformats.org/officeDocument/2006/relationships/package" Target="../embeddings/Microsoft_Excel_Worksheet2146.xlsx"/></Relationships>
</file>

<file path=ppt/charts/_rels/chart2148.xml.rels><?xml version='1.0' encoding='UTF-8' standalone='yes'?>
<Relationships xmlns="http://schemas.openxmlformats.org/package/2006/relationships"><Relationship Id="rId1" Type="http://schemas.openxmlformats.org/officeDocument/2006/relationships/package" Target="../embeddings/Microsoft_Excel_Worksheet2147.xlsx"/></Relationships>
</file>

<file path=ppt/charts/_rels/chart2149.xml.rels><?xml version='1.0' encoding='UTF-8' standalone='yes'?>
<Relationships xmlns="http://schemas.openxmlformats.org/package/2006/relationships"><Relationship Id="rId1" Type="http://schemas.openxmlformats.org/officeDocument/2006/relationships/package" Target="../embeddings/Microsoft_Excel_Worksheet2148.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0.xml.rels><?xml version='1.0' encoding='UTF-8' standalone='yes'?>
<Relationships xmlns="http://schemas.openxmlformats.org/package/2006/relationships"><Relationship Id="rId1" Type="http://schemas.openxmlformats.org/officeDocument/2006/relationships/package" Target="../embeddings/Microsoft_Excel_Worksheet2149.xlsx"/></Relationships>
</file>

<file path=ppt/charts/_rels/chart2151.xml.rels><?xml version='1.0' encoding='UTF-8' standalone='yes'?>
<Relationships xmlns="http://schemas.openxmlformats.org/package/2006/relationships"><Relationship Id="rId1" Type="http://schemas.openxmlformats.org/officeDocument/2006/relationships/package" Target="../embeddings/Microsoft_Excel_Worksheet2150.xlsx"/></Relationships>
</file>

<file path=ppt/charts/_rels/chart2152.xml.rels><?xml version='1.0' encoding='UTF-8' standalone='yes'?>
<Relationships xmlns="http://schemas.openxmlformats.org/package/2006/relationships"><Relationship Id="rId1" Type="http://schemas.openxmlformats.org/officeDocument/2006/relationships/package" Target="../embeddings/Microsoft_Excel_Worksheet2151.xlsx"/></Relationships>
</file>

<file path=ppt/charts/_rels/chart2153.xml.rels><?xml version='1.0' encoding='UTF-8' standalone='yes'?>
<Relationships xmlns="http://schemas.openxmlformats.org/package/2006/relationships"><Relationship Id="rId1" Type="http://schemas.openxmlformats.org/officeDocument/2006/relationships/package" Target="../embeddings/Microsoft_Excel_Worksheet2152.xlsx"/></Relationships>
</file>

<file path=ppt/charts/_rels/chart2154.xml.rels><?xml version='1.0' encoding='UTF-8' standalone='yes'?>
<Relationships xmlns="http://schemas.openxmlformats.org/package/2006/relationships"><Relationship Id="rId1" Type="http://schemas.openxmlformats.org/officeDocument/2006/relationships/package" Target="../embeddings/Microsoft_Excel_Worksheet2153.xlsx"/></Relationships>
</file>

<file path=ppt/charts/_rels/chart2155.xml.rels><?xml version='1.0' encoding='UTF-8' standalone='yes'?>
<Relationships xmlns="http://schemas.openxmlformats.org/package/2006/relationships"><Relationship Id="rId1"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openxmlformats.org/officeDocument/2006/relationships/package" Target="../embeddings/Microsoft_Excel_Worksheet2155.xlsx"/></Relationships>
</file>

<file path=ppt/charts/_rels/chart2157.xml.rels><?xml version='1.0' encoding='UTF-8' standalone='yes'?>
<Relationships xmlns="http://schemas.openxmlformats.org/package/2006/relationships"><Relationship Id="rId1" Type="http://schemas.openxmlformats.org/officeDocument/2006/relationships/package" Target="../embeddings/Microsoft_Excel_Worksheet2156.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64.xml.rels><?xml version='1.0' encoding='UTF-8' standalone='yes'?>
<Relationships xmlns="http://schemas.openxmlformats.org/package/2006/relationships"><Relationship Id="rId1" Type="http://schemas.openxmlformats.org/officeDocument/2006/relationships/package" Target="../embeddings/Microsoft_Excel_Worksheet2163.xlsx"/></Relationships>
</file>

<file path=ppt/charts/_rels/chart2165.xml.rels><?xml version='1.0' encoding='UTF-8' standalone='yes'?>
<Relationships xmlns="http://schemas.openxmlformats.org/package/2006/relationships"><Relationship Id="rId1" Type="http://schemas.openxmlformats.org/officeDocument/2006/relationships/package" Target="../embeddings/Microsoft_Excel_Worksheet2164.xlsx"/></Relationships>
</file>

<file path=ppt/charts/_rels/chart2166.xml.rels><?xml version='1.0' encoding='UTF-8' standalone='yes'?>
<Relationships xmlns="http://schemas.openxmlformats.org/package/2006/relationships"><Relationship Id="rId1" Type="http://schemas.openxmlformats.org/officeDocument/2006/relationships/package" Target="../embeddings/Microsoft_Excel_Worksheet2165.xlsx"/></Relationships>
</file>

<file path=ppt/charts/_rels/chart2167.xml.rels><?xml version='1.0' encoding='UTF-8' standalone='yes'?>
<Relationships xmlns="http://schemas.openxmlformats.org/package/2006/relationships"><Relationship Id="rId1" Type="http://schemas.openxmlformats.org/officeDocument/2006/relationships/package" Target="../embeddings/Microsoft_Excel_Worksheet2166.xlsx"/></Relationships>
</file>

<file path=ppt/charts/_rels/chart2168.xml.rels><?xml version='1.0' encoding='UTF-8' standalone='yes'?>
<Relationships xmlns="http://schemas.openxmlformats.org/package/2006/relationships"><Relationship Id="rId1" Type="http://schemas.openxmlformats.org/officeDocument/2006/relationships/package" Target="../embeddings/Microsoft_Excel_Worksheet2167.xlsx"/></Relationships>
</file>

<file path=ppt/charts/_rels/chart2169.xml.rels><?xml version='1.0' encoding='UTF-8' standalone='yes'?>
<Relationships xmlns="http://schemas.openxmlformats.org/package/2006/relationships"><Relationship Id="rId1" Type="http://schemas.openxmlformats.org/officeDocument/2006/relationships/package" Target="../embeddings/Microsoft_Excel_Worksheet2168.xlsx"/></Relationships>
</file>

<file path=ppt/charts/_rels/chart2200.xml.rels><?xml version='1.0' encoding='UTF-8' standalone='yes'?>
<Relationships xmlns="http://schemas.openxmlformats.org/package/2006/relationships"><Relationship Id="rId1" Type="http://schemas.openxmlformats.org/officeDocument/2006/relationships/package" Target="../embeddings/Microsoft_Excel_Worksheet2199.xlsx"/></Relationships>
</file>

<file path=ppt/charts/_rels/chart2201.xml.rels><?xml version='1.0' encoding='UTF-8' standalone='yes'?>
<Relationships xmlns="http://schemas.openxmlformats.org/package/2006/relationships"><Relationship Id="rId1" Type="http://schemas.openxmlformats.org/officeDocument/2006/relationships/package" Target="../embeddings/Microsoft_Excel_Worksheet2200.xlsx"/></Relationships>
</file>

<file path=ppt/charts/_rels/chart2202.xml.rels><?xml version='1.0' encoding='UTF-8' standalone='yes'?>
<Relationships xmlns="http://schemas.openxmlformats.org/package/2006/relationships"><Relationship Id="rId1" Type="http://schemas.openxmlformats.org/officeDocument/2006/relationships/package" Target="../embeddings/Microsoft_Excel_Worksheet2201.xlsx"/></Relationships>
</file>

<file path=ppt/charts/_rels/chart2203.xml.rels><?xml version='1.0' encoding='UTF-8' standalone='yes'?>
<Relationships xmlns="http://schemas.openxmlformats.org/package/2006/relationships"><Relationship Id="rId1" Type="http://schemas.openxmlformats.org/officeDocument/2006/relationships/package" Target="../embeddings/Microsoft_Excel_Worksheet2202.xlsx"/></Relationships>
</file>

<file path=ppt/charts/_rels/chart2204.xml.rels><?xml version='1.0' encoding='UTF-8' standalone='yes'?>
<Relationships xmlns="http://schemas.openxmlformats.org/package/2006/relationships"><Relationship Id="rId1" Type="http://schemas.openxmlformats.org/officeDocument/2006/relationships/package" Target="../embeddings/Microsoft_Excel_Worksheet2203.xlsx"/></Relationships>
</file>

<file path=ppt/charts/_rels/chart2210.xml.rels><?xml version='1.0' encoding='UTF-8' standalone='yes'?>
<Relationships xmlns="http://schemas.openxmlformats.org/package/2006/relationships"><Relationship Id="rId1" Type="http://schemas.openxmlformats.org/officeDocument/2006/relationships/package" Target="../embeddings/Microsoft_Excel_Worksheet2209.xlsx"/></Relationships>
</file>

<file path=ppt/charts/_rels/chart2211.xml.rels><?xml version='1.0' encoding='UTF-8' standalone='yes'?>
<Relationships xmlns="http://schemas.openxmlformats.org/package/2006/relationships"><Relationship Id="rId1" Type="http://schemas.openxmlformats.org/officeDocument/2006/relationships/package" Target="../embeddings/Microsoft_Excel_Worksheet2210.xlsx"/></Relationships>
</file>

<file path=ppt/charts/_rels/chart2212.xml.rels><?xml version='1.0' encoding='UTF-8' standalone='yes'?>
<Relationships xmlns="http://schemas.openxmlformats.org/package/2006/relationships"><Relationship Id="rId1" Type="http://schemas.openxmlformats.org/officeDocument/2006/relationships/package" Target="../embeddings/Microsoft_Excel_Worksheet2211.xlsx"/></Relationships>
</file>

<file path=ppt/charts/_rels/chart2213.xml.rels><?xml version='1.0' encoding='UTF-8' standalone='yes'?>
<Relationships xmlns="http://schemas.openxmlformats.org/package/2006/relationships"><Relationship Id="rId1" Type="http://schemas.openxmlformats.org/officeDocument/2006/relationships/package" Target="../embeddings/Microsoft_Excel_Worksheet2212.xlsx"/></Relationships>
</file>

<file path=ppt/charts/_rels/chart2214.xml.rels><?xml version='1.0' encoding='UTF-8' standalone='yes'?>
<Relationships xmlns="http://schemas.openxmlformats.org/package/2006/relationships"><Relationship Id="rId1" Type="http://schemas.openxmlformats.org/officeDocument/2006/relationships/package" Target="../embeddings/Microsoft_Excel_Worksheet2213.xlsx"/></Relationships>
</file>

<file path=ppt/charts/_rels/chart2230.xml.rels><?xml version='1.0' encoding='UTF-8' standalone='yes'?>
<Relationships xmlns="http://schemas.openxmlformats.org/package/2006/relationships"><Relationship Id="rId1" Type="http://schemas.openxmlformats.org/officeDocument/2006/relationships/package" Target="../embeddings/Microsoft_Excel_Worksheet2229.xlsx"/></Relationships>
</file>

<file path=ppt/charts/_rels/chart2231.xml.rels><?xml version='1.0' encoding='UTF-8' standalone='yes'?>
<Relationships xmlns="http://schemas.openxmlformats.org/package/2006/relationships"><Relationship Id="rId1" Type="http://schemas.openxmlformats.org/officeDocument/2006/relationships/package" Target="../embeddings/Microsoft_Excel_Worksheet2230.xlsx"/></Relationships>
</file>

<file path=ppt/charts/_rels/chart2232.xml.rels><?xml version='1.0' encoding='UTF-8' standalone='yes'?>
<Relationships xmlns="http://schemas.openxmlformats.org/package/2006/relationships"><Relationship Id="rId1" Type="http://schemas.openxmlformats.org/officeDocument/2006/relationships/package" Target="../embeddings/Microsoft_Excel_Worksheet2231.xlsx"/></Relationships>
</file>

<file path=ppt/charts/_rels/chart2233.xml.rels><?xml version='1.0' encoding='UTF-8' standalone='yes'?>
<Relationships xmlns="http://schemas.openxmlformats.org/package/2006/relationships"><Relationship Id="rId1" Type="http://schemas.openxmlformats.org/officeDocument/2006/relationships/package" Target="../embeddings/Microsoft_Excel_Worksheet2232.xlsx"/></Relationships>
</file>

<file path=ppt/charts/_rels/chart2234.xml.rels><?xml version='1.0' encoding='UTF-8' standalone='yes'?>
<Relationships xmlns="http://schemas.openxmlformats.org/package/2006/relationships"><Relationship Id="rId1" Type="http://schemas.openxmlformats.org/officeDocument/2006/relationships/package" Target="../embeddings/Microsoft_Excel_Worksheet2233.xlsx"/></Relationships>
</file>

<file path=ppt/charts/_rels/chart2240.xml.rels><?xml version='1.0' encoding='UTF-8' standalone='yes'?>
<Relationships xmlns="http://schemas.openxmlformats.org/package/2006/relationships"><Relationship Id="rId1" Type="http://schemas.openxmlformats.org/officeDocument/2006/relationships/package" Target="../embeddings/Microsoft_Excel_Worksheet2239.xlsx"/></Relationships>
</file>

<file path=ppt/charts/_rels/chart2241.xml.rels><?xml version='1.0' encoding='UTF-8' standalone='yes'?>
<Relationships xmlns="http://schemas.openxmlformats.org/package/2006/relationships"><Relationship Id="rId1" Type="http://schemas.openxmlformats.org/officeDocument/2006/relationships/package" Target="../embeddings/Microsoft_Excel_Worksheet2240.xlsx"/></Relationships>
</file>

<file path=ppt/charts/_rels/chart2242.xml.rels><?xml version='1.0' encoding='UTF-8' standalone='yes'?>
<Relationships xmlns="http://schemas.openxmlformats.org/package/2006/relationships"><Relationship Id="rId1" Type="http://schemas.openxmlformats.org/officeDocument/2006/relationships/package" Target="../embeddings/Microsoft_Excel_Worksheet2241.xlsx"/></Relationships>
</file>

<file path=ppt/charts/_rels/chart2243.xml.rels><?xml version='1.0' encoding='UTF-8' standalone='yes'?>
<Relationships xmlns="http://schemas.openxmlformats.org/package/2006/relationships"><Relationship Id="rId1" Type="http://schemas.openxmlformats.org/officeDocument/2006/relationships/package" Target="../embeddings/Microsoft_Excel_Worksheet2242.xlsx"/></Relationships>
</file>

<file path=ppt/charts/_rels/chart2244.xml.rels><?xml version='1.0' encoding='UTF-8' standalone='yes'?>
<Relationships xmlns="http://schemas.openxmlformats.org/package/2006/relationships"><Relationship Id="rId1" Type="http://schemas.openxmlformats.org/officeDocument/2006/relationships/package" Target="../embeddings/Microsoft_Excel_Worksheet2243.xlsx"/></Relationships>
</file>

<file path=ppt/charts/_rels/chart2260.xml.rels><?xml version='1.0' encoding='UTF-8' standalone='yes'?>
<Relationships xmlns="http://schemas.openxmlformats.org/package/2006/relationships"><Relationship Id="rId1" Type="http://schemas.microsoft.com/office/2011/relationships/chartStyle" Target="style693.xml"/><Relationship Id="rId2" Type="http://schemas.microsoft.com/office/2011/relationships/chartColorStyle" Target="colors693.xml"/><Relationship Id="rId3" Type="http://schemas.openxmlformats.org/officeDocument/2006/relationships/package" Target="../embeddings/Microsoft_Excel_Worksheet2259.xlsx"/></Relationships>
</file>

<file path=ppt/charts/_rels/chart2289.xml.rels><?xml version='1.0' encoding='UTF-8' standalone='yes'?>
<Relationships xmlns="http://schemas.openxmlformats.org/package/2006/relationships"><Relationship Id="rId1" Type="http://schemas.microsoft.com/office/2011/relationships/chartStyle" Target="style722.xml"/><Relationship Id="rId2" Type="http://schemas.microsoft.com/office/2011/relationships/chartColorStyle" Target="colors722.xml"/><Relationship Id="rId3" Type="http://schemas.openxmlformats.org/officeDocument/2006/relationships/package" Target="../embeddings/Microsoft_Excel_Worksheet2288.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290.xml.rels><?xml version='1.0' encoding='UTF-8' standalone='yes'?>
<Relationships xmlns="http://schemas.openxmlformats.org/package/2006/relationships"><Relationship Id="rId1" Type="http://schemas.microsoft.com/office/2011/relationships/chartStyle" Target="style723.xml"/><Relationship Id="rId2" Type="http://schemas.microsoft.com/office/2011/relationships/chartColorStyle" Target="colors723.xml"/><Relationship Id="rId3" Type="http://schemas.openxmlformats.org/officeDocument/2006/relationships/package" Target="../embeddings/Microsoft_Excel_Worksheet2289.xlsx"/></Relationships>
</file>

<file path=ppt/charts/_rels/chart2291.xml.rels><?xml version='1.0' encoding='UTF-8' standalone='yes'?>
<Relationships xmlns="http://schemas.openxmlformats.org/package/2006/relationships"><Relationship Id="rId1" Type="http://schemas.microsoft.com/office/2011/relationships/chartStyle" Target="style724.xml"/><Relationship Id="rId2" Type="http://schemas.microsoft.com/office/2011/relationships/chartColorStyle" Target="colors724.xml"/><Relationship Id="rId3" Type="http://schemas.openxmlformats.org/officeDocument/2006/relationships/package" Target="../embeddings/Microsoft_Excel_Worksheet2290.xlsx"/></Relationships>
</file>

<file path=ppt/charts/_rels/chart2292.xml.rels><?xml version='1.0' encoding='UTF-8' standalone='yes'?>
<Relationships xmlns="http://schemas.openxmlformats.org/package/2006/relationships"><Relationship Id="rId1" Type="http://schemas.microsoft.com/office/2011/relationships/chartStyle" Target="style725.xml"/><Relationship Id="rId2" Type="http://schemas.microsoft.com/office/2011/relationships/chartColorStyle" Target="colors725.xml"/><Relationship Id="rId3" Type="http://schemas.openxmlformats.org/officeDocument/2006/relationships/package" Target="../embeddings/Microsoft_Excel_Worksheet2291.xlsx"/></Relationships>
</file>

<file path=ppt/charts/_rels/chart2293.xml.rels><?xml version='1.0' encoding='UTF-8' standalone='yes'?>
<Relationships xmlns="http://schemas.openxmlformats.org/package/2006/relationships"><Relationship Id="rId1" Type="http://schemas.microsoft.com/office/2011/relationships/chartStyle" Target="style726.xml"/><Relationship Id="rId2" Type="http://schemas.microsoft.com/office/2011/relationships/chartColorStyle" Target="colors726.xml"/><Relationship Id="rId3" Type="http://schemas.openxmlformats.org/officeDocument/2006/relationships/package" Target="../embeddings/Microsoft_Excel_Worksheet2292.xlsx"/></Relationships>
</file>

<file path=ppt/charts/_rels/chart2295.xml.rels><?xml version='1.0' encoding='UTF-8' standalone='yes'?>
<Relationships xmlns="http://schemas.openxmlformats.org/package/2006/relationships"><Relationship Id="rId1" Type="http://schemas.microsoft.com/office/2011/relationships/chartStyle" Target="style728.xml"/><Relationship Id="rId2" Type="http://schemas.microsoft.com/office/2011/relationships/chartColorStyle" Target="colors728.xml"/><Relationship Id="rId3" Type="http://schemas.openxmlformats.org/officeDocument/2006/relationships/package" Target="../embeddings/Microsoft_Excel_Worksheet2294.xlsx"/></Relationships>
</file>

<file path=ppt/charts/_rels/chart2296.xml.rels><?xml version='1.0' encoding='UTF-8' standalone='yes'?>
<Relationships xmlns="http://schemas.openxmlformats.org/package/2006/relationships"><Relationship Id="rId1" Type="http://schemas.microsoft.com/office/2011/relationships/chartStyle" Target="style729.xml"/><Relationship Id="rId2" Type="http://schemas.microsoft.com/office/2011/relationships/chartColorStyle" Target="colors729.xml"/><Relationship Id="rId3" Type="http://schemas.openxmlformats.org/officeDocument/2006/relationships/package" Target="../embeddings/Microsoft_Excel_Worksheet2295.xlsx"/></Relationships>
</file>

<file path=ppt/charts/_rels/chart2297.xml.rels><?xml version='1.0' encoding='UTF-8' standalone='yes'?>
<Relationships xmlns="http://schemas.openxmlformats.org/package/2006/relationships"><Relationship Id="rId1" Type="http://schemas.microsoft.com/office/2011/relationships/chartStyle" Target="style730.xml"/><Relationship Id="rId2" Type="http://schemas.microsoft.com/office/2011/relationships/chartColorStyle" Target="colors730.xml"/><Relationship Id="rId3" Type="http://schemas.openxmlformats.org/officeDocument/2006/relationships/package" Target="../embeddings/Microsoft_Excel_Worksheet2296.xlsx"/></Relationships>
</file>

<file path=ppt/charts/_rels/chart2298.xml.rels><?xml version='1.0' encoding='UTF-8' standalone='yes'?>
<Relationships xmlns="http://schemas.openxmlformats.org/package/2006/relationships"><Relationship Id="rId1" Type="http://schemas.microsoft.com/office/2011/relationships/chartStyle" Target="style731.xml"/><Relationship Id="rId2" Type="http://schemas.microsoft.com/office/2011/relationships/chartColorStyle" Target="colors731.xml"/><Relationship Id="rId3" Type="http://schemas.openxmlformats.org/officeDocument/2006/relationships/package" Target="../embeddings/Microsoft_Excel_Worksheet2297.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05.xml.rels><?xml version='1.0' encoding='UTF-8' standalone='yes'?>
<Relationships xmlns="http://schemas.openxmlformats.org/package/2006/relationships"><Relationship Id="rId1" Type="http://schemas.microsoft.com/office/2011/relationships/chartStyle" Target="style738.xml"/><Relationship Id="rId2" Type="http://schemas.microsoft.com/office/2011/relationships/chartColorStyle" Target="colors738.xml"/><Relationship Id="rId3" Type="http://schemas.openxmlformats.org/officeDocument/2006/relationships/package" Target="../embeddings/Microsoft_Excel_Worksheet2304.xlsx"/></Relationships>
</file>

<file path=ppt/charts/_rels/chart2310.xml.rels><?xml version='1.0' encoding='UTF-8' standalone='yes'?>
<Relationships xmlns="http://schemas.openxmlformats.org/package/2006/relationships"><Relationship Id="rId1" Type="http://schemas.microsoft.com/office/2011/relationships/chartStyle" Target="style743.xml"/><Relationship Id="rId2" Type="http://schemas.microsoft.com/office/2011/relationships/chartColorStyle" Target="colors743.xml"/><Relationship Id="rId3" Type="http://schemas.openxmlformats.org/officeDocument/2006/relationships/package" Target="../embeddings/Microsoft_Excel_Worksheet2309.xlsx"/></Relationships>
</file>

<file path=ppt/charts/_rels/chart2322.xml.rels><?xml version='1.0' encoding='UTF-8' standalone='yes'?>
<Relationships xmlns="http://schemas.openxmlformats.org/package/2006/relationships"><Relationship Id="rId1" Type="http://schemas.microsoft.com/office/2011/relationships/chartStyle" Target="style755.xml"/><Relationship Id="rId2" Type="http://schemas.microsoft.com/office/2011/relationships/chartColorStyle" Target="colors755.xml"/><Relationship Id="rId3" Type="http://schemas.openxmlformats.org/officeDocument/2006/relationships/package" Target="../embeddings/Microsoft_Excel_Worksheet2321.xlsx"/></Relationships>
</file>

<file path=ppt/charts/_rels/chart2323.xml.rels><?xml version='1.0' encoding='UTF-8' standalone='yes'?>
<Relationships xmlns="http://schemas.openxmlformats.org/package/2006/relationships"><Relationship Id="rId1" Type="http://schemas.microsoft.com/office/2011/relationships/chartStyle" Target="style756.xml"/><Relationship Id="rId2" Type="http://schemas.microsoft.com/office/2011/relationships/chartColorStyle" Target="colors756.xml"/><Relationship Id="rId3" Type="http://schemas.openxmlformats.org/officeDocument/2006/relationships/package" Target="../embeddings/Microsoft_Excel_Worksheet2322.xlsx"/></Relationships>
</file>

<file path=ppt/charts/_rels/chart2324.xml.rels><?xml version='1.0' encoding='UTF-8' standalone='yes'?>
<Relationships xmlns="http://schemas.openxmlformats.org/package/2006/relationships"><Relationship Id="rId1" Type="http://schemas.microsoft.com/office/2011/relationships/chartStyle" Target="style757.xml"/><Relationship Id="rId2" Type="http://schemas.microsoft.com/office/2011/relationships/chartColorStyle" Target="colors757.xml"/><Relationship Id="rId3" Type="http://schemas.openxmlformats.org/officeDocument/2006/relationships/package" Target="../embeddings/Microsoft_Excel_Worksheet2323.xlsx"/></Relationships>
</file>

<file path=ppt/charts/_rels/chart2325.xml.rels><?xml version='1.0' encoding='UTF-8' standalone='yes'?>
<Relationships xmlns="http://schemas.openxmlformats.org/package/2006/relationships"><Relationship Id="rId1" Type="http://schemas.microsoft.com/office/2011/relationships/chartStyle" Target="style758.xml"/><Relationship Id="rId2" Type="http://schemas.microsoft.com/office/2011/relationships/chartColorStyle" Target="colors758.xml"/><Relationship Id="rId3" Type="http://schemas.openxmlformats.org/officeDocument/2006/relationships/package" Target="../embeddings/Microsoft_Excel_Worksheet2324.xlsx"/></Relationships>
</file>

<file path=ppt/charts/_rels/chart2342.xml.rels><?xml version='1.0' encoding='UTF-8' standalone='yes'?>
<Relationships xmlns="http://schemas.openxmlformats.org/package/2006/relationships"><Relationship Id="rId1" Type="http://schemas.openxmlformats.org/officeDocument/2006/relationships/package" Target="../embeddings/Microsoft_Excel_Worksheet2341.xlsx"/></Relationships>
</file>

<file path=ppt/charts/_rels/chart2343.xml.rels><?xml version='1.0' encoding='UTF-8' standalone='yes'?>
<Relationships xmlns="http://schemas.openxmlformats.org/package/2006/relationships"><Relationship Id="rId1" Type="http://schemas.openxmlformats.org/officeDocument/2006/relationships/package" Target="../embeddings/Microsoft_Excel_Worksheet2342.xlsx"/></Relationships>
</file>

<file path=ppt/charts/_rels/chart2352.xml.rels><?xml version='1.0' encoding='UTF-8' standalone='yes'?>
<Relationships xmlns="http://schemas.openxmlformats.org/package/2006/relationships"><Relationship Id="rId1" Type="http://schemas.openxmlformats.org/officeDocument/2006/relationships/package" Target="../embeddings/Microsoft_Excel_Worksheet2351.xlsx"/></Relationships>
</file>

<file path=ppt/charts/_rels/chart2353.xml.rels><?xml version='1.0' encoding='UTF-8' standalone='yes'?>
<Relationships xmlns="http://schemas.openxmlformats.org/package/2006/relationships"><Relationship Id="rId1" Type="http://schemas.openxmlformats.org/officeDocument/2006/relationships/package" Target="../embeddings/Microsoft_Excel_Worksheet2352.xlsx"/></Relationships>
</file>

<file path=ppt/charts/_rels/chart2354.xml.rels><?xml version='1.0' encoding='UTF-8' standalone='yes'?>
<Relationships xmlns="http://schemas.openxmlformats.org/package/2006/relationships"><Relationship Id="rId1" Type="http://schemas.openxmlformats.org/officeDocument/2006/relationships/package" Target="../embeddings/Microsoft_Excel_Worksheet2353.xlsx"/></Relationships>
</file>

<file path=ppt/charts/_rels/chart2355.xml.rels><?xml version='1.0' encoding='UTF-8' standalone='yes'?>
<Relationships xmlns="http://schemas.openxmlformats.org/package/2006/relationships"><Relationship Id="rId1" Type="http://schemas.openxmlformats.org/officeDocument/2006/relationships/package" Target="../embeddings/Microsoft_Excel_Worksheet2354.xlsx"/></Relationships>
</file>

<file path=ppt/charts/_rels/chart2366.xml.rels><?xml version='1.0' encoding='UTF-8' standalone='yes'?>
<Relationships xmlns="http://schemas.openxmlformats.org/package/2006/relationships"><Relationship Id="rId1" Type="http://schemas.openxmlformats.org/officeDocument/2006/relationships/package" Target="../embeddings/Microsoft_Excel_Worksheet2365.xlsx"/></Relationships>
</file>

<file path=ppt/charts/_rels/chart2367.xml.rels><?xml version='1.0' encoding='UTF-8' standalone='yes'?>
<Relationships xmlns="http://schemas.openxmlformats.org/package/2006/relationships"><Relationship Id="rId1" Type="http://schemas.openxmlformats.org/officeDocument/2006/relationships/package" Target="../embeddings/Microsoft_Excel_Worksheet2366.xlsx"/></Relationships>
</file>

<file path=ppt/charts/_rels/chart2370.xml.rels><?xml version='1.0' encoding='UTF-8' standalone='yes'?>
<Relationships xmlns="http://schemas.openxmlformats.org/package/2006/relationships"><Relationship Id="rId1" Type="http://schemas.openxmlformats.org/officeDocument/2006/relationships/package" Target="../embeddings/Microsoft_Excel_Worksheet2369.xlsx"/></Relationships>
</file>

<file path=ppt/charts/_rels/chart2371.xml.rels><?xml version='1.0' encoding='UTF-8' standalone='yes'?>
<Relationships xmlns="http://schemas.openxmlformats.org/package/2006/relationships"><Relationship Id="rId1" Type="http://schemas.openxmlformats.org/officeDocument/2006/relationships/package" Target="../embeddings/Microsoft_Excel_Worksheet2370.xlsx"/></Relationships>
</file>

<file path=ppt/charts/_rels/chart2396.xml.rels><?xml version='1.0' encoding='UTF-8' standalone='yes'?>
<Relationships xmlns="http://schemas.openxmlformats.org/package/2006/relationships"><Relationship Id="rId1" Type="http://schemas.openxmlformats.org/officeDocument/2006/relationships/package" Target="../embeddings/Microsoft_Excel_Worksheet2395.xlsx"/></Relationships>
</file>

<file path=ppt/charts/_rels/chart2397.xml.rels><?xml version='1.0' encoding='UTF-8' standalone='yes'?>
<Relationships xmlns="http://schemas.openxmlformats.org/package/2006/relationships"><Relationship Id="rId1" Type="http://schemas.openxmlformats.org/officeDocument/2006/relationships/package" Target="../embeddings/Microsoft_Excel_Worksheet2396.xlsx"/></Relationships>
</file>

<file path=ppt/charts/_rels/chart2400.xml.rels><?xml version='1.0' encoding='UTF-8' standalone='yes'?>
<Relationships xmlns="http://schemas.openxmlformats.org/package/2006/relationships"><Relationship Id="rId1" Type="http://schemas.openxmlformats.org/officeDocument/2006/relationships/package" Target="../embeddings/Microsoft_Excel_Worksheet2399.xlsx"/></Relationships>
</file>

<file path=ppt/charts/_rels/chart2401.xml.rels><?xml version='1.0' encoding='UTF-8' standalone='yes'?>
<Relationships xmlns="http://schemas.openxmlformats.org/package/2006/relationships"><Relationship Id="rId1" Type="http://schemas.openxmlformats.org/officeDocument/2006/relationships/package" Target="../embeddings/Microsoft_Excel_Worksheet2400.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12.xml.rels><?xml version='1.0' encoding='UTF-8' standalone='yes'?>
<Relationships xmlns="http://schemas.openxmlformats.org/package/2006/relationships"><Relationship Id="rId1" Type="http://schemas.openxmlformats.org/officeDocument/2006/relationships/package" Target="../embeddings/Microsoft_Excel_Worksheet2411.xlsx"/></Relationships>
</file>

<file path=ppt/charts/_rels/chart2413.xml.rels><?xml version='1.0' encoding='UTF-8' standalone='yes'?>
<Relationships xmlns="http://schemas.openxmlformats.org/package/2006/relationships"><Relationship Id="rId1" Type="http://schemas.openxmlformats.org/officeDocument/2006/relationships/package" Target="../embeddings/Microsoft_Excel_Worksheet2412.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24.xml.rels><?xml version='1.0' encoding='UTF-8' standalone='yes'?>
<Relationships xmlns="http://schemas.openxmlformats.org/package/2006/relationships"><Relationship Id="rId1" Type="http://schemas.openxmlformats.org/officeDocument/2006/relationships/package" Target="../embeddings/Microsoft_Excel_Worksheet2423.xlsx"/></Relationships>
</file>

<file path=ppt/charts/_rels/chart2425.xml.rels><?xml version='1.0' encoding='UTF-8' standalone='yes'?>
<Relationships xmlns="http://schemas.openxmlformats.org/package/2006/relationships"><Relationship Id="rId1" Type="http://schemas.openxmlformats.org/officeDocument/2006/relationships/package" Target="../embeddings/Microsoft_Excel_Worksheet2424.xlsx"/></Relationships>
</file>

<file path=ppt/charts/_rels/chart2438.xml.rels><?xml version='1.0' encoding='UTF-8' standalone='yes'?>
<Relationships xmlns="http://schemas.openxmlformats.org/package/2006/relationships"><Relationship Id="rId1" Type="http://schemas.openxmlformats.org/officeDocument/2006/relationships/package" Target="../embeddings/Microsoft_Excel_Worksheet2437.xlsx"/></Relationships>
</file>

<file path=ppt/charts/_rels/chart2439.xml.rels><?xml version='1.0' encoding='UTF-8' standalone='yes'?>
<Relationships xmlns="http://schemas.openxmlformats.org/package/2006/relationships"><Relationship Id="rId1" Type="http://schemas.openxmlformats.org/officeDocument/2006/relationships/package" Target="../embeddings/Microsoft_Excel_Worksheet2438.xlsx"/></Relationships>
</file>

<file path=ppt/charts/_rels/chart2442.xml.rels><?xml version='1.0' encoding='UTF-8' standalone='yes'?>
<Relationships xmlns="http://schemas.openxmlformats.org/package/2006/relationships"><Relationship Id="rId1" Type="http://schemas.openxmlformats.org/officeDocument/2006/relationships/package" Target="../embeddings/Microsoft_Excel_Worksheet2441.xlsx"/></Relationships>
</file>

<file path=ppt/charts/_rels/chart2443.xml.rels><?xml version='1.0' encoding='UTF-8' standalone='yes'?>
<Relationships xmlns="http://schemas.openxmlformats.org/package/2006/relationships"><Relationship Id="rId1" Type="http://schemas.openxmlformats.org/officeDocument/2006/relationships/package" Target="../embeddings/Microsoft_Excel_Worksheet2442.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50.xml.rels><?xml version='1.0' encoding='UTF-8' standalone='yes'?>
<Relationships xmlns="http://schemas.openxmlformats.org/package/2006/relationships"><Relationship Id="rId1" Type="http://schemas.openxmlformats.org/officeDocument/2006/relationships/package" Target="../embeddings/Microsoft_Excel_Worksheet2449.xlsx"/></Relationships>
</file>

<file path=ppt/charts/_rels/chart2451.xml.rels><?xml version='1.0' encoding='UTF-8' standalone='yes'?>
<Relationships xmlns="http://schemas.openxmlformats.org/package/2006/relationships"><Relationship Id="rId1" Type="http://schemas.openxmlformats.org/officeDocument/2006/relationships/package" Target="../embeddings/Microsoft_Excel_Worksheet2450.xlsx"/></Relationships>
</file>

<file path=ppt/charts/_rels/chart2454.xml.rels><?xml version='1.0' encoding='UTF-8' standalone='yes'?>
<Relationships xmlns="http://schemas.openxmlformats.org/package/2006/relationships"><Relationship Id="rId1" Type="http://schemas.openxmlformats.org/officeDocument/2006/relationships/package" Target="../embeddings/Microsoft_Excel_Worksheet2453.xlsx"/></Relationships>
</file>

<file path=ppt/charts/_rels/chart2455.xml.rels><?xml version='1.0' encoding='UTF-8' standalone='yes'?>
<Relationships xmlns="http://schemas.openxmlformats.org/package/2006/relationships"><Relationship Id="rId1" Type="http://schemas.openxmlformats.org/officeDocument/2006/relationships/package" Target="../embeddings/Microsoft_Excel_Worksheet245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66.xml.rels><?xml version='1.0' encoding='UTF-8' standalone='yes'?>
<Relationships xmlns="http://schemas.openxmlformats.org/package/2006/relationships"><Relationship Id="rId1" Type="http://schemas.openxmlformats.org/officeDocument/2006/relationships/package" Target="../embeddings/Microsoft_Excel_Worksheet2465.xlsx"/></Relationships>
</file>

<file path=ppt/charts/_rels/chart2467.xml.rels><?xml version='1.0' encoding='UTF-8' standalone='yes'?>
<Relationships xmlns="http://schemas.openxmlformats.org/package/2006/relationships"><Relationship Id="rId1" Type="http://schemas.openxmlformats.org/officeDocument/2006/relationships/package" Target="../embeddings/Microsoft_Excel_Worksheet2466.xlsx"/></Relationships>
</file>

<file path=ppt/charts/_rels/chart2494.xml.rels><?xml version='1.0' encoding='UTF-8' standalone='yes'?>
<Relationships xmlns="http://schemas.openxmlformats.org/package/2006/relationships"><Relationship Id="rId1" Type="http://schemas.openxmlformats.org/officeDocument/2006/relationships/package" Target="../embeddings/Microsoft_Excel_Worksheet2493.xlsx"/></Relationships>
</file>

<file path=ppt/charts/_rels/chart2495.xml.rels><?xml version='1.0' encoding='UTF-8' standalone='yes'?>
<Relationships xmlns="http://schemas.openxmlformats.org/package/2006/relationships"><Relationship Id="rId1" Type="http://schemas.openxmlformats.org/officeDocument/2006/relationships/package" Target="../embeddings/Microsoft_Excel_Worksheet2494.xlsx"/></Relationships>
</file>

<file path=ppt/charts/_rels/chart2496.xml.rels><?xml version='1.0' encoding='UTF-8' standalone='yes'?>
<Relationships xmlns="http://schemas.openxmlformats.org/package/2006/relationships"><Relationship Id="rId1" Type="http://schemas.openxmlformats.org/officeDocument/2006/relationships/package" Target="../embeddings/Microsoft_Excel_Worksheet2495.xlsx"/></Relationships>
</file>

<file path=ppt/charts/_rels/chart2497.xml.rels><?xml version='1.0' encoding='UTF-8' standalone='yes'?>
<Relationships xmlns="http://schemas.openxmlformats.org/package/2006/relationships"><Relationship Id="rId1" Type="http://schemas.openxmlformats.org/officeDocument/2006/relationships/package" Target="../embeddings/Microsoft_Excel_Worksheet2496.xlsx"/></Relationships>
</file>

<file path=ppt/charts/_rels/chart2500.xml.rels><?xml version='1.0' encoding='UTF-8' standalone='yes'?>
<Relationships xmlns="http://schemas.openxmlformats.org/package/2006/relationships"><Relationship Id="rId1" Type="http://schemas.openxmlformats.org/officeDocument/2006/relationships/package" Target="../embeddings/Microsoft_Excel_Worksheet2499.xlsx"/></Relationships>
</file>

<file path=ppt/charts/_rels/chart2501.xml.rels><?xml version='1.0' encoding='UTF-8' standalone='yes'?>
<Relationships xmlns="http://schemas.openxmlformats.org/package/2006/relationships"><Relationship Id="rId1" Type="http://schemas.openxmlformats.org/officeDocument/2006/relationships/package" Target="../embeddings/Microsoft_Excel_Worksheet2500.xlsx"/></Relationships>
</file>

<file path=ppt/charts/_rels/chart2508.xml.rels><?xml version='1.0' encoding='UTF-8' standalone='yes'?>
<Relationships xmlns="http://schemas.openxmlformats.org/package/2006/relationships"><Relationship Id="rId1" Type="http://schemas.openxmlformats.org/officeDocument/2006/relationships/package" Target="../embeddings/Microsoft_Excel_Worksheet2507.xlsx"/></Relationships>
</file>

<file path=ppt/charts/_rels/chart2509.xml.rels><?xml version='1.0' encoding='UTF-8' standalone='yes'?>
<Relationships xmlns="http://schemas.openxmlformats.org/package/2006/relationships"><Relationship Id="rId1" Type="http://schemas.openxmlformats.org/officeDocument/2006/relationships/package" Target="../embeddings/Microsoft_Excel_Worksheet2508.xlsx"/></Relationships>
</file>

<file path=ppt/charts/_rels/chart2512.xml.rels><?xml version='1.0' encoding='UTF-8' standalone='yes'?>
<Relationships xmlns="http://schemas.openxmlformats.org/package/2006/relationships"><Relationship Id="rId1"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package" Target="../embeddings/Microsoft_Excel_Worksheet2512.xlsx"/></Relationships>
</file>

<file path=ppt/charts/_rels/chart2524.xml.rels><?xml version='1.0' encoding='UTF-8' standalone='yes'?>
<Relationships xmlns="http://schemas.openxmlformats.org/package/2006/relationships"><Relationship Id="rId1" Type="http://schemas.openxmlformats.org/officeDocument/2006/relationships/package" Target="../embeddings/Microsoft_Excel_Worksheet2523.xlsx"/></Relationships>
</file>

<file path=ppt/charts/_rels/chart2525.xml.rels><?xml version='1.0' encoding='UTF-8' standalone='yes'?>
<Relationships xmlns="http://schemas.openxmlformats.org/package/2006/relationships"><Relationship Id="rId1" Type="http://schemas.openxmlformats.org/officeDocument/2006/relationships/package" Target="../embeddings/Microsoft_Excel_Worksheet2524.xlsx"/></Relationships>
</file>

<file path=ppt/charts/_rels/chart2542.xml.rels><?xml version='1.0' encoding='UTF-8' standalone='yes'?>
<Relationships xmlns="http://schemas.openxmlformats.org/package/2006/relationships"><Relationship Id="rId1" Type="http://schemas.openxmlformats.org/officeDocument/2006/relationships/package" Target="../embeddings/Microsoft_Excel_Worksheet2541.xlsx"/></Relationships>
</file>

<file path=ppt/charts/_rels/chart2543.xml.rels><?xml version='1.0' encoding='UTF-8' standalone='yes'?>
<Relationships xmlns="http://schemas.openxmlformats.org/package/2006/relationships"><Relationship Id="rId1" Type="http://schemas.openxmlformats.org/officeDocument/2006/relationships/package" Target="../embeddings/Microsoft_Excel_Worksheet2542.xlsx"/></Relationships>
</file>

<file path=ppt/charts/_rels/chart2552.xml.rels><?xml version='1.0' encoding='UTF-8' standalone='yes'?>
<Relationships xmlns="http://schemas.openxmlformats.org/package/2006/relationships"><Relationship Id="rId1" Type="http://schemas.openxmlformats.org/officeDocument/2006/relationships/package" Target="../embeddings/Microsoft_Excel_Worksheet2551.xlsx"/></Relationships>
</file>

<file path=ppt/charts/_rels/chart2553.xml.rels><?xml version='1.0' encoding='UTF-8' standalone='yes'?>
<Relationships xmlns="http://schemas.openxmlformats.org/package/2006/relationships"><Relationship Id="rId1" Type="http://schemas.openxmlformats.org/officeDocument/2006/relationships/package" Target="../embeddings/Microsoft_Excel_Worksheet2552.xlsx"/></Relationships>
</file>

<file path=ppt/charts/_rels/chart2554.xml.rels><?xml version='1.0' encoding='UTF-8' standalone='yes'?>
<Relationships xmlns="http://schemas.openxmlformats.org/package/2006/relationships"><Relationship Id="rId1" Type="http://schemas.openxmlformats.org/officeDocument/2006/relationships/package" Target="../embeddings/Microsoft_Excel_Worksheet2553.xlsx"/></Relationships>
</file>

<file path=ppt/charts/_rels/chart2555.xml.rels><?xml version='1.0' encoding='UTF-8' standalone='yes'?>
<Relationships xmlns="http://schemas.openxmlformats.org/package/2006/relationships"><Relationship Id="rId1" Type="http://schemas.openxmlformats.org/officeDocument/2006/relationships/package" Target="../embeddings/Microsoft_Excel_Worksheet2554.xlsx"/></Relationships>
</file>

<file path=ppt/charts/_rels/chart2566.xml.rels><?xml version='1.0' encoding='UTF-8' standalone='yes'?>
<Relationships xmlns="http://schemas.openxmlformats.org/package/2006/relationships"><Relationship Id="rId1" Type="http://schemas.openxmlformats.org/officeDocument/2006/relationships/package" Target="../embeddings/Microsoft_Excel_Worksheet2565.xlsx"/></Relationships>
</file>

<file path=ppt/charts/_rels/chart2567.xml.rels><?xml version='1.0' encoding='UTF-8' standalone='yes'?>
<Relationships xmlns="http://schemas.openxmlformats.org/package/2006/relationships"><Relationship Id="rId1" Type="http://schemas.openxmlformats.org/officeDocument/2006/relationships/package" Target="../embeddings/Microsoft_Excel_Worksheet2566.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70.xml.rels><?xml version='1.0' encoding='UTF-8' standalone='yes'?>
<Relationships xmlns="http://schemas.openxmlformats.org/package/2006/relationships"><Relationship Id="rId1" Type="http://schemas.openxmlformats.org/officeDocument/2006/relationships/package" Target="../embeddings/Microsoft_Excel_Worksheet2569.xlsx"/></Relationships>
</file>

<file path=ppt/charts/_rels/chart2571.xml.rels><?xml version='1.0' encoding='UTF-8' standalone='yes'?>
<Relationships xmlns="http://schemas.openxmlformats.org/package/2006/relationships"><Relationship Id="rId1" Type="http://schemas.openxmlformats.org/officeDocument/2006/relationships/package" Target="../embeddings/Microsoft_Excel_Worksheet2570.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6.xml.rels><?xml version='1.0' encoding='UTF-8' standalone='yes'?>
<Relationships xmlns="http://schemas.openxmlformats.org/package/2006/relationships"><Relationship Id="rId1" Type="http://schemas.openxmlformats.org/officeDocument/2006/relationships/package" Target="../embeddings/Microsoft_Excel_Worksheet2595.xlsx"/></Relationships>
</file>

<file path=ppt/charts/_rels/chart2597.xml.rels><?xml version='1.0' encoding='UTF-8' standalone='yes'?>
<Relationships xmlns="http://schemas.openxmlformats.org/package/2006/relationships"><Relationship Id="rId1" Type="http://schemas.openxmlformats.org/officeDocument/2006/relationships/package" Target="../embeddings/Microsoft_Excel_Worksheet2596.xlsx"/></Relationships>
</file>

<file path=ppt/charts/_rels/chart2600.xml.rels><?xml version='1.0' encoding='UTF-8' standalone='yes'?>
<Relationships xmlns="http://schemas.openxmlformats.org/package/2006/relationships"><Relationship Id="rId1" Type="http://schemas.openxmlformats.org/officeDocument/2006/relationships/package" Target="../embeddings/Microsoft_Excel_Worksheet2599.xlsx"/></Relationships>
</file>

<file path=ppt/charts/_rels/chart2601.xml.rels><?xml version='1.0' encoding='UTF-8' standalone='yes'?>
<Relationships xmlns="http://schemas.openxmlformats.org/package/2006/relationships"><Relationship Id="rId1" Type="http://schemas.openxmlformats.org/officeDocument/2006/relationships/package" Target="../embeddings/Microsoft_Excel_Worksheet2600.xlsx"/></Relationships>
</file>

<file path=ppt/charts/_rels/chart2612.xml.rels><?xml version='1.0' encoding='UTF-8' standalone='yes'?>
<Relationships xmlns="http://schemas.openxmlformats.org/package/2006/relationships"><Relationship Id="rId1" Type="http://schemas.openxmlformats.org/officeDocument/2006/relationships/package" Target="../embeddings/Microsoft_Excel_Worksheet2611.xlsx"/></Relationships>
</file>

<file path=ppt/charts/_rels/chart2613.xml.rels><?xml version='1.0' encoding='UTF-8' standalone='yes'?>
<Relationships xmlns="http://schemas.openxmlformats.org/package/2006/relationships"><Relationship Id="rId1" Type="http://schemas.openxmlformats.org/officeDocument/2006/relationships/package" Target="../embeddings/Microsoft_Excel_Worksheet2612.xlsx"/></Relationships>
</file>

<file path=ppt/charts/_rels/chart2628.xml.rels><?xml version='1.0' encoding='UTF-8' standalone='yes'?>
<Relationships xmlns="http://schemas.openxmlformats.org/package/2006/relationships"><Relationship Id="rId1" Type="http://schemas.openxmlformats.org/officeDocument/2006/relationships/package" Target="../embeddings/Microsoft_Excel_Worksheet2627.xlsx"/></Relationships>
</file>

<file path=ppt/charts/_rels/chart2629.xml.rels><?xml version='1.0' encoding='UTF-8' standalone='yes'?>
<Relationships xmlns="http://schemas.openxmlformats.org/package/2006/relationships"><Relationship Id="rId1" Type="http://schemas.openxmlformats.org/officeDocument/2006/relationships/package" Target="../embeddings/Microsoft_Excel_Worksheet2628.xlsx"/></Relationships>
</file>

<file path=ppt/charts/_rels/chart2630.xml.rels><?xml version='1.0' encoding='UTF-8' standalone='yes'?>
<Relationships xmlns="http://schemas.openxmlformats.org/package/2006/relationships"><Relationship Id="rId1" Type="http://schemas.openxmlformats.org/officeDocument/2006/relationships/package" Target="../embeddings/Microsoft_Excel_Worksheet2629.xlsx"/></Relationships>
</file>

<file path=ppt/charts/_rels/chart2631.xml.rels><?xml version='1.0' encoding='UTF-8' standalone='yes'?>
<Relationships xmlns="http://schemas.openxmlformats.org/package/2006/relationships"><Relationship Id="rId1" Type="http://schemas.openxmlformats.org/officeDocument/2006/relationships/package" Target="../embeddings/Microsoft_Excel_Worksheet2630.xlsx"/></Relationships>
</file>

<file path=ppt/charts/_rels/chart2634.xml.rels><?xml version='1.0' encoding='UTF-8' standalone='yes'?>
<Relationships xmlns="http://schemas.openxmlformats.org/package/2006/relationships"><Relationship Id="rId1" Type="http://schemas.openxmlformats.org/officeDocument/2006/relationships/package" Target="../embeddings/Microsoft_Excel_Worksheet2633.xlsx"/></Relationships>
</file>

<file path=ppt/charts/_rels/chart2635.xml.rels><?xml version='1.0' encoding='UTF-8' standalone='yes'?>
<Relationships xmlns="http://schemas.openxmlformats.org/package/2006/relationships"><Relationship Id="rId1" Type="http://schemas.openxmlformats.org/officeDocument/2006/relationships/package" Target="../embeddings/Microsoft_Excel_Worksheet2634.xlsx"/></Relationships>
</file>

<file path=ppt/charts/_rels/chart2646.xml.rels><?xml version='1.0' encoding='UTF-8' standalone='yes'?>
<Relationships xmlns="http://schemas.openxmlformats.org/package/2006/relationships"><Relationship Id="rId1" Type="http://schemas.openxmlformats.org/officeDocument/2006/relationships/package" Target="../embeddings/Microsoft_Excel_Worksheet2645.xlsx"/></Relationships>
</file>

<file path=ppt/charts/_rels/chart2647.xml.rels><?xml version='1.0' encoding='UTF-8' standalone='yes'?>
<Relationships xmlns="http://schemas.openxmlformats.org/package/2006/relationships"><Relationship Id="rId1" Type="http://schemas.openxmlformats.org/officeDocument/2006/relationships/package" Target="../embeddings/Microsoft_Excel_Worksheet2646.xlsx"/></Relationships>
</file>

<file path=ppt/charts/_rels/chart2660.xml.rels><?xml version='1.0' encoding='UTF-8' standalone='yes'?>
<Relationships xmlns="http://schemas.openxmlformats.org/package/2006/relationships"><Relationship Id="rId1" Type="http://schemas.openxmlformats.org/officeDocument/2006/relationships/package" Target="../embeddings/Microsoft_Excel_Worksheet2659.xlsx"/></Relationships>
</file>

<file path=ppt/charts/_rels/chart2661.xml.rels><?xml version='1.0' encoding='UTF-8' standalone='yes'?>
<Relationships xmlns="http://schemas.openxmlformats.org/package/2006/relationships"><Relationship Id="rId1" Type="http://schemas.openxmlformats.org/officeDocument/2006/relationships/package" Target="../embeddings/Microsoft_Excel_Worksheet2660.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77.xml.rels><?xml version='1.0' encoding='UTF-8' standalone='yes'?>
<Relationships xmlns="http://schemas.openxmlformats.org/package/2006/relationships"><Relationship Id="rId1" Type="http://schemas.openxmlformats.org/officeDocument/2006/relationships/package" Target="../embeddings/Microsoft_Excel_Worksheet2676.xlsx"/></Relationships>
</file>

<file path=ppt/charts/_rels/chart2686.xml.rels><?xml version='1.0' encoding='UTF-8' standalone='yes'?>
<Relationships xmlns="http://schemas.openxmlformats.org/package/2006/relationships"><Relationship Id="rId1" Type="http://schemas.openxmlformats.org/officeDocument/2006/relationships/package" Target="../embeddings/Microsoft_Excel_Worksheet2685.xlsx"/></Relationships>
</file>

<file path=ppt/charts/_rels/chart2687.xml.rels><?xml version='1.0' encoding='UTF-8' standalone='yes'?>
<Relationships xmlns="http://schemas.openxmlformats.org/package/2006/relationships"><Relationship Id="rId1" Type="http://schemas.openxmlformats.org/officeDocument/2006/relationships/package" Target="../embeddings/Microsoft_Excel_Worksheet2686.xlsx"/></Relationships>
</file>

<file path=ppt/charts/_rels/chart2688.xml.rels><?xml version='1.0' encoding='UTF-8' standalone='yes'?>
<Relationships xmlns="http://schemas.openxmlformats.org/package/2006/relationships"><Relationship Id="rId1" Type="http://schemas.openxmlformats.org/officeDocument/2006/relationships/package" Target="../embeddings/Microsoft_Excel_Worksheet2687.xlsx"/></Relationships>
</file>

<file path=ppt/charts/_rels/chart2689.xml.rels><?xml version='1.0' encoding='UTF-8' standalone='yes'?>
<Relationships xmlns="http://schemas.openxmlformats.org/package/2006/relationships"><Relationship Id="rId1" Type="http://schemas.openxmlformats.org/officeDocument/2006/relationships/package" Target="../embeddings/Microsoft_Excel_Worksheet2688.xlsx"/></Relationships>
</file>

<file path=ppt/charts/_rels/chart2704.xml.rels><?xml version='1.0' encoding='UTF-8' standalone='yes'?>
<Relationships xmlns="http://schemas.openxmlformats.org/package/2006/relationships"><Relationship Id="rId1" Type="http://schemas.openxmlformats.org/officeDocument/2006/relationships/package" Target="../embeddings/Microsoft_Excel_Worksheet2703.xlsx"/></Relationships>
</file>

<file path=ppt/charts/_rels/chart2705.xml.rels><?xml version='1.0' encoding='UTF-8' standalone='yes'?>
<Relationships xmlns="http://schemas.openxmlformats.org/package/2006/relationships"><Relationship Id="rId1" Type="http://schemas.openxmlformats.org/officeDocument/2006/relationships/package" Target="../embeddings/Microsoft_Excel_Worksheet2704.xlsx"/></Relationships>
</file>

<file path=ppt/charts/_rels/chart2718.xml.rels><?xml version='1.0' encoding='UTF-8' standalone='yes'?>
<Relationships xmlns="http://schemas.openxmlformats.org/package/2006/relationships"><Relationship Id="rId1" Type="http://schemas.openxmlformats.org/officeDocument/2006/relationships/package" Target="../embeddings/Microsoft_Excel_Worksheet2717.xlsx"/></Relationships>
</file>

<file path=ppt/charts/_rels/chart2719.xml.rels><?xml version='1.0' encoding='UTF-8' standalone='yes'?>
<Relationships xmlns="http://schemas.openxmlformats.org/package/2006/relationships"><Relationship Id="rId1" Type="http://schemas.openxmlformats.org/officeDocument/2006/relationships/package" Target="../embeddings/Microsoft_Excel_Worksheet2718.xlsx"/></Relationships>
</file>

<file path=ppt/charts/_rels/chart2722.xml.rels><?xml version='1.0' encoding='UTF-8' standalone='yes'?>
<Relationships xmlns="http://schemas.openxmlformats.org/package/2006/relationships"><Relationship Id="rId1" Type="http://schemas.openxmlformats.org/officeDocument/2006/relationships/package" Target="../embeddings/Microsoft_Excel_Worksheet2721.xlsx"/></Relationships>
</file>

<file path=ppt/charts/_rels/chart2723.xml.rels><?xml version='1.0' encoding='UTF-8' standalone='yes'?>
<Relationships xmlns="http://schemas.openxmlformats.org/package/2006/relationships"><Relationship Id="rId1" Type="http://schemas.openxmlformats.org/officeDocument/2006/relationships/package" Target="../embeddings/Microsoft_Excel_Worksheet2722.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30.xml.rels><?xml version='1.0' encoding='UTF-8' standalone='yes'?>
<Relationships xmlns="http://schemas.openxmlformats.org/package/2006/relationships"><Relationship Id="rId1" Type="http://schemas.openxmlformats.org/officeDocument/2006/relationships/package" Target="../embeddings/Microsoft_Excel_Worksheet2729.xlsx"/></Relationships>
</file>

<file path=ppt/charts/_rels/chart2731.xml.rels><?xml version='1.0' encoding='UTF-8' standalone='yes'?>
<Relationships xmlns="http://schemas.openxmlformats.org/package/2006/relationships"><Relationship Id="rId1" Type="http://schemas.openxmlformats.org/officeDocument/2006/relationships/package" Target="../embeddings/Microsoft_Excel_Worksheet2730.xlsx"/></Relationships>
</file>

<file path=ppt/charts/_rels/chart2734.xml.rels><?xml version='1.0' encoding='UTF-8' standalone='yes'?>
<Relationships xmlns="http://schemas.openxmlformats.org/package/2006/relationships"><Relationship Id="rId1"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package" Target="../embeddings/Microsoft_Excel_Worksheet2734.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46.xml.rels><?xml version='1.0' encoding='UTF-8' standalone='yes'?>
<Relationships xmlns="http://schemas.openxmlformats.org/package/2006/relationships"><Relationship Id="rId1" Type="http://schemas.openxmlformats.org/officeDocument/2006/relationships/package" Target="../embeddings/Microsoft_Excel_Worksheet2745.xlsx"/></Relationships>
</file>

<file path=ppt/charts/_rels/chart2747.xml.rels><?xml version='1.0' encoding='UTF-8' standalone='yes'?>
<Relationships xmlns="http://schemas.openxmlformats.org/package/2006/relationships"><Relationship Id="rId1" Type="http://schemas.openxmlformats.org/officeDocument/2006/relationships/package" Target="../embeddings/Microsoft_Excel_Worksheet2746.xlsx"/></Relationships>
</file>

<file path=ppt/charts/_rels/chart2774.xml.rels><?xml version='1.0' encoding='UTF-8' standalone='yes'?>
<Relationships xmlns="http://schemas.openxmlformats.org/package/2006/relationships"><Relationship Id="rId1" Type="http://schemas.openxmlformats.org/officeDocument/2006/relationships/package" Target="../embeddings/Microsoft_Excel_Worksheet2773.xlsx"/></Relationships>
</file>

<file path=ppt/charts/_rels/chart2775.xml.rels><?xml version='1.0' encoding='UTF-8' standalone='yes'?>
<Relationships xmlns="http://schemas.openxmlformats.org/package/2006/relationships"><Relationship Id="rId1" Type="http://schemas.openxmlformats.org/officeDocument/2006/relationships/package" Target="../embeddings/Microsoft_Excel_Worksheet2774.xlsx"/></Relationships>
</file>

<file path=ppt/charts/_rels/chart2776.xml.rels><?xml version='1.0' encoding='UTF-8' standalone='yes'?>
<Relationships xmlns="http://schemas.openxmlformats.org/package/2006/relationships"><Relationship Id="rId1" Type="http://schemas.openxmlformats.org/officeDocument/2006/relationships/package" Target="../embeddings/Microsoft_Excel_Worksheet2775.xlsx"/></Relationships>
</file>

<file path=ppt/charts/_rels/chart2777.xml.rels><?xml version='1.0' encoding='UTF-8' standalone='yes'?>
<Relationships xmlns="http://schemas.openxmlformats.org/package/2006/relationships"><Relationship Id="rId1" Type="http://schemas.openxmlformats.org/officeDocument/2006/relationships/package" Target="../embeddings/Microsoft_Excel_Worksheet2776.xlsx"/></Relationships>
</file>

<file path=ppt/charts/_rels/chart2780.xml.rels><?xml version='1.0' encoding='UTF-8' standalone='yes'?>
<Relationships xmlns="http://schemas.openxmlformats.org/package/2006/relationships"><Relationship Id="rId1" Type="http://schemas.openxmlformats.org/officeDocument/2006/relationships/package" Target="../embeddings/Microsoft_Excel_Worksheet2779.xlsx"/></Relationships>
</file>

<file path=ppt/charts/_rels/chart2781.xml.rels><?xml version='1.0' encoding='UTF-8' standalone='yes'?>
<Relationships xmlns="http://schemas.openxmlformats.org/package/2006/relationships"><Relationship Id="rId1" Type="http://schemas.openxmlformats.org/officeDocument/2006/relationships/package" Target="../embeddings/Microsoft_Excel_Worksheet2780.xlsx"/></Relationships>
</file>

<file path=ppt/charts/_rels/chart2788.xml.rels><?xml version='1.0' encoding='UTF-8' standalone='yes'?>
<Relationships xmlns="http://schemas.openxmlformats.org/package/2006/relationships"><Relationship Id="rId1" Type="http://schemas.openxmlformats.org/officeDocument/2006/relationships/package" Target="../embeddings/Microsoft_Excel_Worksheet2787.xlsx"/></Relationships>
</file>

<file path=ppt/charts/_rels/chart2789.xml.rels><?xml version='1.0' encoding='UTF-8' standalone='yes'?>
<Relationships xmlns="http://schemas.openxmlformats.org/package/2006/relationships"><Relationship Id="rId1" Type="http://schemas.openxmlformats.org/officeDocument/2006/relationships/package" Target="../embeddings/Microsoft_Excel_Worksheet2788.xlsx"/></Relationships>
</file>

<file path=ppt/charts/_rels/chart2792.xml.rels><?xml version='1.0' encoding='UTF-8' standalone='yes'?>
<Relationships xmlns="http://schemas.openxmlformats.org/package/2006/relationships"><Relationship Id="rId1" Type="http://schemas.openxmlformats.org/officeDocument/2006/relationships/package" Target="../embeddings/Microsoft_Excel_Worksheet2791.xlsx"/></Relationships>
</file>

<file path=ppt/charts/_rels/chart2793.xml.rels><?xml version='1.0' encoding='UTF-8' standalone='yes'?>
<Relationships xmlns="http://schemas.openxmlformats.org/package/2006/relationships"><Relationship Id="rId1" Type="http://schemas.openxmlformats.org/officeDocument/2006/relationships/package" Target="../embeddings/Microsoft_Excel_Worksheet2792.xlsx"/></Relationships>
</file>

<file path=ppt/charts/_rels/chart2804.xml.rels><?xml version='1.0' encoding='UTF-8' standalone='yes'?>
<Relationships xmlns="http://schemas.openxmlformats.org/package/2006/relationships"><Relationship Id="rId1" Type="http://schemas.openxmlformats.org/officeDocument/2006/relationships/package" Target="../embeddings/Microsoft_Excel_Worksheet2803.xlsx"/></Relationships>
</file>

<file path=ppt/charts/_rels/chart2805.xml.rels><?xml version='1.0' encoding='UTF-8' standalone='yes'?>
<Relationships xmlns="http://schemas.openxmlformats.org/package/2006/relationships"><Relationship Id="rId1" Type="http://schemas.openxmlformats.org/officeDocument/2006/relationships/package" Target="../embeddings/Microsoft_Excel_Worksheet2804.xlsx"/></Relationships>
</file>

<file path=ppt/charts/_rels/chart2819.xml.rels><?xml version='1.0' encoding='UTF-8' standalone='yes'?>
<Relationships xmlns="http://schemas.openxmlformats.org/package/2006/relationships"><Relationship Id="rId1" Type="http://schemas.microsoft.com/office/2011/relationships/chartStyle" Target="style772.xml"/><Relationship Id="rId2" Type="http://schemas.microsoft.com/office/2011/relationships/chartColorStyle" Target="colors772.xml"/><Relationship Id="rId3" Type="http://schemas.openxmlformats.org/officeDocument/2006/relationships/package" Target="../embeddings/Microsoft_Excel_Worksheet2818.xlsx"/></Relationships>
</file>

<file path=ppt/charts/_rels/chart2821.xml.rels><?xml version='1.0' encoding='UTF-8' standalone='yes'?>
<Relationships xmlns="http://schemas.openxmlformats.org/package/2006/relationships"><Relationship Id="rId1" Type="http://schemas.microsoft.com/office/2011/relationships/chartStyle" Target="style774.xml"/><Relationship Id="rId2" Type="http://schemas.microsoft.com/office/2011/relationships/chartColorStyle" Target="colors774.xml"/><Relationship Id="rId3" Type="http://schemas.openxmlformats.org/officeDocument/2006/relationships/package" Target="../embeddings/Microsoft_Excel_Worksheet2820.xlsx"/></Relationships>
</file>

<file path=ppt/charts/_rels/chart2828.xml.rels><?xml version='1.0' encoding='UTF-8' standalone='yes'?>
<Relationships xmlns="http://schemas.openxmlformats.org/package/2006/relationships"><Relationship Id="rId1" Type="http://schemas.microsoft.com/office/2011/relationships/chartStyle" Target="style781.xml"/><Relationship Id="rId2" Type="http://schemas.microsoft.com/office/2011/relationships/chartColorStyle" Target="colors781.xml"/><Relationship Id="rId3" Type="http://schemas.openxmlformats.org/officeDocument/2006/relationships/package" Target="../embeddings/Microsoft_Excel_Worksheet2827.xlsx"/></Relationships>
</file>

<file path=ppt/charts/_rels/chart2836.xml.rels><?xml version='1.0' encoding='UTF-8' standalone='yes'?>
<Relationships xmlns="http://schemas.openxmlformats.org/package/2006/relationships"><Relationship Id="rId1" Type="http://schemas.openxmlformats.org/officeDocument/2006/relationships/package" Target="../embeddings/Microsoft_Excel_Worksheet2835.xlsx"/></Relationships>
</file>

<file path=ppt/charts/_rels/chart2841.xml.rels><?xml version='1.0' encoding='UTF-8' standalone='yes'?>
<Relationships xmlns="http://schemas.openxmlformats.org/package/2006/relationships"><Relationship Id="rId1" Type="http://schemas.openxmlformats.org/officeDocument/2006/relationships/package" Target="../embeddings/Microsoft_Excel_Worksheet2840.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4.xml.rels><?xml version='1.0' encoding='UTF-8' standalone='yes'?>
<Relationships xmlns="http://schemas.openxmlformats.org/package/2006/relationships"><Relationship Id="rId1" Type="http://schemas.openxmlformats.org/officeDocument/2006/relationships/package" Target="../embeddings/Microsoft_Excel_Worksheet284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50.xml.rels><?xml version='1.0' encoding='UTF-8' standalone='yes'?>
<Relationships xmlns="http://schemas.openxmlformats.org/package/2006/relationships"><Relationship Id="rId1" Type="http://schemas.openxmlformats.org/officeDocument/2006/relationships/package" Target="../embeddings/Microsoft_Excel_Worksheet2849.xlsx"/></Relationships>
</file>

<file path=ppt/charts/_rels/chart2857.xml.rels><?xml version='1.0' encoding='UTF-8' standalone='yes'?>
<Relationships xmlns="http://schemas.openxmlformats.org/package/2006/relationships"><Relationship Id="rId1" Type="http://schemas.openxmlformats.org/officeDocument/2006/relationships/package" Target="../embeddings/Microsoft_Excel_Worksheet2856.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65.xml.rels><?xml version='1.0' encoding='UTF-8' standalone='yes'?>
<Relationships xmlns="http://schemas.openxmlformats.org/package/2006/relationships"><Relationship Id="rId1" Type="http://schemas.openxmlformats.org/officeDocument/2006/relationships/package" Target="../embeddings/Microsoft_Excel_Worksheet2864.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70.xml.rels><?xml version='1.0' encoding='UTF-8' standalone='yes'?>
<Relationships xmlns="http://schemas.openxmlformats.org/package/2006/relationships"><Relationship Id="rId1" Type="http://schemas.openxmlformats.org/officeDocument/2006/relationships/package" Target="../embeddings/Microsoft_Excel_Worksheet2869.xlsx"/></Relationships>
</file>

<file path=ppt/charts/_rels/chart2871.xml.rels><?xml version='1.0' encoding='UTF-8' standalone='yes'?>
<Relationships xmlns="http://schemas.openxmlformats.org/package/2006/relationships"><Relationship Id="rId1" Type="http://schemas.openxmlformats.org/officeDocument/2006/relationships/package" Target="../embeddings/Microsoft_Excel_Worksheet2870.xlsx"/></Relationships>
</file>

<file path=ppt/charts/_rels/chart2879.xml.rels><?xml version='1.0' encoding='UTF-8' standalone='yes'?>
<Relationships xmlns="http://schemas.openxmlformats.org/package/2006/relationships"><Relationship Id="rId1" Type="http://schemas.openxmlformats.org/officeDocument/2006/relationships/package" Target="../embeddings/Microsoft_Excel_Worksheet2878.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86.xml.rels><?xml version='1.0' encoding='UTF-8' standalone='yes'?>
<Relationships xmlns="http://schemas.openxmlformats.org/package/2006/relationships"><Relationship Id="rId1" Type="http://schemas.openxmlformats.org/officeDocument/2006/relationships/package" Target="../embeddings/Microsoft_Excel_Worksheet2885.xlsx"/></Relationships>
</file>

<file path=ppt/charts/_rels/chart2888.xml.rels><?xml version='1.0' encoding='UTF-8' standalone='yes'?>
<Relationships xmlns="http://schemas.openxmlformats.org/package/2006/relationships"><Relationship Id="rId1" Type="http://schemas.openxmlformats.org/officeDocument/2006/relationships/package" Target="../embeddings/Microsoft_Excel_Worksheet2887.xlsx"/></Relationships>
</file>

<file path=ppt/charts/_rels/chart2892.xml.rels><?xml version='1.0' encoding='UTF-8' standalone='yes'?>
<Relationships xmlns="http://schemas.openxmlformats.org/package/2006/relationships"><Relationship Id="rId1" Type="http://schemas.openxmlformats.org/officeDocument/2006/relationships/package" Target="../embeddings/Microsoft_Excel_Worksheet2891.xlsx"/></Relationships>
</file>

<file path=ppt/charts/_rels/chart2894.xml.rels><?xml version='1.0' encoding='UTF-8' standalone='yes'?>
<Relationships xmlns="http://schemas.openxmlformats.org/package/2006/relationships"><Relationship Id="rId1" Type="http://schemas.openxmlformats.org/officeDocument/2006/relationships/package" Target="../embeddings/Microsoft_Excel_Worksheet2893.xlsx"/></Relationships>
</file>

<file path=ppt/charts/_rels/chart2903.xml.rels><?xml version='1.0' encoding='UTF-8' standalone='yes'?>
<Relationships xmlns="http://schemas.openxmlformats.org/package/2006/relationships"><Relationship Id="rId1" Type="http://schemas.openxmlformats.org/officeDocument/2006/relationships/package" Target="../embeddings/Microsoft_Excel_Worksheet2902.xlsx"/></Relationships>
</file>

<file path=ppt/charts/_rels/chart2909.xml.rels><?xml version='1.0' encoding='UTF-8' standalone='yes'?>
<Relationships xmlns="http://schemas.openxmlformats.org/package/2006/relationships"><Relationship Id="rId1" Type="http://schemas.openxmlformats.org/officeDocument/2006/relationships/package" Target="../embeddings/Microsoft_Excel_Worksheet2908.xlsx"/></Relationships>
</file>

<file path=ppt/charts/_rels/chart2911.xml.rels><?xml version='1.0' encoding='UTF-8' standalone='yes'?>
<Relationships xmlns="http://schemas.openxmlformats.org/package/2006/relationships"><Relationship Id="rId1" Type="http://schemas.openxmlformats.org/officeDocument/2006/relationships/package" Target="../embeddings/Microsoft_Excel_Worksheet2910.xlsx"/></Relationships>
</file>

<file path=ppt/charts/_rels/chart2917.xml.rels><?xml version='1.0' encoding='UTF-8' standalone='yes'?>
<Relationships xmlns="http://schemas.openxmlformats.org/package/2006/relationships"><Relationship Id="rId1" Type="http://schemas.openxmlformats.org/officeDocument/2006/relationships/package" Target="../embeddings/Microsoft_Excel_Worksheet2916.xlsx"/></Relationships>
</file>

<file path=ppt/charts/_rels/chart2918.xml.rels><?xml version='1.0' encoding='UTF-8' standalone='yes'?>
<Relationships xmlns="http://schemas.openxmlformats.org/package/2006/relationships"><Relationship Id="rId1" Type="http://schemas.openxmlformats.org/officeDocument/2006/relationships/package" Target="../embeddings/Microsoft_Excel_Worksheet2917.xlsx"/></Relationships>
</file>

<file path=ppt/charts/_rels/chart2924.xml.rels><?xml version='1.0' encoding='UTF-8' standalone='yes'?>
<Relationships xmlns="http://schemas.openxmlformats.org/package/2006/relationships"><Relationship Id="rId1" Type="http://schemas.openxmlformats.org/officeDocument/2006/relationships/package" Target="../embeddings/Microsoft_Excel_Worksheet2923.xlsx"/></Relationships>
</file>

<file path=ppt/charts/_rels/chart2926.xml.rels><?xml version='1.0' encoding='UTF-8' standalone='yes'?>
<Relationships xmlns="http://schemas.openxmlformats.org/package/2006/relationships"><Relationship Id="rId1" Type="http://schemas.openxmlformats.org/officeDocument/2006/relationships/package" Target="../embeddings/Microsoft_Excel_Worksheet2925.xlsx"/></Relationships>
</file>

<file path=ppt/charts/_rels/chart2932.xml.rels><?xml version='1.0' encoding='UTF-8' standalone='yes'?>
<Relationships xmlns="http://schemas.openxmlformats.org/package/2006/relationships"><Relationship Id="rId1" Type="http://schemas.openxmlformats.org/officeDocument/2006/relationships/package" Target="../embeddings/Microsoft_Excel_Worksheet2931.xlsx"/></Relationships>
</file>

<file path=ppt/charts/_rels/chart2947.xml.rels><?xml version='1.0' encoding='UTF-8' standalone='yes'?>
<Relationships xmlns="http://schemas.openxmlformats.org/package/2006/relationships"><Relationship Id="rId1" Type="http://schemas.openxmlformats.org/officeDocument/2006/relationships/package" Target="../embeddings/Microsoft_Excel_Worksheet2946.xlsx"/></Relationships>
</file>

<file path=ppt/charts/_rels/chart2953.xml.rels><?xml version='1.0' encoding='UTF-8' standalone='yes'?>
<Relationships xmlns="http://schemas.openxmlformats.org/package/2006/relationships"><Relationship Id="rId1" Type="http://schemas.openxmlformats.org/officeDocument/2006/relationships/package" Target="../embeddings/Microsoft_Excel_Worksheet2952.xlsx"/></Relationships>
</file>

<file path=ppt/charts/_rels/chart2955.xml.rels><?xml version='1.0' encoding='UTF-8' standalone='yes'?>
<Relationships xmlns="http://schemas.openxmlformats.org/package/2006/relationships"><Relationship Id="rId1" Type="http://schemas.openxmlformats.org/officeDocument/2006/relationships/package" Target="../embeddings/Microsoft_Excel_Worksheet2954.xlsx"/></Relationships>
</file>

<file path=ppt/charts/_rels/chart2959.xml.rels><?xml version='1.0' encoding='UTF-8' standalone='yes'?>
<Relationships xmlns="http://schemas.openxmlformats.org/package/2006/relationships"><Relationship Id="rId1" Type="http://schemas.openxmlformats.org/officeDocument/2006/relationships/package" Target="../embeddings/Microsoft_Excel_Worksheet2958.xlsx"/></Relationships>
</file>

<file path=ppt/charts/_rels/chart2961.xml.rels><?xml version='1.0' encoding='UTF-8' standalone='yes'?>
<Relationships xmlns="http://schemas.openxmlformats.org/package/2006/relationships"><Relationship Id="rId1" Type="http://schemas.openxmlformats.org/officeDocument/2006/relationships/package" Target="../embeddings/Microsoft_Excel_Worksheet2960.xlsx"/></Relationships>
</file>

<file path=ppt/charts/_rels/chart2968.xml.rels><?xml version='1.0' encoding='UTF-8' standalone='yes'?>
<Relationships xmlns="http://schemas.openxmlformats.org/package/2006/relationships"><Relationship Id="rId1" Type="http://schemas.openxmlformats.org/officeDocument/2006/relationships/package" Target="../embeddings/Microsoft_Excel_Worksheet2967.xlsx"/></Relationships>
</file>

<file path=ppt/charts/_rels/chart2976.xml.rels><?xml version='1.0' encoding='UTF-8' standalone='yes'?>
<Relationships xmlns="http://schemas.openxmlformats.org/package/2006/relationships"><Relationship Id="rId1" Type="http://schemas.openxmlformats.org/officeDocument/2006/relationships/package" Target="../embeddings/Microsoft_Excel_Worksheet2975.xlsx"/></Relationships>
</file>

<file path=ppt/charts/_rels/chart2981.xml.rels><?xml version='1.0' encoding='UTF-8' standalone='yes'?>
<Relationships xmlns="http://schemas.openxmlformats.org/package/2006/relationships"><Relationship Id="rId1" Type="http://schemas.openxmlformats.org/officeDocument/2006/relationships/package" Target="../embeddings/Microsoft_Excel_Worksheet2980.xlsx"/></Relationships>
</file>

<file path=ppt/charts/_rels/chart2982.xml.rels><?xml version='1.0' encoding='UTF-8' standalone='yes'?>
<Relationships xmlns="http://schemas.openxmlformats.org/package/2006/relationships"><Relationship Id="rId1" Type="http://schemas.openxmlformats.org/officeDocument/2006/relationships/package" Target="../embeddings/Microsoft_Excel_Worksheet2981.xlsx"/></Relationships>
</file>

<file path=ppt/charts/_rels/chart2984.xml.rels><?xml version='1.0' encoding='UTF-8' standalone='yes'?>
<Relationships xmlns="http://schemas.openxmlformats.org/package/2006/relationships"><Relationship Id="rId1" Type="http://schemas.openxmlformats.org/officeDocument/2006/relationships/package" Target="../embeddings/Microsoft_Excel_Worksheet2983.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2990.xml.rels><?xml version='1.0' encoding='UTF-8' standalone='yes'?>
<Relationships xmlns="http://schemas.openxmlformats.org/package/2006/relationships"><Relationship Id="rId1" Type="http://schemas.openxmlformats.org/officeDocument/2006/relationships/package" Target="../embeddings/Microsoft_Excel_Worksheet2989.xlsx"/></Relationships>
</file>

<file path=ppt/charts/_rels/chart2997.xml.rels><?xml version='1.0' encoding='UTF-8' standalone='yes'?>
<Relationships xmlns="http://schemas.openxmlformats.org/package/2006/relationships"><Relationship Id="rId1" Type="http://schemas.openxmlformats.org/officeDocument/2006/relationships/package" Target="../embeddings/Microsoft_Excel_Worksheet2996.xlsx"/></Relationships>
</file>

<file path=ppt/charts/_rels/chart2999.xml.rels><?xml version='1.0' encoding='UTF-8' standalone='yes'?>
<Relationships xmlns="http://schemas.openxmlformats.org/package/2006/relationships"><Relationship Id="rId1" Type="http://schemas.openxmlformats.org/officeDocument/2006/relationships/package" Target="../embeddings/Microsoft_Excel_Worksheet2998.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06.xml.rels><?xml version='1.0' encoding='UTF-8' standalone='yes'?>
<Relationships xmlns="http://schemas.openxmlformats.org/package/2006/relationships"><Relationship Id="rId1" Type="http://schemas.openxmlformats.org/officeDocument/2006/relationships/package" Target="../embeddings/Microsoft_Excel_Worksheet3005.xlsx"/></Relationships>
</file>

<file path=ppt/charts/_rels/chart3008.xml.rels><?xml version='1.0' encoding='UTF-8' standalone='yes'?>
<Relationships xmlns="http://schemas.openxmlformats.org/package/2006/relationships"><Relationship Id="rId1" Type="http://schemas.openxmlformats.org/officeDocument/2006/relationships/package" Target="../embeddings/Microsoft_Excel_Worksheet3007.xlsx"/></Relationships>
</file>

<file path=ppt/charts/_rels/chart3013.xml.rels><?xml version='1.0' encoding='UTF-8' standalone='yes'?>
<Relationships xmlns="http://schemas.openxmlformats.org/package/2006/relationships"><Relationship Id="rId1" Type="http://schemas.openxmlformats.org/officeDocument/2006/relationships/package" Target="../embeddings/Microsoft_Excel_Worksheet3012.xlsx"/></Relationships>
</file>

<file path=ppt/charts/_rels/chart3014.xml.rels><?xml version='1.0' encoding='UTF-8' standalone='yes'?>
<Relationships xmlns="http://schemas.openxmlformats.org/package/2006/relationships"><Relationship Id="rId1" Type="http://schemas.openxmlformats.org/officeDocument/2006/relationships/package" Target="../embeddings/Microsoft_Excel_Worksheet3013.xlsx"/></Relationships>
</file>

<file path=ppt/charts/_rels/chart3020.xml.rels><?xml version='1.0' encoding='UTF-8' standalone='yes'?>
<Relationships xmlns="http://schemas.openxmlformats.org/package/2006/relationships"><Relationship Id="rId1" Type="http://schemas.openxmlformats.org/officeDocument/2006/relationships/package" Target="../embeddings/Microsoft_Excel_Worksheet3019.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35.xml.rels><?xml version='1.0' encoding='UTF-8' standalone='yes'?>
<Relationships xmlns="http://schemas.openxmlformats.org/package/2006/relationships"><Relationship Id="rId1" Type="http://schemas.openxmlformats.org/officeDocument/2006/relationships/package" Target="../embeddings/Microsoft_Excel_Worksheet3034.xlsx"/></Relationships>
</file>

<file path=ppt/charts/_rels/chart3037.xml.rels><?xml version='1.0' encoding='UTF-8' standalone='yes'?>
<Relationships xmlns="http://schemas.openxmlformats.org/package/2006/relationships"><Relationship Id="rId1" Type="http://schemas.openxmlformats.org/officeDocument/2006/relationships/package" Target="../embeddings/Microsoft_Excel_Worksheet3036.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43.xml.rels><?xml version='1.0' encoding='UTF-8' standalone='yes'?>
<Relationships xmlns="http://schemas.openxmlformats.org/package/2006/relationships"><Relationship Id="rId1" Type="http://schemas.openxmlformats.org/officeDocument/2006/relationships/package" Target="../embeddings/Microsoft_Excel_Worksheet3042.xlsx"/></Relationships>
</file>

<file path=ppt/charts/_rels/chart3049.xml.rels><?xml version='1.0' encoding='UTF-8' standalone='yes'?>
<Relationships xmlns="http://schemas.openxmlformats.org/package/2006/relationships"><Relationship Id="rId1" Type="http://schemas.openxmlformats.org/officeDocument/2006/relationships/package" Target="../embeddings/Microsoft_Excel_Worksheet3048.xlsx"/></Relationships>
</file>

<file path=ppt/charts/_rels/chart3051.xml.rels><?xml version='1.0' encoding='UTF-8' standalone='yes'?>
<Relationships xmlns="http://schemas.openxmlformats.org/package/2006/relationships"><Relationship Id="rId1" Type="http://schemas.openxmlformats.org/officeDocument/2006/relationships/package" Target="../embeddings/Microsoft_Excel_Worksheet3050.xlsx"/></Relationships>
</file>

<file path=ppt/charts/_rels/chart3057.xml.rels><?xml version='1.0' encoding='UTF-8' standalone='yes'?>
<Relationships xmlns="http://schemas.openxmlformats.org/package/2006/relationships"><Relationship Id="rId1" Type="http://schemas.openxmlformats.org/officeDocument/2006/relationships/package" Target="../embeddings/Microsoft_Excel_Worksheet3056.xlsx"/></Relationships>
</file>

<file path=ppt/charts/_rels/chart3058.xml.rels><?xml version='1.0' encoding='UTF-8' standalone='yes'?>
<Relationships xmlns="http://schemas.openxmlformats.org/package/2006/relationships"><Relationship Id="rId1" Type="http://schemas.openxmlformats.org/officeDocument/2006/relationships/package" Target="../embeddings/Microsoft_Excel_Worksheet3057.xlsx"/></Relationships>
</file>

<file path=ppt/charts/_rels/chart3064.xml.rels><?xml version='1.0' encoding='UTF-8' standalone='yes'?>
<Relationships xmlns="http://schemas.openxmlformats.org/package/2006/relationships"><Relationship Id="rId1" Type="http://schemas.openxmlformats.org/officeDocument/2006/relationships/package" Target="../embeddings/Microsoft_Excel_Worksheet3063.xlsx"/></Relationships>
</file>

<file path=ppt/charts/_rels/chart3066.xml.rels><?xml version='1.0' encoding='UTF-8' standalone='yes'?>
<Relationships xmlns="http://schemas.openxmlformats.org/package/2006/relationships"><Relationship Id="rId1" Type="http://schemas.openxmlformats.org/officeDocument/2006/relationships/package" Target="../embeddings/Microsoft_Excel_Worksheet3065.xlsx"/></Relationships>
</file>

<file path=ppt/charts/_rels/chart3072.xml.rels><?xml version='1.0' encoding='UTF-8' standalone='yes'?>
<Relationships xmlns="http://schemas.openxmlformats.org/package/2006/relationships"><Relationship Id="rId1" Type="http://schemas.openxmlformats.org/officeDocument/2006/relationships/package" Target="../embeddings/Microsoft_Excel_Worksheet3071.xlsx"/></Relationships>
</file>

<file path=ppt/charts/_rels/chart3087.xml.rels><?xml version='1.0' encoding='UTF-8' standalone='yes'?>
<Relationships xmlns="http://schemas.openxmlformats.org/package/2006/relationships"><Relationship Id="rId1" Type="http://schemas.microsoft.com/office/2011/relationships/chartStyle" Target="style800.xml"/><Relationship Id="rId2" Type="http://schemas.microsoft.com/office/2011/relationships/chartColorStyle" Target="colors800.xml"/><Relationship Id="rId3" Type="http://schemas.openxmlformats.org/officeDocument/2006/relationships/package" Target="../embeddings/Microsoft_Excel_Worksheet3086.xlsx"/></Relationships>
</file>

<file path=ppt/charts/_rels/chart3093.xml.rels><?xml version='1.0' encoding='UTF-8' standalone='yes'?>
<Relationships xmlns="http://schemas.openxmlformats.org/package/2006/relationships"><Relationship Id="rId1" Type="http://schemas.microsoft.com/office/2011/relationships/chartStyle" Target="style806.xml"/><Relationship Id="rId2" Type="http://schemas.microsoft.com/office/2011/relationships/chartColorStyle" Target="colors806.xml"/><Relationship Id="rId3" Type="http://schemas.openxmlformats.org/officeDocument/2006/relationships/package" Target="../embeddings/Microsoft_Excel_Worksheet3092.xlsx"/></Relationships>
</file>

<file path=ppt/charts/_rels/chart3095.xml.rels><?xml version='1.0' encoding='UTF-8' standalone='yes'?>
<Relationships xmlns="http://schemas.openxmlformats.org/package/2006/relationships"><Relationship Id="rId1" Type="http://schemas.microsoft.com/office/2011/relationships/chartStyle" Target="style808.xml"/><Relationship Id="rId2" Type="http://schemas.microsoft.com/office/2011/relationships/chartColorStyle" Target="colors808.xml"/><Relationship Id="rId3" Type="http://schemas.openxmlformats.org/officeDocument/2006/relationships/package" Target="../embeddings/Microsoft_Excel_Worksheet3094.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2.xml.rels><?xml version='1.0' encoding='UTF-8' standalone='yes'?>
<Relationships xmlns="http://schemas.openxmlformats.org/package/2006/relationships"><Relationship Id="rId1" Type="http://schemas.microsoft.com/office/2011/relationships/chartStyle" Target="style815.xml"/><Relationship Id="rId2" Type="http://schemas.microsoft.com/office/2011/relationships/chartColorStyle" Target="colors815.xml"/><Relationship Id="rId3" Type="http://schemas.openxmlformats.org/officeDocument/2006/relationships/package" Target="../embeddings/Microsoft_Excel_Worksheet3101.xlsx"/></Relationships>
</file>

<file path=ppt/charts/_rels/chart3104.xml.rels><?xml version='1.0' encoding='UTF-8' standalone='yes'?>
<Relationships xmlns="http://schemas.openxmlformats.org/package/2006/relationships"><Relationship Id="rId1" Type="http://schemas.microsoft.com/office/2011/relationships/chartStyle" Target="style817.xml"/><Relationship Id="rId2" Type="http://schemas.microsoft.com/office/2011/relationships/chartColorStyle" Target="colors817.xml"/><Relationship Id="rId3" Type="http://schemas.openxmlformats.org/officeDocument/2006/relationships/package" Target="../embeddings/Microsoft_Excel_Worksheet3103.xlsx"/></Relationships>
</file>

<file path=ppt/charts/_rels/chart3110.xml.rels><?xml version='1.0' encoding='UTF-8' standalone='yes'?>
<Relationships xmlns="http://schemas.openxmlformats.org/package/2006/relationships"><Relationship Id="rId1" Type="http://schemas.microsoft.com/office/2011/relationships/chartStyle" Target="style823.xml"/><Relationship Id="rId2" Type="http://schemas.microsoft.com/office/2011/relationships/chartColorStyle" Target="colors823.xml"/><Relationship Id="rId3" Type="http://schemas.openxmlformats.org/officeDocument/2006/relationships/package" Target="../embeddings/Microsoft_Excel_Worksheet3109.xlsx"/></Relationships>
</file>

<file path=ppt/charts/_rels/chart3124.xml.rels><?xml version='1.0' encoding='UTF-8' standalone='yes'?>
<Relationships xmlns="http://schemas.openxmlformats.org/package/2006/relationships"><Relationship Id="rId1" Type="http://schemas.microsoft.com/office/2011/relationships/chartStyle" Target="style837.xml"/><Relationship Id="rId2" Type="http://schemas.microsoft.com/office/2011/relationships/chartColorStyle" Target="colors837.xml"/><Relationship Id="rId3" Type="http://schemas.openxmlformats.org/officeDocument/2006/relationships/package" Target="../embeddings/Microsoft_Excel_Worksheet3123.xlsx"/></Relationships>
</file>

<file path=ppt/charts/_rels/chart3125.xml.rels><?xml version='1.0' encoding='UTF-8' standalone='yes'?>
<Relationships xmlns="http://schemas.openxmlformats.org/package/2006/relationships"><Relationship Id="rId1" Type="http://schemas.microsoft.com/office/2011/relationships/chartStyle" Target="style838.xml"/><Relationship Id="rId2" Type="http://schemas.microsoft.com/office/2011/relationships/chartColorStyle" Target="colors838.xml"/><Relationship Id="rId3" Type="http://schemas.openxmlformats.org/officeDocument/2006/relationships/package" Target="../embeddings/Microsoft_Excel_Worksheet3124.xlsx"/></Relationships>
</file>

<file path=ppt/charts/_rels/chart3127.xml.rels><?xml version='1.0' encoding='UTF-8' standalone='yes'?>
<Relationships xmlns="http://schemas.openxmlformats.org/package/2006/relationships"><Relationship Id="rId1" Type="http://schemas.microsoft.com/office/2011/relationships/chartStyle" Target="style840.xml"/><Relationship Id="rId2" Type="http://schemas.microsoft.com/office/2011/relationships/chartColorStyle" Target="colors840.xml"/><Relationship Id="rId3" Type="http://schemas.openxmlformats.org/officeDocument/2006/relationships/package" Target="../embeddings/Microsoft_Excel_Worksheet3126.xlsx"/></Relationships>
</file>

<file path=ppt/charts/_rels/chart3131.xml.rels><?xml version='1.0' encoding='UTF-8' standalone='yes'?>
<Relationships xmlns="http://schemas.openxmlformats.org/package/2006/relationships"><Relationship Id="rId1" Type="http://schemas.microsoft.com/office/2011/relationships/chartStyle" Target="style844.xml"/><Relationship Id="rId2" Type="http://schemas.microsoft.com/office/2011/relationships/chartColorStyle" Target="colors844.xml"/><Relationship Id="rId3" Type="http://schemas.openxmlformats.org/officeDocument/2006/relationships/package" Target="../embeddings/Microsoft_Excel_Worksheet3130.xlsx"/></Relationships>
</file>

<file path=ppt/charts/_rels/chart3133.xml.rels><?xml version='1.0' encoding='UTF-8' standalone='yes'?>
<Relationships xmlns="http://schemas.openxmlformats.org/package/2006/relationships"><Relationship Id="rId1" Type="http://schemas.microsoft.com/office/2011/relationships/chartStyle" Target="style846.xml"/><Relationship Id="rId2" Type="http://schemas.microsoft.com/office/2011/relationships/chartColorStyle" Target="colors846.xml"/><Relationship Id="rId3" Type="http://schemas.openxmlformats.org/officeDocument/2006/relationships/package" Target="../embeddings/Microsoft_Excel_Worksheet3132.xlsx"/></Relationships>
</file>

<file path=ppt/charts/_rels/chart3139.xml.rels><?xml version='1.0' encoding='UTF-8' standalone='yes'?>
<Relationships xmlns="http://schemas.openxmlformats.org/package/2006/relationships"><Relationship Id="rId1" Type="http://schemas.microsoft.com/office/2011/relationships/chartStyle" Target="style852.xml"/><Relationship Id="rId2" Type="http://schemas.microsoft.com/office/2011/relationships/chartColorStyle" Target="colors852.xml"/><Relationship Id="rId3" Type="http://schemas.openxmlformats.org/officeDocument/2006/relationships/package" Target="../embeddings/Microsoft_Excel_Worksheet3138.xlsx"/></Relationships>
</file>

<file path=ppt/charts/_rels/chart3146.xml.rels><?xml version='1.0' encoding='UTF-8' standalone='yes'?>
<Relationships xmlns="http://schemas.openxmlformats.org/package/2006/relationships"><Relationship Id="rId1" Type="http://schemas.microsoft.com/office/2011/relationships/chartStyle" Target="style859.xml"/><Relationship Id="rId2" Type="http://schemas.microsoft.com/office/2011/relationships/chartColorStyle" Target="colors859.xml"/><Relationship Id="rId3" Type="http://schemas.openxmlformats.org/officeDocument/2006/relationships/package" Target="../embeddings/Microsoft_Excel_Worksheet3145.xlsx"/></Relationships>
</file>

<file path=ppt/charts/_rels/chart3148.xml.rels><?xml version='1.0' encoding='UTF-8' standalone='yes'?>
<Relationships xmlns="http://schemas.openxmlformats.org/package/2006/relationships"><Relationship Id="rId1" Type="http://schemas.microsoft.com/office/2011/relationships/chartStyle" Target="style861.xml"/><Relationship Id="rId2" Type="http://schemas.microsoft.com/office/2011/relationships/chartColorStyle" Target="colors861.xml"/><Relationship Id="rId3" Type="http://schemas.openxmlformats.org/officeDocument/2006/relationships/package" Target="../embeddings/Microsoft_Excel_Worksheet3147.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54.xml.rels><?xml version='1.0' encoding='UTF-8' standalone='yes'?>
<Relationships xmlns="http://schemas.openxmlformats.org/package/2006/relationships"><Relationship Id="rId1" Type="http://schemas.microsoft.com/office/2011/relationships/chartStyle" Target="style867.xml"/><Relationship Id="rId2" Type="http://schemas.microsoft.com/office/2011/relationships/chartColorStyle" Target="colors867.xml"/><Relationship Id="rId3" Type="http://schemas.openxmlformats.org/officeDocument/2006/relationships/package" Target="../embeddings/Microsoft_Excel_Worksheet3153.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60.xml.rels><?xml version='1.0' encoding='UTF-8' standalone='yes'?>
<Relationships xmlns="http://schemas.openxmlformats.org/package/2006/relationships"><Relationship Id="rId1" Type="http://schemas.microsoft.com/office/2011/relationships/chartStyle" Target="style873.xml"/><Relationship Id="rId2" Type="http://schemas.microsoft.com/office/2011/relationships/chartColorStyle" Target="colors873.xml"/><Relationship Id="rId3" Type="http://schemas.openxmlformats.org/officeDocument/2006/relationships/package" Target="../embeddings/Microsoft_Excel_Worksheet3159.xlsx"/></Relationships>
</file>

<file path=ppt/charts/_rels/chart3162.xml.rels><?xml version='1.0' encoding='UTF-8' standalone='yes'?>
<Relationships xmlns="http://schemas.openxmlformats.org/package/2006/relationships"><Relationship Id="rId1" Type="http://schemas.microsoft.com/office/2011/relationships/chartStyle" Target="style875.xml"/><Relationship Id="rId2" Type="http://schemas.microsoft.com/office/2011/relationships/chartColorStyle" Target="colors875.xml"/><Relationship Id="rId3" Type="http://schemas.openxmlformats.org/officeDocument/2006/relationships/package" Target="../embeddings/Microsoft_Excel_Worksheet3161.xlsx"/></Relationships>
</file>

<file path=ppt/charts/_rels/chart3175.xml.rels><?xml version='1.0' encoding='UTF-8' standalone='yes'?>
<Relationships xmlns="http://schemas.openxmlformats.org/package/2006/relationships"><Relationship Id="rId1" Type="http://schemas.microsoft.com/office/2011/relationships/chartStyle" Target="style888.xml"/><Relationship Id="rId2" Type="http://schemas.microsoft.com/office/2011/relationships/chartColorStyle" Target="colors888.xml"/><Relationship Id="rId3" Type="http://schemas.openxmlformats.org/officeDocument/2006/relationships/package" Target="../embeddings/Microsoft_Excel_Worksheet3174.xlsx"/></Relationships>
</file>

<file path=ppt/charts/_rels/chart3177.xml.rels><?xml version='1.0' encoding='UTF-8' standalone='yes'?>
<Relationships xmlns="http://schemas.openxmlformats.org/package/2006/relationships"><Relationship Id="rId1" Type="http://schemas.microsoft.com/office/2011/relationships/chartStyle" Target="style890.xml"/><Relationship Id="rId2" Type="http://schemas.microsoft.com/office/2011/relationships/chartColorStyle" Target="colors890.xml"/><Relationship Id="rId3" Type="http://schemas.openxmlformats.org/officeDocument/2006/relationships/package" Target="../embeddings/Microsoft_Excel_Worksheet3176.xlsx"/></Relationships>
</file>

<file path=ppt/charts/_rels/chart3183.xml.rels><?xml version='1.0' encoding='UTF-8' standalone='yes'?>
<Relationships xmlns="http://schemas.openxmlformats.org/package/2006/relationships"><Relationship Id="rId1" Type="http://schemas.microsoft.com/office/2011/relationships/chartStyle" Target="style896.xml"/><Relationship Id="rId2" Type="http://schemas.microsoft.com/office/2011/relationships/chartColorStyle" Target="colors896.xml"/><Relationship Id="rId3" Type="http://schemas.openxmlformats.org/officeDocument/2006/relationships/package" Target="../embeddings/Microsoft_Excel_Worksheet3182.xlsx"/></Relationships>
</file>

<file path=ppt/charts/_rels/chart3189.xml.rels><?xml version='1.0' encoding='UTF-8' standalone='yes'?>
<Relationships xmlns="http://schemas.openxmlformats.org/package/2006/relationships"><Relationship Id="rId1" Type="http://schemas.microsoft.com/office/2011/relationships/chartStyle" Target="style902.xml"/><Relationship Id="rId2" Type="http://schemas.microsoft.com/office/2011/relationships/chartColorStyle" Target="colors902.xml"/><Relationship Id="rId3" Type="http://schemas.openxmlformats.org/officeDocument/2006/relationships/package" Target="../embeddings/Microsoft_Excel_Worksheet3188.xlsx"/></Relationships>
</file>

<file path=ppt/charts/_rels/chart3191.xml.rels><?xml version='1.0' encoding='UTF-8' standalone='yes'?>
<Relationships xmlns="http://schemas.openxmlformats.org/package/2006/relationships"><Relationship Id="rId1" Type="http://schemas.microsoft.com/office/2011/relationships/chartStyle" Target="style904.xml"/><Relationship Id="rId2" Type="http://schemas.microsoft.com/office/2011/relationships/chartColorStyle" Target="colors904.xml"/><Relationship Id="rId3" Type="http://schemas.openxmlformats.org/officeDocument/2006/relationships/package" Target="../embeddings/Microsoft_Excel_Worksheet3190.xlsx"/></Relationships>
</file>

<file path=ppt/charts/_rels/chart3197.xml.rels><?xml version='1.0' encoding='UTF-8' standalone='yes'?>
<Relationships xmlns="http://schemas.openxmlformats.org/package/2006/relationships"><Relationship Id="rId1" Type="http://schemas.microsoft.com/office/2011/relationships/chartStyle" Target="style910.xml"/><Relationship Id="rId2" Type="http://schemas.microsoft.com/office/2011/relationships/chartColorStyle" Target="colors910.xml"/><Relationship Id="rId3"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microsoft.com/office/2011/relationships/chartStyle" Target="style911.xml"/><Relationship Id="rId2" Type="http://schemas.microsoft.com/office/2011/relationships/chartColorStyle" Target="colors911.xml"/><Relationship Id="rId3" Type="http://schemas.openxmlformats.org/officeDocument/2006/relationships/package" Target="../embeddings/Microsoft_Excel_Worksheet3197.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0.xml.rels><?xml version='1.0' encoding='UTF-8' standalone='yes'?>
<Relationships xmlns="http://schemas.openxmlformats.org/package/2006/relationships"><Relationship Id="rId1" Type="http://schemas.microsoft.com/office/2011/relationships/chartStyle" Target="style913.xml"/><Relationship Id="rId2" Type="http://schemas.microsoft.com/office/2011/relationships/chartColorStyle" Target="colors913.xml"/><Relationship Id="rId3" Type="http://schemas.openxmlformats.org/officeDocument/2006/relationships/package" Target="../embeddings/Microsoft_Excel_Worksheet3199.xlsx"/></Relationships>
</file>

<file path=ppt/charts/_rels/chart3207.xml.rels><?xml version='1.0' encoding='UTF-8' standalone='yes'?>
<Relationships xmlns="http://schemas.openxmlformats.org/package/2006/relationships"><Relationship Id="rId1" Type="http://schemas.microsoft.com/office/2011/relationships/chartStyle" Target="style920.xml"/><Relationship Id="rId2" Type="http://schemas.microsoft.com/office/2011/relationships/chartColorStyle" Target="colors920.xml"/><Relationship Id="rId3" Type="http://schemas.openxmlformats.org/officeDocument/2006/relationships/package" Target="../embeddings/Microsoft_Excel_Worksheet3206.xlsx"/></Relationships>
</file>

<file path=ppt/charts/_rels/chart3213.xml.rels><?xml version='1.0' encoding='UTF-8' standalone='yes'?>
<Relationships xmlns="http://schemas.openxmlformats.org/package/2006/relationships"><Relationship Id="rId1" Type="http://schemas.microsoft.com/office/2011/relationships/chartStyle" Target="style926.xml"/><Relationship Id="rId2" Type="http://schemas.microsoft.com/office/2011/relationships/chartColorStyle" Target="colors926.xml"/><Relationship Id="rId3" Type="http://schemas.openxmlformats.org/officeDocument/2006/relationships/package" Target="../embeddings/Microsoft_Excel_Worksheet3212.xlsx"/></Relationships>
</file>

<file path=ppt/charts/_rels/chart3215.xml.rels><?xml version='1.0' encoding='UTF-8' standalone='yes'?>
<Relationships xmlns="http://schemas.openxmlformats.org/package/2006/relationships"><Relationship Id="rId1" Type="http://schemas.microsoft.com/office/2011/relationships/chartStyle" Target="style928.xml"/><Relationship Id="rId2" Type="http://schemas.microsoft.com/office/2011/relationships/chartColorStyle" Target="colors928.xml"/><Relationship Id="rId3" Type="http://schemas.openxmlformats.org/officeDocument/2006/relationships/package" Target="../embeddings/Microsoft_Excel_Worksheet3214.xlsx"/></Relationships>
</file>

<file path=ppt/charts/_rels/chart3220.xml.rels><?xml version='1.0' encoding='UTF-8' standalone='yes'?>
<Relationships xmlns="http://schemas.openxmlformats.org/package/2006/relationships"><Relationship Id="rId1" Type="http://schemas.microsoft.com/office/2011/relationships/chartStyle" Target="style933.xml"/><Relationship Id="rId2" Type="http://schemas.microsoft.com/office/2011/relationships/chartColorStyle" Target="colors933.xml"/><Relationship Id="rId3" Type="http://schemas.openxmlformats.org/officeDocument/2006/relationships/package" Target="../embeddings/Microsoft_Excel_Worksheet3219.xlsx"/></Relationships>
</file>

<file path=ppt/charts/_rels/chart3221.xml.rels><?xml version='1.0' encoding='UTF-8' standalone='yes'?>
<Relationships xmlns="http://schemas.openxmlformats.org/package/2006/relationships"><Relationship Id="rId1" Type="http://schemas.microsoft.com/office/2011/relationships/chartStyle" Target="style934.xml"/><Relationship Id="rId2" Type="http://schemas.microsoft.com/office/2011/relationships/chartColorStyle" Target="colors934.xml"/><Relationship Id="rId3" Type="http://schemas.openxmlformats.org/officeDocument/2006/relationships/package" Target="../embeddings/Microsoft_Excel_Worksheet3220.xlsx"/></Relationships>
</file>

<file path=ppt/charts/_rels/chart3229.xml.rels><?xml version='1.0' encoding='UTF-8' standalone='yes'?>
<Relationships xmlns="http://schemas.openxmlformats.org/package/2006/relationships"><Relationship Id="rId1" Type="http://schemas.microsoft.com/office/2011/relationships/chartStyle" Target="style942.xml"/><Relationship Id="rId2" Type="http://schemas.microsoft.com/office/2011/relationships/chartColorStyle" Target="colors942.xml"/><Relationship Id="rId3" Type="http://schemas.openxmlformats.org/officeDocument/2006/relationships/package" Target="../embeddings/Microsoft_Excel_Worksheet3228.xlsx"/></Relationships>
</file>

<file path=ppt/charts/_rels/chart3236.xml.rels><?xml version='1.0' encoding='UTF-8' standalone='yes'?>
<Relationships xmlns="http://schemas.openxmlformats.org/package/2006/relationships"><Relationship Id="rId1" Type="http://schemas.microsoft.com/office/2011/relationships/chartStyle" Target="style949.xml"/><Relationship Id="rId2" Type="http://schemas.microsoft.com/office/2011/relationships/chartColorStyle" Target="colors949.xml"/><Relationship Id="rId3" Type="http://schemas.openxmlformats.org/officeDocument/2006/relationships/package" Target="../embeddings/Microsoft_Excel_Worksheet3235.xlsx"/></Relationships>
</file>

<file path=ppt/charts/_rels/chart3238.xml.rels><?xml version='1.0' encoding='UTF-8' standalone='yes'?>
<Relationships xmlns="http://schemas.openxmlformats.org/package/2006/relationships"><Relationship Id="rId1" Type="http://schemas.microsoft.com/office/2011/relationships/chartStyle" Target="style951.xml"/><Relationship Id="rId2" Type="http://schemas.microsoft.com/office/2011/relationships/chartColorStyle" Target="colors951.xml"/><Relationship Id="rId3" Type="http://schemas.openxmlformats.org/officeDocument/2006/relationships/package" Target="../embeddings/Microsoft_Excel_Worksheet3237.xlsx"/></Relationships>
</file>

<file path=ppt/charts/_rels/chart3242.xml.rels><?xml version='1.0' encoding='UTF-8' standalone='yes'?>
<Relationships xmlns="http://schemas.openxmlformats.org/package/2006/relationships"><Relationship Id="rId1" Type="http://schemas.microsoft.com/office/2011/relationships/chartStyle" Target="style955.xml"/><Relationship Id="rId2" Type="http://schemas.microsoft.com/office/2011/relationships/chartColorStyle" Target="colors955.xml"/><Relationship Id="rId3" Type="http://schemas.openxmlformats.org/officeDocument/2006/relationships/package" Target="../embeddings/Microsoft_Excel_Worksheet3241.xlsx"/></Relationships>
</file>

<file path=ppt/charts/_rels/chart3244.xml.rels><?xml version='1.0' encoding='UTF-8' standalone='yes'?>
<Relationships xmlns="http://schemas.openxmlformats.org/package/2006/relationships"><Relationship Id="rId1" Type="http://schemas.microsoft.com/office/2011/relationships/chartStyle" Target="style957.xml"/><Relationship Id="rId2" Type="http://schemas.microsoft.com/office/2011/relationships/chartColorStyle" Target="colors957.xml"/><Relationship Id="rId3" Type="http://schemas.openxmlformats.org/officeDocument/2006/relationships/package" Target="../embeddings/Microsoft_Excel_Worksheet3243.xlsx"/></Relationships>
</file>

<file path=ppt/charts/_rels/chart3250.xml.rels><?xml version='1.0' encoding='UTF-8' standalone='yes'?>
<Relationships xmlns="http://schemas.openxmlformats.org/package/2006/relationships"><Relationship Id="rId1" Type="http://schemas.microsoft.com/office/2011/relationships/chartStyle" Target="style963.xml"/><Relationship Id="rId2" Type="http://schemas.microsoft.com/office/2011/relationships/chartColorStyle" Target="colors963.xml"/><Relationship Id="rId3" Type="http://schemas.openxmlformats.org/officeDocument/2006/relationships/package" Target="../embeddings/Microsoft_Excel_Worksheet3249.xlsx"/></Relationships>
</file>

<file path=ppt/charts/_rels/chart3264.xml.rels><?xml version='1.0' encoding='UTF-8' standalone='yes'?>
<Relationships xmlns="http://schemas.openxmlformats.org/package/2006/relationships"><Relationship Id="rId1" Type="http://schemas.microsoft.com/office/2011/relationships/chartStyle" Target="style977.xml"/><Relationship Id="rId2" Type="http://schemas.microsoft.com/office/2011/relationships/chartColorStyle" Target="colors977.xml"/><Relationship Id="rId3" Type="http://schemas.openxmlformats.org/officeDocument/2006/relationships/package" Target="../embeddings/Microsoft_Excel_Worksheet3263.xlsx"/></Relationships>
</file>

<file path=ppt/charts/_rels/chart3265.xml.rels><?xml version='1.0' encoding='UTF-8' standalone='yes'?>
<Relationships xmlns="http://schemas.openxmlformats.org/package/2006/relationships"><Relationship Id="rId1" Type="http://schemas.microsoft.com/office/2011/relationships/chartStyle" Target="style978.xml"/><Relationship Id="rId2" Type="http://schemas.microsoft.com/office/2011/relationships/chartColorStyle" Target="colors978.xml"/><Relationship Id="rId3" Type="http://schemas.openxmlformats.org/officeDocument/2006/relationships/package" Target="../embeddings/Microsoft_Excel_Worksheet3264.xlsx"/></Relationships>
</file>

<file path=ppt/charts/_rels/chart3267.xml.rels><?xml version='1.0' encoding='UTF-8' standalone='yes'?>
<Relationships xmlns="http://schemas.openxmlformats.org/package/2006/relationships"><Relationship Id="rId1" Type="http://schemas.microsoft.com/office/2011/relationships/chartStyle" Target="style980.xml"/><Relationship Id="rId2" Type="http://schemas.microsoft.com/office/2011/relationships/chartColorStyle" Target="colors980.xml"/><Relationship Id="rId3" Type="http://schemas.openxmlformats.org/officeDocument/2006/relationships/package" Target="../embeddings/Microsoft_Excel_Worksheet3266.xlsx"/></Relationships>
</file>

<file path=ppt/charts/_rels/chart3271.xml.rels><?xml version='1.0' encoding='UTF-8' standalone='yes'?>
<Relationships xmlns="http://schemas.openxmlformats.org/package/2006/relationships"><Relationship Id="rId1" Type="http://schemas.microsoft.com/office/2011/relationships/chartStyle" Target="style984.xml"/><Relationship Id="rId2" Type="http://schemas.microsoft.com/office/2011/relationships/chartColorStyle" Target="colors984.xml"/><Relationship Id="rId3" Type="http://schemas.openxmlformats.org/officeDocument/2006/relationships/package" Target="../embeddings/Microsoft_Excel_Worksheet3270.xlsx"/></Relationships>
</file>

<file path=ppt/charts/_rels/chart3273.xml.rels><?xml version='1.0' encoding='UTF-8' standalone='yes'?>
<Relationships xmlns="http://schemas.openxmlformats.org/package/2006/relationships"><Relationship Id="rId1" Type="http://schemas.microsoft.com/office/2011/relationships/chartStyle" Target="style986.xml"/><Relationship Id="rId2" Type="http://schemas.microsoft.com/office/2011/relationships/chartColorStyle" Target="colors986.xml"/><Relationship Id="rId3" Type="http://schemas.openxmlformats.org/officeDocument/2006/relationships/package" Target="../embeddings/Microsoft_Excel_Worksheet3272.xlsx"/></Relationships>
</file>

<file path=ppt/charts/_rels/chart3279.xml.rels><?xml version='1.0' encoding='UTF-8' standalone='yes'?>
<Relationships xmlns="http://schemas.openxmlformats.org/package/2006/relationships"><Relationship Id="rId1" Type="http://schemas.microsoft.com/office/2011/relationships/chartStyle" Target="style992.xml"/><Relationship Id="rId2" Type="http://schemas.microsoft.com/office/2011/relationships/chartColorStyle" Target="colors992.xml"/><Relationship Id="rId3" Type="http://schemas.openxmlformats.org/officeDocument/2006/relationships/package" Target="../embeddings/Microsoft_Excel_Worksheet3278.xlsx"/></Relationships>
</file>

<file path=ppt/charts/_rels/chart3286.xml.rels><?xml version='1.0' encoding='UTF-8' standalone='yes'?>
<Relationships xmlns="http://schemas.openxmlformats.org/package/2006/relationships"><Relationship Id="rId1" Type="http://schemas.microsoft.com/office/2011/relationships/chartStyle" Target="style999.xml"/><Relationship Id="rId2" Type="http://schemas.microsoft.com/office/2011/relationships/chartColorStyle" Target="colors999.xml"/><Relationship Id="rId3" Type="http://schemas.openxmlformats.org/officeDocument/2006/relationships/package" Target="../embeddings/Microsoft_Excel_Worksheet3285.xlsx"/></Relationships>
</file>

<file path=ppt/charts/_rels/chart3288.xml.rels><?xml version='1.0' encoding='UTF-8' standalone='yes'?>
<Relationships xmlns="http://schemas.openxmlformats.org/package/2006/relationships"><Relationship Id="rId1" Type="http://schemas.microsoft.com/office/2011/relationships/chartStyle" Target="style1001.xml"/><Relationship Id="rId2" Type="http://schemas.microsoft.com/office/2011/relationships/chartColorStyle" Target="colors1001.xml"/><Relationship Id="rId3" Type="http://schemas.openxmlformats.org/officeDocument/2006/relationships/package" Target="../embeddings/Microsoft_Excel_Worksheet3287.xlsx"/></Relationships>
</file>

<file path=ppt/charts/_rels/chart3294.xml.rels><?xml version='1.0' encoding='UTF-8' standalone='yes'?>
<Relationships xmlns="http://schemas.openxmlformats.org/package/2006/relationships"><Relationship Id="rId1" Type="http://schemas.microsoft.com/office/2011/relationships/chartStyle" Target="style1007.xml"/><Relationship Id="rId2" Type="http://schemas.microsoft.com/office/2011/relationships/chartColorStyle" Target="colors1007.xml"/><Relationship Id="rId3" Type="http://schemas.openxmlformats.org/officeDocument/2006/relationships/package" Target="../embeddings/Microsoft_Excel_Worksheet3293.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449.xlsx"/></Relationships>
</file>

<file path=ppt/charts/_rels/chart457.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456.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3.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462.xlsx"/></Relationships>
</file>

<file path=ppt/charts/_rels/chart465.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464.xlsx"/></Relationships>
</file>

<file path=ppt/charts/_rels/chart471.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470.xlsx"/></Relationships>
</file>

<file path=ppt/charts/_rels/chart479.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478.xlsx"/></Relationships>
</file>

<file path=ppt/charts/_rels/chart485.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485.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2.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91.xlsx"/></Relationships>
</file>

<file path=ppt/charts/_rels/chart494.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9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3.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02.xlsx"/></Relationships>
</file>

<file path=ppt/charts/_rels/chart508.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508.xlsx"/></Relationships>
</file>

<file path=ppt/charts/_rels/chart524.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523.xlsx"/></Relationships>
</file>

<file path=ppt/charts/_rels/chart526.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525.xlsx"/></Relationships>
</file>

<file path=ppt/charts/_rels/chart530.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529.xlsx"/></Relationships>
</file>

<file path=ppt/charts/_rels/chart532.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531.xlsx"/></Relationships>
</file>

<file path=ppt/charts/_rels/chart538.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537.xlsx"/></Relationships>
</file>

<file path=ppt/charts/_rels/chart547.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546.xlsx"/></Relationships>
</file>

<file path=ppt/charts/_rels/chart552.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552.xlsx"/></Relationships>
</file>

<file path=ppt/charts/_rels/chart555.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554.xlsx"/></Relationships>
</file>

<file path=ppt/charts/_rels/chart559.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558.xlsx"/></Relationships>
</file>

<file path=ppt/charts/_rels/chart561.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560.xlsx"/></Relationships>
</file>

<file path=ppt/charts/_rels/chart576.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575.xlsx"/></Relationships>
</file>

<file path=ppt/charts/_rels/chart581.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581.xlsx"/></Relationships>
</file>

<file path=ppt/charts/_rels/chart588.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587.xlsx"/></Relationships>
</file>

<file path=ppt/charts/_rels/chart590.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589.xlsx"/></Relationships>
</file>

<file path=ppt/charts/_rels/chart597.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596.xlsx"/></Relationships>
</file>

<file path=ppt/charts/_rels/chart599.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6.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605.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4.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613.xlsx"/></Relationships>
</file>

<file path=ppt/charts/_rels/chart619.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619.xlsx"/></Relationships>
</file>

<file path=ppt/charts/_rels/chart622.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621.xlsx"/></Relationships>
</file>

<file path=ppt/charts/_rels/chart628.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627.xlsx"/></Relationships>
</file>

<file path=ppt/charts/_rels/chart635.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634.xlsx"/></Relationships>
</file>

<file path=ppt/charts/_rels/chart637.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636.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4.167</c:v>
                </c:pt>
                <c:pt idx="1">
                  <c:v>-0.05900000000000005</c:v>
                </c:pt>
                <c:pt idx="2">
                  <c:v>-0.052000000000000046</c:v>
                </c:pt>
                <c:pt idx="3">
                  <c:v>0.028999999999999915</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6</c:v>
                </c:pt>
                <c:pt idx="1">
                  <c:v>0.02</c:v>
                </c:pt>
                <c:pt idx="2">
                  <c:v>0.22</c:v>
                </c:pt>
                <c:pt idx="3">
                  <c:v>0.37</c:v>
                </c:pt>
                <c:pt idx="4">
                  <c:v>0.56</c:v>
                </c:pt>
                <c:pt idx="5">
                  <c:v>0.13</c:v>
                </c:pt>
                <c:pt idx="6">
                  <c:v>0.07</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4</c:v>
                </c:pt>
                <c:pt idx="1">
                  <c:v>0.98</c:v>
                </c:pt>
                <c:pt idx="2">
                  <c:v>0.78</c:v>
                </c:pt>
                <c:pt idx="3">
                  <c:v>0.63</c:v>
                </c:pt>
                <c:pt idx="4">
                  <c:v>0.43999999999999995</c:v>
                </c:pt>
                <c:pt idx="5">
                  <c:v>0.87</c:v>
                </c:pt>
                <c:pt idx="6">
                  <c:v>0.9299999999999999</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08</c:v>
                </c:pt>
                <c:pt idx="1">
                  <c:v>0.05</c:v>
                </c:pt>
                <c:pt idx="2">
                  <c:v>0.23</c:v>
                </c:pt>
                <c:pt idx="3">
                  <c:v>0.38</c:v>
                </c:pt>
                <c:pt idx="4">
                  <c:v>0.56</c:v>
                </c:pt>
                <c:pt idx="5">
                  <c:v>0.02</c:v>
                </c:pt>
                <c:pt idx="6">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92</c:v>
                </c:pt>
                <c:pt idx="1">
                  <c:v>0.95</c:v>
                </c:pt>
                <c:pt idx="2">
                  <c:v>0.77</c:v>
                </c:pt>
                <c:pt idx="3">
                  <c:v>0.62</c:v>
                </c:pt>
                <c:pt idx="4">
                  <c:v>0.43999999999999995</c:v>
                </c:pt>
                <c:pt idx="5">
                  <c:v>0.98</c:v>
                </c:pt>
                <c:pt idx="6">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2</c:v>
                </c:pt>
                <c:pt idx="1">
                  <c:v>0.02</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8</c:v>
                </c:pt>
                <c:pt idx="1">
                  <c:v>0.9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8</c:v>
                </c:pt>
                <c:pt idx="1">
                  <c:v>0.03</c:v>
                </c:pt>
                <c:pt idx="2">
                  <c:v>0.3</c:v>
                </c:pt>
                <c:pt idx="3">
                  <c:v>0.29</c:v>
                </c:pt>
                <c:pt idx="4">
                  <c:v>0.51</c:v>
                </c:pt>
                <c:pt idx="5">
                  <c:v>0.11</c:v>
                </c:pt>
                <c:pt idx="6">
                  <c:v>0.17</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2</c:v>
                </c:pt>
                <c:pt idx="1">
                  <c:v>0.97</c:v>
                </c:pt>
                <c:pt idx="2">
                  <c:v>0.7</c:v>
                </c:pt>
                <c:pt idx="3">
                  <c:v>0.71</c:v>
                </c:pt>
                <c:pt idx="4">
                  <c:v>0.49</c:v>
                </c:pt>
                <c:pt idx="5">
                  <c:v>0.89</c:v>
                </c:pt>
                <c:pt idx="6">
                  <c:v>0.83</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040999999999999925</c:v>
                </c:pt>
                <c:pt idx="1">
                  <c:v>-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18927062395040506</c:v>
                </c:pt>
                <c:pt idx="1">
                  <c:v>-0.579309120394094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3</c:v>
                </c:pt>
                <c:pt idx="1">
                  <c:v>0.42</c:v>
                </c:pt>
                <c:pt idx="2">
                  <c:v>0.05</c:v>
                </c:pt>
                <c:pt idx="3">
                  <c:v>0.39</c:v>
                </c:pt>
                <c:pt idx="4">
                  <c:v>0.4</c:v>
                </c:pt>
                <c:pt idx="5">
                  <c:v>0.17</c:v>
                </c:pt>
                <c:pt idx="6">
                  <c:v>0.71</c:v>
                </c:pt>
                <c:pt idx="7">
                  <c:v>0.68</c:v>
                </c:pt>
                <c:pt idx="8">
                  <c:v>0.5</c:v>
                </c:pt>
                <c:pt idx="9">
                  <c:v>0.36</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700000000000001</c:v>
                </c:pt>
                <c:pt idx="1">
                  <c:v>0.5800000000000001</c:v>
                </c:pt>
                <c:pt idx="2">
                  <c:v>0.95</c:v>
                </c:pt>
                <c:pt idx="3">
                  <c:v>0.61</c:v>
                </c:pt>
                <c:pt idx="4">
                  <c:v>0.6</c:v>
                </c:pt>
                <c:pt idx="5">
                  <c:v>0.83</c:v>
                </c:pt>
                <c:pt idx="6">
                  <c:v>0.29000000000000004</c:v>
                </c:pt>
                <c:pt idx="7">
                  <c:v>0.31999999999999995</c:v>
                </c:pt>
                <c:pt idx="8">
                  <c:v>0.5</c:v>
                </c:pt>
                <c:pt idx="9">
                  <c:v>0.64</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3</c:v>
                </c:pt>
                <c:pt idx="1">
                  <c:v>0.02</c:v>
                </c:pt>
                <c:pt idx="3">
                  <c:v>0.06</c:v>
                </c:pt>
                <c:pt idx="7">
                  <c:v>0.35</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7</c:v>
                </c:pt>
                <c:pt idx="1">
                  <c:v>0.98</c:v>
                </c:pt>
                <c:pt idx="3">
                  <c:v>0.94</c:v>
                </c:pt>
                <c:pt idx="7">
                  <c:v>0.6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5"/>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moiselle</c:v>
                </c:pt>
                <c:pt idx="2">
                  <c:v>Deutz</c:v>
                </c:pt>
                <c:pt idx="3">
                  <c:v>Laurent Perrier</c:v>
                </c:pt>
                <c:pt idx="4">
                  <c:v>Pommery</c:v>
                </c:pt>
                <c:pt idx="5">
                  <c:v>Nicolas</c:v>
                </c:pt>
              </c:strCache>
            </c:strRef>
          </c:cat>
          <c:val>
            <c:numRef>
              <c:f>Sheet1!$B$2:$B$7</c:f>
              <c:numCache>
                <c:formatCode>General</c:formatCode>
                <c:ptCount val="6"/>
                <c:pt idx="0">
                  <c:v>2.143</c:v>
                </c:pt>
                <c:pt idx="1">
                  <c:v>-0.135</c:v>
                </c:pt>
                <c:pt idx="2">
                  <c:v>-0.33899999999999997</c:v>
                </c:pt>
                <c:pt idx="3">
                  <c:v>8.6</c:v>
                </c:pt>
                <c:pt idx="4">
                  <c:v>0.127</c:v>
                </c:pt>
                <c:pt idx="5">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2</c:v>
                </c:pt>
                <c:pt idx="1">
                  <c:v>0.04</c:v>
                </c:pt>
                <c:pt idx="2">
                  <c:v>0.19</c:v>
                </c:pt>
                <c:pt idx="3">
                  <c:v>0.28</c:v>
                </c:pt>
                <c:pt idx="4">
                  <c:v>0.5</c:v>
                </c:pt>
                <c:pt idx="5">
                  <c:v>0.07</c:v>
                </c:pt>
                <c:pt idx="6">
                  <c:v>0.09</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8</c:v>
                </c:pt>
                <c:pt idx="1">
                  <c:v>0.96</c:v>
                </c:pt>
                <c:pt idx="2">
                  <c:v>0.81</c:v>
                </c:pt>
                <c:pt idx="3">
                  <c:v>0.72</c:v>
                </c:pt>
                <c:pt idx="4">
                  <c:v>0.5</c:v>
                </c:pt>
                <c:pt idx="5">
                  <c:v>0.9299999999999999</c:v>
                </c:pt>
                <c:pt idx="6">
                  <c:v>0.9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3</c:v>
                </c:pt>
                <c:pt idx="1">
                  <c:v>0.42</c:v>
                </c:pt>
                <c:pt idx="2">
                  <c:v>0.07</c:v>
                </c:pt>
                <c:pt idx="3">
                  <c:v>0.37</c:v>
                </c:pt>
                <c:pt idx="4">
                  <c:v>0.37</c:v>
                </c:pt>
                <c:pt idx="5">
                  <c:v>0.18</c:v>
                </c:pt>
                <c:pt idx="6">
                  <c:v>0.69</c:v>
                </c:pt>
                <c:pt idx="7">
                  <c:v>0.65</c:v>
                </c:pt>
                <c:pt idx="8">
                  <c:v>0.55</c:v>
                </c:pt>
                <c:pt idx="9">
                  <c:v>0.46</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700000000000001</c:v>
                </c:pt>
                <c:pt idx="1">
                  <c:v>0.5800000000000001</c:v>
                </c:pt>
                <c:pt idx="2">
                  <c:v>0.9299999999999999</c:v>
                </c:pt>
                <c:pt idx="3">
                  <c:v>0.63</c:v>
                </c:pt>
                <c:pt idx="4">
                  <c:v>0.63</c:v>
                </c:pt>
                <c:pt idx="5">
                  <c:v>0.8200000000000001</c:v>
                </c:pt>
                <c:pt idx="6">
                  <c:v>0.31000000000000005</c:v>
                </c:pt>
                <c:pt idx="7">
                  <c:v>0.35</c:v>
                </c:pt>
                <c:pt idx="8">
                  <c:v>0.44999999999999996</c:v>
                </c:pt>
                <c:pt idx="9">
                  <c:v>0.54</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3</c:v>
                </c:pt>
                <c:pt idx="1">
                  <c:v>0.02</c:v>
                </c:pt>
                <c:pt idx="3">
                  <c:v>0.04</c:v>
                </c:pt>
                <c:pt idx="7">
                  <c:v>0.45</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7</c:v>
                </c:pt>
                <c:pt idx="1">
                  <c:v>0.98</c:v>
                </c:pt>
                <c:pt idx="3">
                  <c:v>0.96</c:v>
                </c:pt>
                <c:pt idx="7">
                  <c:v>0.5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moiselle</c:v>
                </c:pt>
                <c:pt idx="2">
                  <c:v>Deutz</c:v>
                </c:pt>
                <c:pt idx="3">
                  <c:v>Laurent Perrier</c:v>
                </c:pt>
                <c:pt idx="4">
                  <c:v>Pommery</c:v>
                </c:pt>
                <c:pt idx="5">
                  <c:v>Nicolas</c:v>
                </c:pt>
              </c:strCache>
            </c:strRef>
          </c:cat>
          <c:val>
            <c:numRef>
              <c:f>Sheet1!$B$2:$B$7</c:f>
              <c:numCache>
                <c:formatCode>General</c:formatCode>
                <c:ptCount val="6"/>
                <c:pt idx="0">
                  <c:v>1.1407767392404473</c:v>
                </c:pt>
                <c:pt idx="1">
                  <c:v>-0.3418463781934782</c:v>
                </c:pt>
                <c:pt idx="2">
                  <c:v>-0.53574469605618</c:v>
                </c:pt>
                <c:pt idx="3">
                  <c:v>2.3578748687989624</c:v>
                </c:pt>
                <c:pt idx="4">
                  <c:v>-0.5697008778401594</c:v>
                </c:pt>
                <c:pt idx="5">
                  <c:v>0.316889215331664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De Bligny</c:v>
                </c:pt>
                <c:pt idx="7">
                  <c:v>Canard Duchêne</c:v>
                </c:pt>
                <c:pt idx="8">
                  <c:v>Heidsieck &amp; Co Monopole</c:v>
                </c:pt>
              </c:strCache>
            </c:strRef>
          </c:cat>
          <c:val>
            <c:numRef>
              <c:f>Sheet1!$B$2:$B$10</c:f>
              <c:numCache>
                <c:formatCode>General</c:formatCode>
                <c:ptCount val="9"/>
                <c:pt idx="0">
                  <c:v>0.24106904642055263</c:v>
                </c:pt>
                <c:pt idx="1">
                  <c:v>0.09472030498805534</c:v>
                </c:pt>
                <c:pt idx="2">
                  <c:v>0.06572698092089425</c:v>
                </c:pt>
                <c:pt idx="3">
                  <c:v>0.05014508103935204</c:v>
                </c:pt>
                <c:pt idx="4">
                  <c:v>0.03833181014596608</c:v>
                </c:pt>
                <c:pt idx="5">
                  <c:v>0.03234769559722445</c:v>
                </c:pt>
                <c:pt idx="6">
                  <c:v>0.03200830303186903</c:v>
                </c:pt>
                <c:pt idx="7">
                  <c:v>0.03133126070736564</c:v>
                </c:pt>
                <c:pt idx="8">
                  <c:v>0.02796658388842342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De Bligny</c:v>
                </c:pt>
                <c:pt idx="7">
                  <c:v>Canard Duchêne</c:v>
                </c:pt>
                <c:pt idx="8">
                  <c:v>Heidsieck &amp; Co Monopole</c:v>
                </c:pt>
              </c:strCache>
            </c:strRef>
          </c:cat>
          <c:val>
            <c:numRef>
              <c:f>Sheet1!$C$2:$C$10</c:f>
              <c:numCache>
                <c:formatCode>General</c:formatCode>
                <c:ptCount val="9"/>
                <c:pt idx="0">
                  <c:v>0.17472995176858105</c:v>
                </c:pt>
                <c:pt idx="1">
                  <c:v>0.009327723988226157</c:v>
                </c:pt>
                <c:pt idx="2">
                  <c:v>0.036559340325810055</c:v>
                </c:pt>
                <c:pt idx="3">
                  <c:v>0.08114820910590025</c:v>
                </c:pt>
                <c:pt idx="4">
                  <c:v>0.04908810524629781</c:v>
                </c:pt>
                <c:pt idx="5">
                  <c:v>0.05704913047429377</c:v>
                </c:pt>
                <c:pt idx="6">
                  <c:v>0.04430436260618743</c:v>
                </c:pt>
                <c:pt idx="7">
                  <c:v>0.056892721373818345</c:v>
                </c:pt>
                <c:pt idx="8">
                  <c:v>0.065243779421987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De Bligny</c:v>
                </c:pt>
                <c:pt idx="7">
                  <c:v>Canard Duchêne</c:v>
                </c:pt>
                <c:pt idx="8">
                  <c:v>Heidsieck &amp; Co Monopole</c:v>
                </c:pt>
              </c:strCache>
            </c:strRef>
          </c:cat>
          <c:val>
            <c:numRef>
              <c:f>Sheet1!$D$2:$D$10</c:f>
              <c:numCache>
                <c:formatCode>General</c:formatCode>
                <c:ptCount val="9"/>
                <c:pt idx="0">
                  <c:v>0.32</c:v>
                </c:pt>
                <c:pt idx="1">
                  <c:v>0.03</c:v>
                </c:pt>
                <c:pt idx="2">
                  <c:v>0.22</c:v>
                </c:pt>
                <c:pt idx="3">
                  <c:v>0.62</c:v>
                </c:pt>
                <c:pt idx="4">
                  <c:v>0.53</c:v>
                </c:pt>
                <c:pt idx="5">
                  <c:v>0.71</c:v>
                </c:pt>
                <c:pt idx="6">
                  <c:v>0.54</c:v>
                </c:pt>
                <c:pt idx="7">
                  <c:v>0.73</c:v>
                </c:pt>
                <c:pt idx="8">
                  <c:v>0.9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Mure</c:v>
                </c:pt>
                <c:pt idx="5">
                  <c:v>Laurent Perrier</c:v>
                </c:pt>
                <c:pt idx="6">
                  <c:v>Bollinger</c:v>
                </c:pt>
                <c:pt idx="7">
                  <c:v>Canard Duchêne</c:v>
                </c:pt>
                <c:pt idx="8">
                  <c:v>Ayala</c:v>
                </c:pt>
              </c:strCache>
            </c:strRef>
          </c:cat>
          <c:val>
            <c:numRef>
              <c:f>Sheet1!$B$2:$B$10</c:f>
              <c:numCache>
                <c:formatCode>General</c:formatCode>
                <c:ptCount val="9"/>
                <c:pt idx="0">
                  <c:v>0.1639475781060988</c:v>
                </c:pt>
                <c:pt idx="1">
                  <c:v>0.08303191527125987</c:v>
                </c:pt>
                <c:pt idx="2">
                  <c:v>0.055594907231685135</c:v>
                </c:pt>
                <c:pt idx="3">
                  <c:v>0.03890846156912882</c:v>
                </c:pt>
                <c:pt idx="4">
                  <c:v>0.03740059757507508</c:v>
                </c:pt>
                <c:pt idx="5">
                  <c:v>0.03620730426576417</c:v>
                </c:pt>
                <c:pt idx="6">
                  <c:v>0.027459399355676227</c:v>
                </c:pt>
                <c:pt idx="7">
                  <c:v>0.027130629299747088</c:v>
                </c:pt>
                <c:pt idx="8">
                  <c:v>0.0269930046251721</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Mure</c:v>
                </c:pt>
                <c:pt idx="5">
                  <c:v>Laurent Perrier</c:v>
                </c:pt>
                <c:pt idx="6">
                  <c:v>Bollinger</c:v>
                </c:pt>
                <c:pt idx="7">
                  <c:v>Canard Duchêne</c:v>
                </c:pt>
                <c:pt idx="8">
                  <c:v>Ayala</c:v>
                </c:pt>
              </c:strCache>
            </c:strRef>
          </c:cat>
          <c:val>
            <c:numRef>
              <c:f>Sheet1!$C$2:$C$10</c:f>
              <c:numCache>
                <c:formatCode>General</c:formatCode>
                <c:ptCount val="9"/>
                <c:pt idx="0">
                  <c:v>0.1763023578463868</c:v>
                </c:pt>
                <c:pt idx="1">
                  <c:v>0.004718228481799049</c:v>
                </c:pt>
                <c:pt idx="2">
                  <c:v>0.04331714102522305</c:v>
                </c:pt>
                <c:pt idx="3">
                  <c:v>0.06800044918259635</c:v>
                </c:pt>
                <c:pt idx="4">
                  <c:v>0.009242656407915757</c:v>
                </c:pt>
                <c:pt idx="5">
                  <c:v>0.05357589193536118</c:v>
                </c:pt>
                <c:pt idx="6">
                  <c:v>0.040859315286335796</c:v>
                </c:pt>
                <c:pt idx="7">
                  <c:v>0.06174992845680421</c:v>
                </c:pt>
                <c:pt idx="8">
                  <c:v>0.03942845137055029</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Mure</c:v>
                </c:pt>
                <c:pt idx="5">
                  <c:v>Laurent Perrier</c:v>
                </c:pt>
                <c:pt idx="6">
                  <c:v>Bollinger</c:v>
                </c:pt>
                <c:pt idx="7">
                  <c:v>Canard Duchêne</c:v>
                </c:pt>
                <c:pt idx="8">
                  <c:v>Ayala</c:v>
                </c:pt>
              </c:strCache>
            </c:strRef>
          </c:cat>
          <c:val>
            <c:numRef>
              <c:f>Sheet1!$D$2:$D$10</c:f>
              <c:numCache>
                <c:formatCode>General</c:formatCode>
                <c:ptCount val="9"/>
                <c:pt idx="0">
                  <c:v>0.36</c:v>
                </c:pt>
                <c:pt idx="1">
                  <c:v>0.01</c:v>
                </c:pt>
                <c:pt idx="2">
                  <c:v>0.25</c:v>
                </c:pt>
                <c:pt idx="3">
                  <c:v>0.53</c:v>
                </c:pt>
                <c:pt idx="4">
                  <c:v>0.09</c:v>
                </c:pt>
                <c:pt idx="5">
                  <c:v>0.49</c:v>
                </c:pt>
                <c:pt idx="6">
                  <c:v>0.51</c:v>
                </c:pt>
                <c:pt idx="7">
                  <c:v>0.71</c:v>
                </c:pt>
                <c:pt idx="8">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0.2495011260116904</c:v>
                </c:pt>
                <c:pt idx="1">
                  <c:v>0.09070646725103708</c:v>
                </c:pt>
                <c:pt idx="2">
                  <c:v>0.07930476424976793</c:v>
                </c:pt>
                <c:pt idx="3">
                  <c:v>0.0523080346247164</c:v>
                </c:pt>
                <c:pt idx="4">
                  <c:v>0.05142901166226848</c:v>
                </c:pt>
                <c:pt idx="5">
                  <c:v>0.03609222943192465</c:v>
                </c:pt>
                <c:pt idx="6">
                  <c:v>0.03326564248165422</c:v>
                </c:pt>
                <c:pt idx="7">
                  <c:v>0.03259511959430766</c:v>
                </c:pt>
                <c:pt idx="8">
                  <c:v>0.0305965076658713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0.17236292874000467</c:v>
                </c:pt>
                <c:pt idx="1">
                  <c:v>0.007124864392844458</c:v>
                </c:pt>
                <c:pt idx="2">
                  <c:v>0.04237143490924151</c:v>
                </c:pt>
                <c:pt idx="3">
                  <c:v>0.058973975761044385</c:v>
                </c:pt>
                <c:pt idx="4">
                  <c:v>0.08456596018512853</c:v>
                </c:pt>
                <c:pt idx="5">
                  <c:v>0.06110410379944275</c:v>
                </c:pt>
                <c:pt idx="6">
                  <c:v>0.07667030744533843</c:v>
                </c:pt>
                <c:pt idx="7">
                  <c:v>0.027646422841726036</c:v>
                </c:pt>
                <c:pt idx="8">
                  <c:v>0.03812326786228948</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0.31</c:v>
                </c:pt>
                <c:pt idx="1">
                  <c:v>0.03</c:v>
                </c:pt>
                <c:pt idx="2">
                  <c:v>0.21</c:v>
                </c:pt>
                <c:pt idx="3">
                  <c:v>0.48</c:v>
                </c:pt>
                <c:pt idx="4">
                  <c:v>0.64</c:v>
                </c:pt>
                <c:pt idx="5">
                  <c:v>0.7</c:v>
                </c:pt>
                <c:pt idx="6">
                  <c:v>0.91</c:v>
                </c:pt>
                <c:pt idx="7">
                  <c:v>0.41</c:v>
                </c:pt>
                <c:pt idx="8">
                  <c:v>0.5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B$2:$B$10</c:f>
              <c:numCache>
                <c:formatCode>General</c:formatCode>
                <c:ptCount val="9"/>
                <c:pt idx="0">
                  <c:v>0.13975913703038115</c:v>
                </c:pt>
                <c:pt idx="1">
                  <c:v>0.11670434751403025</c:v>
                </c:pt>
                <c:pt idx="2">
                  <c:v>0.08933259351889425</c:v>
                </c:pt>
                <c:pt idx="3">
                  <c:v>0.0744815547881361</c:v>
                </c:pt>
                <c:pt idx="4">
                  <c:v>0.07021657975687341</c:v>
                </c:pt>
                <c:pt idx="5">
                  <c:v>0.06497622748005767</c:v>
                </c:pt>
                <c:pt idx="6">
                  <c:v>0.0363560366189744</c:v>
                </c:pt>
                <c:pt idx="7">
                  <c:v>0.023172800961390704</c:v>
                </c:pt>
                <c:pt idx="8">
                  <c:v>0.0209119501195757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C$2:$C$10</c:f>
              <c:numCache>
                <c:formatCode>General</c:formatCode>
                <c:ptCount val="9"/>
                <c:pt idx="0">
                  <c:v>0.10966428957975081</c:v>
                </c:pt>
                <c:pt idx="1">
                  <c:v>0.23891499528831145</c:v>
                </c:pt>
                <c:pt idx="2">
                  <c:v>0.04068767668832023</c:v>
                </c:pt>
                <c:pt idx="3">
                  <c:v>0.08476233657962753</c:v>
                </c:pt>
                <c:pt idx="4">
                  <c:v>0.14361247563189908</c:v>
                </c:pt>
                <c:pt idx="5">
                  <c:v>0.0324364757823388</c:v>
                </c:pt>
                <c:pt idx="6">
                  <c:v>0.05136053924282852</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D$2:$D$10</c:f>
              <c:numCache>
                <c:formatCode>General</c:formatCode>
                <c:ptCount val="9"/>
                <c:pt idx="0">
                  <c:v>0.19</c:v>
                </c:pt>
                <c:pt idx="1">
                  <c:v>0.52</c:v>
                </c:pt>
                <c:pt idx="2">
                  <c:v>0.11</c:v>
                </c:pt>
                <c:pt idx="3">
                  <c:v>0.28</c:v>
                </c:pt>
                <c:pt idx="4">
                  <c:v>0.49</c:v>
                </c:pt>
                <c:pt idx="5">
                  <c:v>0.13</c:v>
                </c:pt>
                <c:pt idx="6">
                  <c:v>0.36</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triarche</c:v>
                </c:pt>
                <c:pt idx="1">
                  <c:v>Bottega</c:v>
                </c:pt>
                <c:pt idx="2">
                  <c:v>Mure</c:v>
                </c:pt>
                <c:pt idx="3">
                  <c:v>Bouvet-Ladubay</c:v>
                </c:pt>
                <c:pt idx="4">
                  <c:v>Chateau Moncontour</c:v>
                </c:pt>
                <c:pt idx="5">
                  <c:v>Savian</c:v>
                </c:pt>
                <c:pt idx="6">
                  <c:v>De Chanceny</c:v>
                </c:pt>
                <c:pt idx="7">
                  <c:v>Kriter</c:v>
                </c:pt>
                <c:pt idx="8">
                  <c:v>Contarini</c:v>
                </c:pt>
              </c:strCache>
            </c:strRef>
          </c:cat>
          <c:val>
            <c:numRef>
              <c:f>Sheet1!$B$2:$B$10</c:f>
              <c:numCache>
                <c:formatCode>General</c:formatCode>
                <c:ptCount val="9"/>
                <c:pt idx="0">
                  <c:v>0.13743390880667386</c:v>
                </c:pt>
                <c:pt idx="1">
                  <c:v>0.1296532135165881</c:v>
                </c:pt>
                <c:pt idx="2">
                  <c:v>0.08825156746727338</c:v>
                </c:pt>
                <c:pt idx="3">
                  <c:v>0.07362028299074425</c:v>
                </c:pt>
                <c:pt idx="4">
                  <c:v>0.06642030779357368</c:v>
                </c:pt>
                <c:pt idx="5">
                  <c:v>0.06574657709029422</c:v>
                </c:pt>
                <c:pt idx="6">
                  <c:v>0.03349932149952183</c:v>
                </c:pt>
                <c:pt idx="7">
                  <c:v>0.031021423443920563</c:v>
                </c:pt>
                <c:pt idx="8">
                  <c:v>0.020613774632906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triarche</c:v>
                </c:pt>
                <c:pt idx="1">
                  <c:v>Bottega</c:v>
                </c:pt>
                <c:pt idx="2">
                  <c:v>Mure</c:v>
                </c:pt>
                <c:pt idx="3">
                  <c:v>Bouvet-Ladubay</c:v>
                </c:pt>
                <c:pt idx="4">
                  <c:v>Chateau Moncontour</c:v>
                </c:pt>
                <c:pt idx="5">
                  <c:v>Savian</c:v>
                </c:pt>
                <c:pt idx="6">
                  <c:v>De Chanceny</c:v>
                </c:pt>
                <c:pt idx="7">
                  <c:v>Kriter</c:v>
                </c:pt>
                <c:pt idx="8">
                  <c:v>Contarini</c:v>
                </c:pt>
              </c:strCache>
            </c:strRef>
          </c:cat>
          <c:val>
            <c:numRef>
              <c:f>Sheet1!$C$2:$C$10</c:f>
              <c:numCache>
                <c:formatCode>General</c:formatCode>
                <c:ptCount val="9"/>
                <c:pt idx="0">
                  <c:v>0.2692103841037579</c:v>
                </c:pt>
                <c:pt idx="1">
                  <c:v>0.10013094446291985</c:v>
                </c:pt>
                <c:pt idx="2">
                  <c:v>0.03817654639175258</c:v>
                </c:pt>
                <c:pt idx="3">
                  <c:v>0.14754635018290654</c:v>
                </c:pt>
                <c:pt idx="4">
                  <c:v>0.032268456933821084</c:v>
                </c:pt>
                <c:pt idx="5">
                  <c:v>0.07540738277352843</c:v>
                </c:pt>
                <c:pt idx="6">
                  <c:v>0.05273632357831726</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triarche</c:v>
                </c:pt>
                <c:pt idx="1">
                  <c:v>Bottega</c:v>
                </c:pt>
                <c:pt idx="2">
                  <c:v>Mure</c:v>
                </c:pt>
                <c:pt idx="3">
                  <c:v>Bouvet-Ladubay</c:v>
                </c:pt>
                <c:pt idx="4">
                  <c:v>Chateau Moncontour</c:v>
                </c:pt>
                <c:pt idx="5">
                  <c:v>Savian</c:v>
                </c:pt>
                <c:pt idx="6">
                  <c:v>De Chanceny</c:v>
                </c:pt>
                <c:pt idx="7">
                  <c:v>Kriter</c:v>
                </c:pt>
                <c:pt idx="8">
                  <c:v>Contarini</c:v>
                </c:pt>
              </c:strCache>
            </c:strRef>
          </c:cat>
          <c:val>
            <c:numRef>
              <c:f>Sheet1!$D$2:$D$10</c:f>
              <c:numCache>
                <c:formatCode>General</c:formatCode>
                <c:ptCount val="9"/>
                <c:pt idx="0">
                  <c:v>0.51</c:v>
                </c:pt>
                <c:pt idx="1">
                  <c:v>0.19</c:v>
                </c:pt>
                <c:pt idx="2">
                  <c:v>0.11</c:v>
                </c:pt>
                <c:pt idx="3">
                  <c:v>0.5</c:v>
                </c:pt>
                <c:pt idx="4">
                  <c:v>0.14</c:v>
                </c:pt>
                <c:pt idx="5">
                  <c:v>0.3</c:v>
                </c:pt>
                <c:pt idx="6">
                  <c:v>0.41</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B$2:$B$10</c:f>
              <c:numCache>
                <c:formatCode>General</c:formatCode>
                <c:ptCount val="9"/>
                <c:pt idx="0">
                  <c:v>0.24047096681946653</c:v>
                </c:pt>
                <c:pt idx="1">
                  <c:v>0.08041914578959394</c:v>
                </c:pt>
                <c:pt idx="2">
                  <c:v>0.07711068162227867</c:v>
                </c:pt>
                <c:pt idx="3">
                  <c:v>0.06673016483522988</c:v>
                </c:pt>
                <c:pt idx="4">
                  <c:v>0.04675954797476928</c:v>
                </c:pt>
                <c:pt idx="5">
                  <c:v>0.037818986548709674</c:v>
                </c:pt>
                <c:pt idx="6">
                  <c:v>0.03774322019373299</c:v>
                </c:pt>
                <c:pt idx="7">
                  <c:v>0.03145947966666487</c:v>
                </c:pt>
                <c:pt idx="8">
                  <c:v>0.03041769228573544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C$2:$C$10</c:f>
              <c:numCache>
                <c:formatCode>General</c:formatCode>
                <c:ptCount val="9"/>
                <c:pt idx="0">
                  <c:v>0.1693290701028267</c:v>
                </c:pt>
                <c:pt idx="1">
                  <c:v>0.004535911769746061</c:v>
                </c:pt>
                <c:pt idx="2">
                  <c:v>0.047599922991050175</c:v>
                </c:pt>
                <c:pt idx="3">
                  <c:v>0.07423006917406491</c:v>
                </c:pt>
                <c:pt idx="4">
                  <c:v>0.08219118670650634</c:v>
                </c:pt>
                <c:pt idx="5">
                  <c:v>0.033607495537782694</c:v>
                </c:pt>
                <c:pt idx="6">
                  <c:v>0.06398759676364951</c:v>
                </c:pt>
                <c:pt idx="7">
                  <c:v>0.04815386557424911</c:v>
                </c:pt>
                <c:pt idx="8">
                  <c:v>0.032529229198239515</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D$2:$D$10</c:f>
              <c:numCache>
                <c:formatCode>General</c:formatCode>
                <c:ptCount val="9"/>
                <c:pt idx="0">
                  <c:v>0.31</c:v>
                </c:pt>
                <c:pt idx="1">
                  <c:v>0.02</c:v>
                </c:pt>
                <c:pt idx="2">
                  <c:v>0.24</c:v>
                </c:pt>
                <c:pt idx="3">
                  <c:v>0.47</c:v>
                </c:pt>
                <c:pt idx="4">
                  <c:v>0.67</c:v>
                </c:pt>
                <c:pt idx="5">
                  <c:v>0.39</c:v>
                </c:pt>
                <c:pt idx="6">
                  <c:v>0.67</c:v>
                </c:pt>
                <c:pt idx="7">
                  <c:v>0.65</c:v>
                </c:pt>
                <c:pt idx="8">
                  <c:v>0.4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Taittinger</c:v>
                </c:pt>
                <c:pt idx="7">
                  <c:v>Roederer</c:v>
                </c:pt>
                <c:pt idx="8">
                  <c:v>Canard Duchêne</c:v>
                </c:pt>
              </c:strCache>
            </c:strRef>
          </c:cat>
          <c:val>
            <c:numRef>
              <c:f>Sheet1!$B$2:$B$10</c:f>
              <c:numCache>
                <c:formatCode>General</c:formatCode>
                <c:ptCount val="9"/>
                <c:pt idx="0">
                  <c:v>0.34214769138028955</c:v>
                </c:pt>
                <c:pt idx="1">
                  <c:v>0.07662341948726124</c:v>
                </c:pt>
                <c:pt idx="2">
                  <c:v>0.07445628618116239</c:v>
                </c:pt>
                <c:pt idx="3">
                  <c:v>0.04214544951824876</c:v>
                </c:pt>
                <c:pt idx="4">
                  <c:v>0.039679712643105526</c:v>
                </c:pt>
                <c:pt idx="5">
                  <c:v>0.033535142432968325</c:v>
                </c:pt>
                <c:pt idx="6">
                  <c:v>0.030717869135039804</c:v>
                </c:pt>
                <c:pt idx="7">
                  <c:v>0.03051485607245698</c:v>
                </c:pt>
                <c:pt idx="8">
                  <c:v>0.02878364038540099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Taittinger</c:v>
                </c:pt>
                <c:pt idx="7">
                  <c:v>Roederer</c:v>
                </c:pt>
                <c:pt idx="8">
                  <c:v>Canard Duchêne</c:v>
                </c:pt>
              </c:strCache>
            </c:strRef>
          </c:cat>
          <c:val>
            <c:numRef>
              <c:f>Sheet1!$C$2:$C$10</c:f>
              <c:numCache>
                <c:formatCode>General</c:formatCode>
                <c:ptCount val="9"/>
                <c:pt idx="0">
                  <c:v>0.24029858220298872</c:v>
                </c:pt>
                <c:pt idx="1">
                  <c:v>0.005249095805084814</c:v>
                </c:pt>
                <c:pt idx="2">
                  <c:v>0.04895010007123715</c:v>
                </c:pt>
                <c:pt idx="3">
                  <c:v>0.06692011585325469</c:v>
                </c:pt>
                <c:pt idx="4">
                  <c:v>0.047946964667341885</c:v>
                </c:pt>
                <c:pt idx="5">
                  <c:v>0.05607785364561375</c:v>
                </c:pt>
                <c:pt idx="6">
                  <c:v>0.05371943546576336</c:v>
                </c:pt>
                <c:pt idx="7">
                  <c:v>0.03121511842974579</c:v>
                </c:pt>
                <c:pt idx="8">
                  <c:v>0.052037043318972825</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Taittinger</c:v>
                </c:pt>
                <c:pt idx="7">
                  <c:v>Roederer</c:v>
                </c:pt>
                <c:pt idx="8">
                  <c:v>Canard Duchêne</c:v>
                </c:pt>
              </c:strCache>
            </c:strRef>
          </c:cat>
          <c:val>
            <c:numRef>
              <c:f>Sheet1!$D$2:$D$10</c:f>
              <c:numCache>
                <c:formatCode>General</c:formatCode>
                <c:ptCount val="9"/>
                <c:pt idx="0">
                  <c:v>0.32</c:v>
                </c:pt>
                <c:pt idx="1">
                  <c:v>0.02</c:v>
                </c:pt>
                <c:pt idx="2">
                  <c:v>0.26</c:v>
                </c:pt>
                <c:pt idx="3">
                  <c:v>0.62</c:v>
                </c:pt>
                <c:pt idx="4">
                  <c:v>0.51</c:v>
                </c:pt>
                <c:pt idx="5">
                  <c:v>0.69</c:v>
                </c:pt>
                <c:pt idx="6">
                  <c:v>0.72</c:v>
                </c:pt>
                <c:pt idx="7">
                  <c:v>0.45</c:v>
                </c:pt>
                <c:pt idx="8">
                  <c:v>0.7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B$2:$B$10</c:f>
              <c:numCache>
                <c:formatCode>General</c:formatCode>
                <c:ptCount val="9"/>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C$2:$C$10</c:f>
              <c:numCache>
                <c:formatCode>General</c:formatCode>
                <c:ptCount val="9"/>
                <c:pt idx="0">
                  <c:v>0.13863158149321594</c:v>
                </c:pt>
                <c:pt idx="1">
                  <c:v>0.2076813311727574</c:v>
                </c:pt>
                <c:pt idx="2">
                  <c:v>0.08509686313396377</c:v>
                </c:pt>
                <c:pt idx="3">
                  <c:v>0.023363242798752026</c:v>
                </c:pt>
                <c:pt idx="4">
                  <c:v>0.08760006771954434</c:v>
                </c:pt>
                <c:pt idx="5">
                  <c:v>0.016240597866834353</c:v>
                </c:pt>
                <c:pt idx="6">
                  <c:v>0.03319466950443805</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D$2:$D$10</c:f>
              <c:numCache>
                <c:formatCode>General</c:formatCode>
                <c:ptCount val="9"/>
                <c:pt idx="0">
                  <c:v>0.16</c:v>
                </c:pt>
                <c:pt idx="1">
                  <c:v>0.5</c:v>
                </c:pt>
                <c:pt idx="2">
                  <c:v>0.25</c:v>
                </c:pt>
                <c:pt idx="3">
                  <c:v>0.1</c:v>
                </c:pt>
                <c:pt idx="4">
                  <c:v>0.47</c:v>
                </c:pt>
                <c:pt idx="5">
                  <c:v>0.14</c:v>
                </c:pt>
                <c:pt idx="6">
                  <c:v>0.36</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B$2:$B$10</c:f>
              <c:numCache>
                <c:formatCode>General</c:formatCode>
                <c:ptCount val="9"/>
                <c:pt idx="0">
                  <c:v>0.18714796645788564</c:v>
                </c:pt>
                <c:pt idx="1">
                  <c:v>0.0947818459633695</c:v>
                </c:pt>
                <c:pt idx="2">
                  <c:v>0.0634621990395699</c:v>
                </c:pt>
                <c:pt idx="3">
                  <c:v>0.04441443749754531</c:v>
                </c:pt>
                <c:pt idx="4">
                  <c:v>0.0413310366797521</c:v>
                </c:pt>
                <c:pt idx="5">
                  <c:v>0.03134520685779263</c:v>
                </c:pt>
                <c:pt idx="6">
                  <c:v>0.03096991221721206</c:v>
                </c:pt>
                <c:pt idx="7">
                  <c:v>0.030812812135108565</c:v>
                </c:pt>
                <c:pt idx="8">
                  <c:v>0.03021371221883293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C$2:$C$10</c:f>
              <c:numCache>
                <c:formatCode>General</c:formatCode>
                <c:ptCount val="9"/>
                <c:pt idx="0">
                  <c:v>0.1813714986314081</c:v>
                </c:pt>
                <c:pt idx="1">
                  <c:v>0.004853889540007789</c:v>
                </c:pt>
                <c:pt idx="2">
                  <c:v>0.04456261890166076</c:v>
                </c:pt>
                <c:pt idx="3">
                  <c:v>0.06995563489061513</c:v>
                </c:pt>
                <c:pt idx="4">
                  <c:v>0.055116334968687286</c:v>
                </c:pt>
                <c:pt idx="5">
                  <c:v>0.04203412442726898</c:v>
                </c:pt>
                <c:pt idx="6">
                  <c:v>0.06352539581093494</c:v>
                </c:pt>
                <c:pt idx="7">
                  <c:v>0.040562119537976796</c:v>
                </c:pt>
                <c:pt idx="8">
                  <c:v>0.0592174523880950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D$2:$D$10</c:f>
              <c:numCache>
                <c:formatCode>General</c:formatCode>
                <c:ptCount val="9"/>
                <c:pt idx="0">
                  <c:v>0.36</c:v>
                </c:pt>
                <c:pt idx="1">
                  <c:v>0.01</c:v>
                </c:pt>
                <c:pt idx="2">
                  <c:v>0.25</c:v>
                </c:pt>
                <c:pt idx="3">
                  <c:v>0.53</c:v>
                </c:pt>
                <c:pt idx="4">
                  <c:v>0.49</c:v>
                </c:pt>
                <c:pt idx="5">
                  <c:v>0.51</c:v>
                </c:pt>
                <c:pt idx="6">
                  <c:v>0.71</c:v>
                </c:pt>
                <c:pt idx="7">
                  <c:v>0.48</c:v>
                </c:pt>
                <c:pt idx="8">
                  <c:v>0.6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0.2393117025343415</c:v>
                </c:pt>
                <c:pt idx="1">
                  <c:v>0.09464992652427451</c:v>
                </c:pt>
                <c:pt idx="2">
                  <c:v>0.08442828264460912</c:v>
                </c:pt>
                <c:pt idx="3">
                  <c:v>0.05842971973598432</c:v>
                </c:pt>
                <c:pt idx="4">
                  <c:v>0.05170821451814375</c:v>
                </c:pt>
                <c:pt idx="5">
                  <c:v>0.03615469200083386</c:v>
                </c:pt>
                <c:pt idx="6">
                  <c:v>0.033926297869666354</c:v>
                </c:pt>
                <c:pt idx="7">
                  <c:v>0.03134503752782847</c:v>
                </c:pt>
                <c:pt idx="8">
                  <c:v>0.0303418144899768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0.1669357831232919</c:v>
                </c:pt>
                <c:pt idx="1">
                  <c:v>0.006712893131569683</c:v>
                </c:pt>
                <c:pt idx="2">
                  <c:v>0.040964095480466624</c:v>
                </c:pt>
                <c:pt idx="3">
                  <c:v>0.06801183851221602</c:v>
                </c:pt>
                <c:pt idx="4">
                  <c:v>0.08538594098318082</c:v>
                </c:pt>
                <c:pt idx="5">
                  <c:v>0.06144782228351423</c:v>
                </c:pt>
                <c:pt idx="6">
                  <c:v>0.0754803099102205</c:v>
                </c:pt>
                <c:pt idx="7">
                  <c:v>0.02591801360152817</c:v>
                </c:pt>
                <c:pt idx="8">
                  <c:v>0.0376904826801872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0.31</c:v>
                </c:pt>
                <c:pt idx="1">
                  <c:v>0.02</c:v>
                </c:pt>
                <c:pt idx="2">
                  <c:v>0.2</c:v>
                </c:pt>
                <c:pt idx="3">
                  <c:v>0.51</c:v>
                </c:pt>
                <c:pt idx="4">
                  <c:v>0.67</c:v>
                </c:pt>
                <c:pt idx="5">
                  <c:v>0.72</c:v>
                </c:pt>
                <c:pt idx="6">
                  <c:v>0.9</c:v>
                </c:pt>
                <c:pt idx="7">
                  <c:v>0.39</c:v>
                </c:pt>
                <c:pt idx="8">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B$2:$B$3</c:f>
              <c:numCache>
                <c:formatCode>General</c:formatCode>
                <c:ptCount val="2"/>
                <c:pt idx="0">
                  <c:v>0.4597352894275235</c:v>
                </c:pt>
                <c:pt idx="1">
                  <c:v>0.33481502152766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D$2:$D$3</c:f>
              <c:numCache>
                <c:formatCode>General</c:formatCode>
                <c:ptCount val="2"/>
                <c:pt idx="0">
                  <c:v>0.0</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B$2:$B$3</c:f>
              <c:numCache>
                <c:formatCode>General</c:formatCode>
                <c:ptCount val="2"/>
                <c:pt idx="0">
                  <c:v>0.44963406064137945</c:v>
                </c:pt>
                <c:pt idx="1">
                  <c:v>0.371338463911694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D$2:$D$3</c:f>
              <c:numCache>
                <c:formatCode>General</c:formatCode>
                <c:ptCount val="2"/>
                <c:pt idx="0">
                  <c:v>0.0</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770229961342649</c:v>
                </c:pt>
                <c:pt idx="1">
                  <c:v>0.21124841324451135</c:v>
                </c:pt>
                <c:pt idx="2">
                  <c:v>0.01342004037865117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8439986824641039</c:v>
                </c:pt>
                <c:pt idx="1">
                  <c:v>0.15226050309341577</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0.77</c:v>
                </c:pt>
                <c:pt idx="1">
                  <c:v>0.5</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Henriot</c:v>
                </c:pt>
                <c:pt idx="4">
                  <c:v>Besserat De Bellefon</c:v>
                </c:pt>
                <c:pt idx="5">
                  <c:v>Delamotte</c:v>
                </c:pt>
                <c:pt idx="6">
                  <c:v>De Bligny</c:v>
                </c:pt>
                <c:pt idx="7">
                  <c:v>Ayala</c:v>
                </c:pt>
                <c:pt idx="8">
                  <c:v>De Venoge</c:v>
                </c:pt>
              </c:strCache>
            </c:strRef>
          </c:cat>
          <c:val>
            <c:numRef>
              <c:f>Sheet1!$B$2:$B$10</c:f>
              <c:numCache>
                <c:formatCode>General</c:formatCode>
                <c:ptCount val="9"/>
                <c:pt idx="0">
                  <c:v>0.6150922700424436</c:v>
                </c:pt>
                <c:pt idx="1">
                  <c:v>0.08333132010758197</c:v>
                </c:pt>
                <c:pt idx="2">
                  <c:v>0.07287132025902462</c:v>
                </c:pt>
                <c:pt idx="3">
                  <c:v>0.04242341418808528</c:v>
                </c:pt>
                <c:pt idx="4">
                  <c:v>0.039058863235384794</c:v>
                </c:pt>
                <c:pt idx="5">
                  <c:v>0.029289730349143825</c:v>
                </c:pt>
                <c:pt idx="6">
                  <c:v>0.027693092087590104</c:v>
                </c:pt>
                <c:pt idx="7">
                  <c:v>0.022465435918663755</c:v>
                </c:pt>
                <c:pt idx="8">
                  <c:v>0.0163009987643000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Henriot</c:v>
                </c:pt>
                <c:pt idx="4">
                  <c:v>Besserat De Bellefon</c:v>
                </c:pt>
                <c:pt idx="5">
                  <c:v>Delamotte</c:v>
                </c:pt>
                <c:pt idx="6">
                  <c:v>De Bligny</c:v>
                </c:pt>
                <c:pt idx="7">
                  <c:v>Ayala</c:v>
                </c:pt>
                <c:pt idx="8">
                  <c:v>De Venoge</c:v>
                </c:pt>
              </c:strCache>
            </c:strRef>
          </c:cat>
          <c:val>
            <c:numRef>
              <c:f>Sheet1!$C$2:$C$10</c:f>
              <c:numCache>
                <c:formatCode>General</c:formatCode>
                <c:ptCount val="9"/>
                <c:pt idx="0">
                  <c:v>0.0</c:v>
                </c:pt>
                <c:pt idx="1">
                  <c:v>0.0</c:v>
                </c:pt>
                <c:pt idx="2">
                  <c:v>0.477876319633948</c:v>
                </c:pt>
                <c:pt idx="3">
                  <c:v>0.2726473993219218</c:v>
                </c:pt>
                <c:pt idx="4">
                  <c:v>0.03963036467377822</c:v>
                </c:pt>
                <c:pt idx="5">
                  <c:v>0.0</c:v>
                </c:pt>
                <c:pt idx="6">
                  <c:v>0.10790333250640867</c:v>
                </c:pt>
                <c:pt idx="7">
                  <c:v>0.0</c:v>
                </c:pt>
                <c:pt idx="8">
                  <c:v>0.1019425838639433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Henriot</c:v>
                </c:pt>
                <c:pt idx="4">
                  <c:v>Besserat De Bellefon</c:v>
                </c:pt>
                <c:pt idx="5">
                  <c:v>Delamotte</c:v>
                </c:pt>
                <c:pt idx="6">
                  <c:v>De Bligny</c:v>
                </c:pt>
                <c:pt idx="7">
                  <c:v>Ayala</c:v>
                </c:pt>
                <c:pt idx="8">
                  <c:v>De Venoge</c:v>
                </c:pt>
              </c:strCache>
            </c:strRef>
          </c:cat>
          <c:val>
            <c:numRef>
              <c:f>Sheet1!$D$2:$D$10</c:f>
              <c:numCache>
                <c:formatCode>General</c:formatCode>
                <c:ptCount val="9"/>
                <c:pt idx="0">
                  <c:v>0.0</c:v>
                </c:pt>
                <c:pt idx="1">
                  <c:v>0.0</c:v>
                </c:pt>
                <c:pt idx="2">
                  <c:v>0.71</c:v>
                </c:pt>
                <c:pt idx="3">
                  <c:v>0.71</c:v>
                </c:pt>
                <c:pt idx="4">
                  <c:v>0.12</c:v>
                </c:pt>
                <c:pt idx="5">
                  <c:v>0.0</c:v>
                </c:pt>
                <c:pt idx="6">
                  <c:v>0.44</c:v>
                </c:pt>
                <c:pt idx="7">
                  <c:v>0.0</c:v>
                </c:pt>
                <c:pt idx="8">
                  <c:v>0.6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B$2:$B$10</c:f>
              <c:numCache>
                <c:formatCode>General</c:formatCode>
                <c:ptCount val="9"/>
                <c:pt idx="0">
                  <c:v>0.265091986650028</c:v>
                </c:pt>
                <c:pt idx="1">
                  <c:v>0.13736099068405083</c:v>
                </c:pt>
                <c:pt idx="2">
                  <c:v>0.10637534571228459</c:v>
                </c:pt>
                <c:pt idx="3">
                  <c:v>0.09954361287068</c:v>
                </c:pt>
                <c:pt idx="4">
                  <c:v>0.08254210225080705</c:v>
                </c:pt>
                <c:pt idx="5">
                  <c:v>0.057108275073005935</c:v>
                </c:pt>
                <c:pt idx="6">
                  <c:v>0.05314986596491189</c:v>
                </c:pt>
                <c:pt idx="7">
                  <c:v>0.04764220220450051</c:v>
                </c:pt>
                <c:pt idx="8">
                  <c:v>0.0362410788155018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0.30550006512388445</c:v>
                </c:pt>
                <c:pt idx="1">
                  <c:v>0.15848956527060937</c:v>
                </c:pt>
                <c:pt idx="2">
                  <c:v>0.17962736584087488</c:v>
                </c:pt>
                <c:pt idx="3">
                  <c:v>0.01885924923930595</c:v>
                </c:pt>
                <c:pt idx="4">
                  <c:v>0.10884005730901833</c:v>
                </c:pt>
                <c:pt idx="5">
                  <c:v>0.050547119091969045</c:v>
                </c:pt>
                <c:pt idx="6">
                  <c:v>0.03326182783128049</c:v>
                </c:pt>
                <c:pt idx="7">
                  <c:v>0.06628356037768715</c:v>
                </c:pt>
                <c:pt idx="8">
                  <c:v>0.078591189915370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0.43</c:v>
                </c:pt>
                <c:pt idx="1">
                  <c:v>0.42</c:v>
                </c:pt>
                <c:pt idx="2">
                  <c:v>0.62</c:v>
                </c:pt>
                <c:pt idx="3">
                  <c:v>0.06</c:v>
                </c:pt>
                <c:pt idx="4">
                  <c:v>0.48</c:v>
                </c:pt>
                <c:pt idx="5">
                  <c:v>0.34</c:v>
                </c:pt>
                <c:pt idx="6">
                  <c:v>0.24</c:v>
                </c:pt>
                <c:pt idx="7">
                  <c:v>0.52</c:v>
                </c:pt>
                <c:pt idx="8">
                  <c:v>0.7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0.27085657085657083</c:v>
                </c:pt>
                <c:pt idx="1">
                  <c:v>0.2587998712998713</c:v>
                </c:pt>
                <c:pt idx="2">
                  <c:v>0.1596721721721721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14190273284410426</c:v>
                </c:pt>
                <c:pt idx="1">
                  <c:v>0.5580718412723463</c:v>
                </c:pt>
                <c:pt idx="2">
                  <c:v>0.230831952444830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D$2:$D$4</c:f>
              <c:numCache>
                <c:formatCode>General</c:formatCode>
                <c:ptCount val="3"/>
                <c:pt idx="0">
                  <c:v>0.13</c:v>
                </c:pt>
                <c:pt idx="1">
                  <c:v>0.48</c:v>
                </c:pt>
                <c:pt idx="2">
                  <c:v>0.3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Pommery</c:v>
                </c:pt>
              </c:strCache>
            </c:strRef>
          </c:cat>
          <c:val>
            <c:numRef>
              <c:f>Sheet1!$B$2:$B$10</c:f>
              <c:numCache>
                <c:formatCode>General</c:formatCode>
                <c:ptCount val="9"/>
                <c:pt idx="0">
                  <c:v>0.4079433359864779</c:v>
                </c:pt>
                <c:pt idx="1">
                  <c:v>0.21068576334546626</c:v>
                </c:pt>
                <c:pt idx="2">
                  <c:v>0.15046459840632462</c:v>
                </c:pt>
                <c:pt idx="3">
                  <c:v>0.08286754250248174</c:v>
                </c:pt>
                <c:pt idx="4">
                  <c:v>0.04701431803750771</c:v>
                </c:pt>
                <c:pt idx="5">
                  <c:v>0.028508634644105996</c:v>
                </c:pt>
                <c:pt idx="6">
                  <c:v>0.017546526914512105</c:v>
                </c:pt>
                <c:pt idx="7">
                  <c:v>0.012726150764195069</c:v>
                </c:pt>
                <c:pt idx="8">
                  <c:v>0.011972687516209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Pommery</c:v>
                </c:pt>
              </c:strCache>
            </c:strRef>
          </c:cat>
          <c:val>
            <c:numRef>
              <c:f>Sheet1!$C$2:$C$10</c:f>
              <c:numCache>
                <c:formatCode>General</c:formatCode>
                <c:ptCount val="9"/>
                <c:pt idx="0">
                  <c:v>0.45196084178439533</c:v>
                </c:pt>
                <c:pt idx="1">
                  <c:v>0.16247288821150127</c:v>
                </c:pt>
                <c:pt idx="2">
                  <c:v>0.2028841080954335</c:v>
                </c:pt>
                <c:pt idx="3">
                  <c:v>0.16688404947535027</c:v>
                </c:pt>
                <c:pt idx="4">
                  <c:v>0.0</c:v>
                </c:pt>
                <c:pt idx="5">
                  <c:v>0.0</c:v>
                </c:pt>
                <c:pt idx="6">
                  <c:v>0.0</c:v>
                </c:pt>
                <c:pt idx="7">
                  <c:v>0.0</c:v>
                </c:pt>
                <c:pt idx="8">
                  <c:v>0.01579811243331965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Pommery</c:v>
                </c:pt>
              </c:strCache>
            </c:strRef>
          </c:cat>
          <c:val>
            <c:numRef>
              <c:f>Sheet1!$D$2:$D$10</c:f>
              <c:numCache>
                <c:formatCode>General</c:formatCode>
                <c:ptCount val="9"/>
                <c:pt idx="0">
                  <c:v>0.35</c:v>
                </c:pt>
                <c:pt idx="1">
                  <c:v>0.34</c:v>
                </c:pt>
                <c:pt idx="2">
                  <c:v>0.42</c:v>
                </c:pt>
                <c:pt idx="3">
                  <c:v>0.64</c:v>
                </c:pt>
                <c:pt idx="4">
                  <c:v>0.0</c:v>
                </c:pt>
                <c:pt idx="5">
                  <c:v>0.0</c:v>
                </c:pt>
                <c:pt idx="6">
                  <c:v>0.0</c:v>
                </c:pt>
                <c:pt idx="7">
                  <c:v>0.0</c:v>
                </c:pt>
                <c:pt idx="8">
                  <c:v>0.3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0.901612284969999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Bligny</c:v>
                </c:pt>
                <c:pt idx="3">
                  <c:v>De Venoge</c:v>
                </c:pt>
                <c:pt idx="4">
                  <c:v>Besserat De Bellefon</c:v>
                </c:pt>
              </c:strCache>
            </c:strRef>
          </c:cat>
          <c:val>
            <c:numRef>
              <c:f>Sheet1!$B$2:$B$6</c:f>
              <c:numCache>
                <c:formatCode>General</c:formatCode>
                <c:ptCount val="5"/>
                <c:pt idx="0">
                  <c:v>0.10899999999999999</c:v>
                </c:pt>
                <c:pt idx="1">
                  <c:v>0.04400000000000004</c:v>
                </c:pt>
                <c:pt idx="2">
                  <c:v>-0.19999999999999996</c:v>
                </c:pt>
                <c:pt idx="3">
                  <c:v>1.379</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0.32880546370139835</c:v>
                </c:pt>
                <c:pt idx="1">
                  <c:v>0.2444401218958698</c:v>
                </c:pt>
                <c:pt idx="2">
                  <c:v>0.2041863882945384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1914351511588025</c:v>
                </c:pt>
                <c:pt idx="1">
                  <c:v>0.47699544318682935</c:v>
                </c:pt>
                <c:pt idx="2">
                  <c:v>0.277328629526189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D$2:$D$4</c:f>
              <c:numCache>
                <c:formatCode>General</c:formatCode>
                <c:ptCount val="3"/>
                <c:pt idx="0">
                  <c:v>0.16</c:v>
                </c:pt>
                <c:pt idx="1">
                  <c:v>0.47</c:v>
                </c:pt>
                <c:pt idx="2">
                  <c:v>0.3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67257726880926</c:v>
                </c:pt>
                <c:pt idx="1">
                  <c:v>0.13274227311907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3</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B$2:$B$10</c:f>
              <c:numCache>
                <c:formatCode>General</c:formatCode>
                <c:ptCount val="9"/>
                <c:pt idx="0">
                  <c:v>0.5402916939395466</c:v>
                </c:pt>
                <c:pt idx="1">
                  <c:v>0.20392729469815216</c:v>
                </c:pt>
                <c:pt idx="2">
                  <c:v>0.0745682493328634</c:v>
                </c:pt>
                <c:pt idx="3">
                  <c:v>0.050759444808082844</c:v>
                </c:pt>
                <c:pt idx="4">
                  <c:v>0.0394307101018747</c:v>
                </c:pt>
                <c:pt idx="5">
                  <c:v>0.028722957890673514</c:v>
                </c:pt>
                <c:pt idx="6">
                  <c:v>0.027756239195743753</c:v>
                </c:pt>
                <c:pt idx="7">
                  <c:v>0.010456002551063224</c:v>
                </c:pt>
                <c:pt idx="8">
                  <c:v>0.01011697967541077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C$2:$C$10</c:f>
              <c:numCache>
                <c:formatCode>General</c:formatCode>
                <c:ptCount val="9"/>
                <c:pt idx="0">
                  <c:v>0.564118372379778</c:v>
                </c:pt>
                <c:pt idx="1">
                  <c:v>0.15480502466091245</c:v>
                </c:pt>
                <c:pt idx="2">
                  <c:v>0.10267031442663378</c:v>
                </c:pt>
                <c:pt idx="3">
                  <c:v>0.0</c:v>
                </c:pt>
                <c:pt idx="4">
                  <c:v>0.1595252774352651</c:v>
                </c:pt>
                <c:pt idx="5">
                  <c:v>0.0</c:v>
                </c:pt>
                <c:pt idx="6">
                  <c:v>0.0</c:v>
                </c:pt>
                <c:pt idx="7">
                  <c:v>0.0</c:v>
                </c:pt>
                <c:pt idx="8">
                  <c:v>0.01888101109741060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D$2:$D$10</c:f>
              <c:numCache>
                <c:formatCode>General</c:formatCode>
                <c:ptCount val="9"/>
                <c:pt idx="0">
                  <c:v>0.19</c:v>
                </c:pt>
                <c:pt idx="1">
                  <c:v>0.24</c:v>
                </c:pt>
                <c:pt idx="2">
                  <c:v>0.24</c:v>
                </c:pt>
                <c:pt idx="3">
                  <c:v>0.0</c:v>
                </c:pt>
                <c:pt idx="4">
                  <c:v>0.71</c:v>
                </c:pt>
                <c:pt idx="5">
                  <c:v>0.0</c:v>
                </c:pt>
                <c:pt idx="6">
                  <c:v>0.0</c:v>
                </c:pt>
                <c:pt idx="7">
                  <c:v>0.0</c:v>
                </c:pt>
                <c:pt idx="8">
                  <c:v>0.2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Roederer</c:v>
                </c:pt>
                <c:pt idx="2">
                  <c:v>Deutz</c:v>
                </c:pt>
                <c:pt idx="3">
                  <c:v>Laurent Perrier</c:v>
                </c:pt>
                <c:pt idx="4">
                  <c:v>Nicolas</c:v>
                </c:pt>
                <c:pt idx="5">
                  <c:v>Demoiselle</c:v>
                </c:pt>
                <c:pt idx="6">
                  <c:v>Dom Perignon</c:v>
                </c:pt>
                <c:pt idx="7">
                  <c:v>Nicolas Feuillatte</c:v>
                </c:pt>
                <c:pt idx="8">
                  <c:v>Bollinger</c:v>
                </c:pt>
              </c:strCache>
            </c:strRef>
          </c:cat>
          <c:val>
            <c:numRef>
              <c:f>Sheet1!$B$2:$B$10</c:f>
              <c:numCache>
                <c:formatCode>General</c:formatCode>
                <c:ptCount val="9"/>
                <c:pt idx="0">
                  <c:v>0.27907081970674663</c:v>
                </c:pt>
                <c:pt idx="1">
                  <c:v>0.1263659055888068</c:v>
                </c:pt>
                <c:pt idx="2">
                  <c:v>0.11030810958917883</c:v>
                </c:pt>
                <c:pt idx="3">
                  <c:v>0.09745282331145538</c:v>
                </c:pt>
                <c:pt idx="4">
                  <c:v>0.0671471269164155</c:v>
                </c:pt>
                <c:pt idx="5">
                  <c:v>0.06221516139492676</c:v>
                </c:pt>
                <c:pt idx="6">
                  <c:v>0.05579003199995978</c:v>
                </c:pt>
                <c:pt idx="7">
                  <c:v>0.04903811589867601</c:v>
                </c:pt>
                <c:pt idx="8">
                  <c:v>0.0378896617254840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Roederer</c:v>
                </c:pt>
                <c:pt idx="2">
                  <c:v>Deutz</c:v>
                </c:pt>
                <c:pt idx="3">
                  <c:v>Laurent Perrier</c:v>
                </c:pt>
                <c:pt idx="4">
                  <c:v>Nicolas</c:v>
                </c:pt>
                <c:pt idx="5">
                  <c:v>Demoiselle</c:v>
                </c:pt>
                <c:pt idx="6">
                  <c:v>Dom Perignon</c:v>
                </c:pt>
                <c:pt idx="7">
                  <c:v>Nicolas Feuillatte</c:v>
                </c:pt>
                <c:pt idx="8">
                  <c:v>Bollinger</c:v>
                </c:pt>
              </c:strCache>
            </c:strRef>
          </c:cat>
          <c:val>
            <c:numRef>
              <c:f>Sheet1!$C$2:$C$10</c:f>
              <c:numCache>
                <c:formatCode>General</c:formatCode>
                <c:ptCount val="9"/>
                <c:pt idx="0">
                  <c:v>0.3705142202573786</c:v>
                </c:pt>
                <c:pt idx="1">
                  <c:v>0.0</c:v>
                </c:pt>
                <c:pt idx="2">
                  <c:v>0.14810903688854682</c:v>
                </c:pt>
                <c:pt idx="3">
                  <c:v>0.13413935673247301</c:v>
                </c:pt>
                <c:pt idx="4">
                  <c:v>0.013826493171770687</c:v>
                </c:pt>
                <c:pt idx="5">
                  <c:v>0.13313704784235114</c:v>
                </c:pt>
                <c:pt idx="6">
                  <c:v>0.0</c:v>
                </c:pt>
                <c:pt idx="7">
                  <c:v>0.05473322474987024</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Roederer</c:v>
                </c:pt>
                <c:pt idx="2">
                  <c:v>Deutz</c:v>
                </c:pt>
                <c:pt idx="3">
                  <c:v>Laurent Perrier</c:v>
                </c:pt>
                <c:pt idx="4">
                  <c:v>Nicolas</c:v>
                </c:pt>
                <c:pt idx="5">
                  <c:v>Demoiselle</c:v>
                </c:pt>
                <c:pt idx="6">
                  <c:v>Dom Perignon</c:v>
                </c:pt>
                <c:pt idx="7">
                  <c:v>Nicolas Feuillatte</c:v>
                </c:pt>
                <c:pt idx="8">
                  <c:v>Bollinger</c:v>
                </c:pt>
              </c:strCache>
            </c:strRef>
          </c:cat>
          <c:val>
            <c:numRef>
              <c:f>Sheet1!$D$2:$D$10</c:f>
              <c:numCache>
                <c:formatCode>General</c:formatCode>
                <c:ptCount val="9"/>
                <c:pt idx="0">
                  <c:v>0.4</c:v>
                </c:pt>
                <c:pt idx="1">
                  <c:v>0.0</c:v>
                </c:pt>
                <c:pt idx="2">
                  <c:v>0.41</c:v>
                </c:pt>
                <c:pt idx="3">
                  <c:v>0.41</c:v>
                </c:pt>
                <c:pt idx="4">
                  <c:v>0.05</c:v>
                </c:pt>
                <c:pt idx="5">
                  <c:v>0.62</c:v>
                </c:pt>
                <c:pt idx="6">
                  <c:v>0.0</c:v>
                </c:pt>
                <c:pt idx="7">
                  <c:v>0.34</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Bligny</c:v>
                </c:pt>
                <c:pt idx="3">
                  <c:v>De Venoge</c:v>
                </c:pt>
                <c:pt idx="4">
                  <c:v>Besserat De Bellefon</c:v>
                </c:pt>
              </c:strCache>
            </c:strRef>
          </c:cat>
          <c:val>
            <c:numRef>
              <c:f>Sheet1!$B$2:$B$6</c:f>
              <c:numCache>
                <c:formatCode>General</c:formatCode>
                <c:ptCount val="5"/>
                <c:pt idx="0">
                  <c:v>-0.1352881245578723</c:v>
                </c:pt>
                <c:pt idx="1">
                  <c:v>-0.09953926195575502</c:v>
                </c:pt>
                <c:pt idx="2">
                  <c:v>-0.45817029451523983</c:v>
                </c:pt>
                <c:pt idx="3">
                  <c:v>-0.5294661781947994</c:v>
                </c:pt>
                <c:pt idx="4">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Ayala</c:v>
                </c:pt>
                <c:pt idx="5">
                  <c:v>Deutz</c:v>
                </c:pt>
                <c:pt idx="6">
                  <c:v>De Venoge</c:v>
                </c:pt>
                <c:pt idx="7">
                  <c:v>Henriot</c:v>
                </c:pt>
                <c:pt idx="8">
                  <c:v>Delamotte</c:v>
                </c:pt>
              </c:strCache>
            </c:strRef>
          </c:cat>
          <c:val>
            <c:numRef>
              <c:f>Sheet1!$B$2:$B$10</c:f>
              <c:numCache>
                <c:formatCode>General</c:formatCode>
                <c:ptCount val="9"/>
                <c:pt idx="0">
                  <c:v>0.7326190351217315</c:v>
                </c:pt>
                <c:pt idx="1">
                  <c:v>0.045876841126780595</c:v>
                </c:pt>
                <c:pt idx="2">
                  <c:v>0.04317113187708156</c:v>
                </c:pt>
                <c:pt idx="3">
                  <c:v>0.028460742664700316</c:v>
                </c:pt>
                <c:pt idx="4">
                  <c:v>0.022057117894761794</c:v>
                </c:pt>
                <c:pt idx="5">
                  <c:v>0.018337190972616123</c:v>
                </c:pt>
                <c:pt idx="6">
                  <c:v>0.01770393987162273</c:v>
                </c:pt>
                <c:pt idx="7">
                  <c:v>0.0172891096049292</c:v>
                </c:pt>
                <c:pt idx="8">
                  <c:v>0.017040211444913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Ayala</c:v>
                </c:pt>
                <c:pt idx="5">
                  <c:v>Deutz</c:v>
                </c:pt>
                <c:pt idx="6">
                  <c:v>De Venoge</c:v>
                </c:pt>
                <c:pt idx="7">
                  <c:v>Henriot</c:v>
                </c:pt>
                <c:pt idx="8">
                  <c:v>Delamotte</c:v>
                </c:pt>
              </c:strCache>
            </c:strRef>
          </c:cat>
          <c:val>
            <c:numRef>
              <c:f>Sheet1!$C$2:$C$10</c:f>
              <c:numCache>
                <c:formatCode>General</c:formatCode>
                <c:ptCount val="9"/>
                <c:pt idx="0">
                  <c:v>0.0</c:v>
                </c:pt>
                <c:pt idx="1">
                  <c:v>0.0</c:v>
                </c:pt>
                <c:pt idx="2">
                  <c:v>0.49293657170999766</c:v>
                </c:pt>
                <c:pt idx="3">
                  <c:v>0.04759065813007076</c:v>
                </c:pt>
                <c:pt idx="4">
                  <c:v>0.0</c:v>
                </c:pt>
                <c:pt idx="5">
                  <c:v>0.0</c:v>
                </c:pt>
                <c:pt idx="6">
                  <c:v>0.1907514450867052</c:v>
                </c:pt>
                <c:pt idx="7">
                  <c:v>0.18385650224215247</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Ayala</c:v>
                </c:pt>
                <c:pt idx="5">
                  <c:v>Deutz</c:v>
                </c:pt>
                <c:pt idx="6">
                  <c:v>De Venoge</c:v>
                </c:pt>
                <c:pt idx="7">
                  <c:v>Henriot</c:v>
                </c:pt>
                <c:pt idx="8">
                  <c:v>Delamotte</c:v>
                </c:pt>
              </c:strCache>
            </c:strRef>
          </c:cat>
          <c:val>
            <c:numRef>
              <c:f>Sheet1!$D$2:$D$10</c:f>
              <c:numCache>
                <c:formatCode>General</c:formatCode>
                <c:ptCount val="9"/>
                <c:pt idx="0">
                  <c:v>0.0</c:v>
                </c:pt>
                <c:pt idx="1">
                  <c:v>0.0</c:v>
                </c:pt>
                <c:pt idx="2">
                  <c:v>0.77</c:v>
                </c:pt>
                <c:pt idx="3">
                  <c:v>0.13</c:v>
                </c:pt>
                <c:pt idx="4">
                  <c:v>0.0</c:v>
                </c:pt>
                <c:pt idx="5">
                  <c:v>0.0</c:v>
                </c:pt>
                <c:pt idx="6">
                  <c:v>0.7</c:v>
                </c:pt>
                <c:pt idx="7">
                  <c:v>0.7</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7144215974262135</c:v>
                </c:pt>
                <c:pt idx="1">
                  <c:v>0.22906700237795496</c:v>
                </c:pt>
                <c:pt idx="2">
                  <c:v>0.04916771576444258</c:v>
                </c:pt>
                <c:pt idx="3">
                  <c:v>0.00734368443138900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69</c:v>
                </c:pt>
                <c:pt idx="1">
                  <c:v>0.79</c:v>
                </c:pt>
                <c:pt idx="2">
                  <c:v>0.64</c:v>
                </c:pt>
                <c:pt idx="3">
                  <c:v>0.2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0.592695623433497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0.07</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B$2:$B$10</c:f>
              <c:numCache>
                <c:formatCode>General</c:formatCode>
                <c:ptCount val="9"/>
                <c:pt idx="0">
                  <c:v>0.42066476205530656</c:v>
                </c:pt>
                <c:pt idx="1">
                  <c:v>0.26477216725866143</c:v>
                </c:pt>
                <c:pt idx="2">
                  <c:v>0.0931688533278783</c:v>
                </c:pt>
                <c:pt idx="3">
                  <c:v>0.08047602886206832</c:v>
                </c:pt>
                <c:pt idx="4">
                  <c:v>0.03400405407918472</c:v>
                </c:pt>
                <c:pt idx="5">
                  <c:v>0.03014349673628029</c:v>
                </c:pt>
                <c:pt idx="6">
                  <c:v>0.01857344764100943</c:v>
                </c:pt>
                <c:pt idx="7">
                  <c:v>0.012987465828575679</c:v>
                </c:pt>
                <c:pt idx="8">
                  <c:v>0.01229067096870176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C$2:$C$10</c:f>
              <c:numCache>
                <c:formatCode>General</c:formatCode>
                <c:ptCount val="9"/>
                <c:pt idx="0">
                  <c:v>0.48569943642299135</c:v>
                </c:pt>
                <c:pt idx="1">
                  <c:v>0.17913813785246765</c:v>
                </c:pt>
                <c:pt idx="2">
                  <c:v>0.09985684355111521</c:v>
                </c:pt>
                <c:pt idx="3">
                  <c:v>0.2216627957967225</c:v>
                </c:pt>
                <c:pt idx="4">
                  <c:v>0.0</c:v>
                </c:pt>
                <c:pt idx="5">
                  <c:v>0.0</c:v>
                </c:pt>
                <c:pt idx="6">
                  <c:v>0.0</c:v>
                </c:pt>
                <c:pt idx="7">
                  <c:v>0.013642786376703318</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D$2:$D$10</c:f>
              <c:numCache>
                <c:formatCode>General</c:formatCode>
                <c:ptCount val="9"/>
                <c:pt idx="0">
                  <c:v>0.31</c:v>
                </c:pt>
                <c:pt idx="1">
                  <c:v>0.28</c:v>
                </c:pt>
                <c:pt idx="2">
                  <c:v>0.29</c:v>
                </c:pt>
                <c:pt idx="3">
                  <c:v>0.71</c:v>
                </c:pt>
                <c:pt idx="4">
                  <c:v>0.0</c:v>
                </c:pt>
                <c:pt idx="5">
                  <c:v>0.0</c:v>
                </c:pt>
                <c:pt idx="6">
                  <c:v>0.0</c:v>
                </c:pt>
                <c:pt idx="7">
                  <c:v>0.24</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Roederer</c:v>
                </c:pt>
                <c:pt idx="7">
                  <c:v>Canard Duchêne</c:v>
                </c:pt>
                <c:pt idx="8">
                  <c:v>De Bligny</c:v>
                </c:pt>
              </c:strCache>
            </c:strRef>
          </c:cat>
          <c:val>
            <c:numRef>
              <c:f>Sheet1!$B$2:$B$10</c:f>
              <c:numCache>
                <c:formatCode>General</c:formatCode>
                <c:ptCount val="9"/>
                <c:pt idx="0">
                  <c:v>0.24685588270010292</c:v>
                </c:pt>
                <c:pt idx="1">
                  <c:v>0.12624538521072912</c:v>
                </c:pt>
                <c:pt idx="2">
                  <c:v>0.10188276804023062</c:v>
                </c:pt>
                <c:pt idx="3">
                  <c:v>0.06332833741486757</c:v>
                </c:pt>
                <c:pt idx="4">
                  <c:v>0.05321007515383038</c:v>
                </c:pt>
                <c:pt idx="5">
                  <c:v>0.03984328472556376</c:v>
                </c:pt>
                <c:pt idx="6">
                  <c:v>0.03731591857003177</c:v>
                </c:pt>
                <c:pt idx="7">
                  <c:v>0.03449138772245502</c:v>
                </c:pt>
                <c:pt idx="8">
                  <c:v>0.0344166077917266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Roederer</c:v>
                </c:pt>
                <c:pt idx="7">
                  <c:v>Canard Duchêne</c:v>
                </c:pt>
                <c:pt idx="8">
                  <c:v>De Bligny</c:v>
                </c:pt>
              </c:strCache>
            </c:strRef>
          </c:cat>
          <c:val>
            <c:numRef>
              <c:f>Sheet1!$C$2:$C$10</c:f>
              <c:numCache>
                <c:formatCode>General</c:formatCode>
                <c:ptCount val="9"/>
                <c:pt idx="0">
                  <c:v>0.27886174263846475</c:v>
                </c:pt>
                <c:pt idx="1">
                  <c:v>0.004877564644226654</c:v>
                </c:pt>
                <c:pt idx="2">
                  <c:v>0.0541139654595013</c:v>
                </c:pt>
                <c:pt idx="3">
                  <c:v>0.07087577707250754</c:v>
                </c:pt>
                <c:pt idx="4">
                  <c:v>0.11160125174376956</c:v>
                </c:pt>
                <c:pt idx="5">
                  <c:v>0.062186315539675886</c:v>
                </c:pt>
                <c:pt idx="6">
                  <c:v>0.03792435422308274</c:v>
                </c:pt>
                <c:pt idx="7">
                  <c:v>0.05284037605541029</c:v>
                </c:pt>
                <c:pt idx="8">
                  <c:v>0.04605991248439201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Roederer</c:v>
                </c:pt>
                <c:pt idx="7">
                  <c:v>Canard Duchêne</c:v>
                </c:pt>
                <c:pt idx="8">
                  <c:v>De Bligny</c:v>
                </c:pt>
              </c:strCache>
            </c:strRef>
          </c:cat>
          <c:val>
            <c:numRef>
              <c:f>Sheet1!$D$2:$D$10</c:f>
              <c:numCache>
                <c:formatCode>General</c:formatCode>
                <c:ptCount val="9"/>
                <c:pt idx="0">
                  <c:v>0.5</c:v>
                </c:pt>
                <c:pt idx="1">
                  <c:v>0.01</c:v>
                </c:pt>
                <c:pt idx="2">
                  <c:v>0.24</c:v>
                </c:pt>
                <c:pt idx="3">
                  <c:v>0.54</c:v>
                </c:pt>
                <c:pt idx="4">
                  <c:v>0.94</c:v>
                </c:pt>
                <c:pt idx="5">
                  <c:v>0.71</c:v>
                </c:pt>
                <c:pt idx="6">
                  <c:v>0.47</c:v>
                </c:pt>
                <c:pt idx="7">
                  <c:v>0.72</c:v>
                </c:pt>
                <c:pt idx="8">
                  <c:v>0.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0.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B$2:$B$10</c:f>
              <c:numCache>
                <c:formatCode>General</c:formatCode>
                <c:ptCount val="9"/>
                <c:pt idx="0">
                  <c:v>0.5402498606420304</c:v>
                </c:pt>
                <c:pt idx="1">
                  <c:v>0.16529494704397155</c:v>
                </c:pt>
                <c:pt idx="2">
                  <c:v>0.11762468439518642</c:v>
                </c:pt>
                <c:pt idx="3">
                  <c:v>0.058018821523428535</c:v>
                </c:pt>
                <c:pt idx="4">
                  <c:v>0.034960815817949305</c:v>
                </c:pt>
                <c:pt idx="5">
                  <c:v>0.018146047152178903</c:v>
                </c:pt>
                <c:pt idx="6">
                  <c:v>0.01786405220185592</c:v>
                </c:pt>
                <c:pt idx="7">
                  <c:v>0.0169852772403843</c:v>
                </c:pt>
                <c:pt idx="8">
                  <c:v>0.0127094468308358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C$2:$C$10</c:f>
              <c:numCache>
                <c:formatCode>General</c:formatCode>
                <c:ptCount val="9"/>
                <c:pt idx="0">
                  <c:v>0.5790866013546906</c:v>
                </c:pt>
                <c:pt idx="1">
                  <c:v>0.15294049245617605</c:v>
                </c:pt>
                <c:pt idx="2">
                  <c:v>0.11552661414576006</c:v>
                </c:pt>
                <c:pt idx="3">
                  <c:v>0.12965493182941365</c:v>
                </c:pt>
                <c:pt idx="4">
                  <c:v>0.0</c:v>
                </c:pt>
                <c:pt idx="5">
                  <c:v>0.022791360213959708</c:v>
                </c:pt>
                <c:pt idx="6">
                  <c:v>0.0</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D$2:$D$10</c:f>
              <c:numCache>
                <c:formatCode>General</c:formatCode>
                <c:ptCount val="9"/>
                <c:pt idx="0">
                  <c:v>0.25</c:v>
                </c:pt>
                <c:pt idx="1">
                  <c:v>0.33</c:v>
                </c:pt>
                <c:pt idx="2">
                  <c:v>0.21</c:v>
                </c:pt>
                <c:pt idx="3">
                  <c:v>0.51</c:v>
                </c:pt>
                <c:pt idx="4">
                  <c:v>0.0</c:v>
                </c:pt>
                <c:pt idx="5">
                  <c:v>0.23</c:v>
                </c:pt>
                <c:pt idx="6">
                  <c:v>0.0</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B$2:$B$10</c:f>
              <c:numCache>
                <c:formatCode>General</c:formatCode>
                <c:ptCount val="9"/>
                <c:pt idx="0">
                  <c:v>0.3241496840161897</c:v>
                </c:pt>
                <c:pt idx="1">
                  <c:v>0.16874329082623604</c:v>
                </c:pt>
                <c:pt idx="2">
                  <c:v>0.11071755266048762</c:v>
                </c:pt>
                <c:pt idx="3">
                  <c:v>0.09203837751815915</c:v>
                </c:pt>
                <c:pt idx="4">
                  <c:v>0.0849585023244546</c:v>
                </c:pt>
                <c:pt idx="5">
                  <c:v>0.0699842530209556</c:v>
                </c:pt>
                <c:pt idx="6">
                  <c:v>0.04671046860837639</c:v>
                </c:pt>
                <c:pt idx="7">
                  <c:v>0.03395833942467138</c:v>
                </c:pt>
                <c:pt idx="8">
                  <c:v>0.0332190250239128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C$2:$C$10</c:f>
              <c:numCache>
                <c:formatCode>General</c:formatCode>
                <c:ptCount val="9"/>
                <c:pt idx="0">
                  <c:v>0.3739810890120639</c:v>
                </c:pt>
                <c:pt idx="1">
                  <c:v>0.18481862069690883</c:v>
                </c:pt>
                <c:pt idx="2">
                  <c:v>0.02515855569696141</c:v>
                </c:pt>
                <c:pt idx="3">
                  <c:v>0.12240604983329302</c:v>
                </c:pt>
                <c:pt idx="4">
                  <c:v>0.13648937177235293</c:v>
                </c:pt>
                <c:pt idx="5">
                  <c:v>0.03718039063075192</c:v>
                </c:pt>
                <c:pt idx="6">
                  <c:v>0.017385908263828267</c:v>
                </c:pt>
                <c:pt idx="7">
                  <c:v>0.070037969224944</c:v>
                </c:pt>
                <c:pt idx="8">
                  <c:v>0.0325420448688957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D$2:$D$10</c:f>
              <c:numCache>
                <c:formatCode>General</c:formatCode>
                <c:ptCount val="9"/>
                <c:pt idx="0">
                  <c:v>0.48</c:v>
                </c:pt>
                <c:pt idx="1">
                  <c:v>0.47</c:v>
                </c:pt>
                <c:pt idx="2">
                  <c:v>0.08</c:v>
                </c:pt>
                <c:pt idx="3">
                  <c:v>0.53</c:v>
                </c:pt>
                <c:pt idx="4">
                  <c:v>0.66</c:v>
                </c:pt>
                <c:pt idx="5">
                  <c:v>0.23</c:v>
                </c:pt>
                <c:pt idx="6">
                  <c:v>0.16</c:v>
                </c:pt>
                <c:pt idx="7">
                  <c:v>0.8</c:v>
                </c:pt>
                <c:pt idx="8">
                  <c:v>0.3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Besserat De Bellefon</c:v>
                </c:pt>
                <c:pt idx="2">
                  <c:v>Malard</c:v>
                </c:pt>
                <c:pt idx="3">
                  <c:v>Nicolas</c:v>
                </c:pt>
                <c:pt idx="4">
                  <c:v>Henriot</c:v>
                </c:pt>
                <c:pt idx="5">
                  <c:v>Delamotte</c:v>
                </c:pt>
                <c:pt idx="6">
                  <c:v>Ayala</c:v>
                </c:pt>
                <c:pt idx="7">
                  <c:v>De Bligny</c:v>
                </c:pt>
                <c:pt idx="8">
                  <c:v>De Venoge</c:v>
                </c:pt>
              </c:strCache>
            </c:strRef>
          </c:cat>
          <c:val>
            <c:numRef>
              <c:f>Sheet1!$B$2:$B$10</c:f>
              <c:numCache>
                <c:formatCode>General</c:formatCode>
                <c:ptCount val="9"/>
                <c:pt idx="0">
                  <c:v>0.5764649881504588</c:v>
                </c:pt>
                <c:pt idx="1">
                  <c:v>0.07006421033442038</c:v>
                </c:pt>
                <c:pt idx="2">
                  <c:v>0.06951224452591707</c:v>
                </c:pt>
                <c:pt idx="3">
                  <c:v>0.0629494217018777</c:v>
                </c:pt>
                <c:pt idx="4">
                  <c:v>0.04464339970426786</c:v>
                </c:pt>
                <c:pt idx="5">
                  <c:v>0.0413670521987482</c:v>
                </c:pt>
                <c:pt idx="6">
                  <c:v>0.03578156332921469</c:v>
                </c:pt>
                <c:pt idx="7">
                  <c:v>0.03023658571168142</c:v>
                </c:pt>
                <c:pt idx="8">
                  <c:v>0.01710587615710263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Besserat De Bellefon</c:v>
                </c:pt>
                <c:pt idx="2">
                  <c:v>Malard</c:v>
                </c:pt>
                <c:pt idx="3">
                  <c:v>Nicolas</c:v>
                </c:pt>
                <c:pt idx="4">
                  <c:v>Henriot</c:v>
                </c:pt>
                <c:pt idx="5">
                  <c:v>Delamotte</c:v>
                </c:pt>
                <c:pt idx="6">
                  <c:v>Ayala</c:v>
                </c:pt>
                <c:pt idx="7">
                  <c:v>De Bligny</c:v>
                </c:pt>
                <c:pt idx="8">
                  <c:v>De Venoge</c:v>
                </c:pt>
              </c:strCache>
            </c:strRef>
          </c:cat>
          <c:val>
            <c:numRef>
              <c:f>Sheet1!$C$2:$C$10</c:f>
              <c:numCache>
                <c:formatCode>General</c:formatCode>
                <c:ptCount val="9"/>
                <c:pt idx="0">
                  <c:v>0.0</c:v>
                </c:pt>
                <c:pt idx="1">
                  <c:v>0.08521594684385382</c:v>
                </c:pt>
                <c:pt idx="2">
                  <c:v>0.4117524916943522</c:v>
                </c:pt>
                <c:pt idx="3">
                  <c:v>0.0</c:v>
                </c:pt>
                <c:pt idx="4">
                  <c:v>0.24314784053156147</c:v>
                </c:pt>
                <c:pt idx="5">
                  <c:v>0.0</c:v>
                </c:pt>
                <c:pt idx="6">
                  <c:v>0.0</c:v>
                </c:pt>
                <c:pt idx="7">
                  <c:v>0.13920265780730898</c:v>
                </c:pt>
                <c:pt idx="8">
                  <c:v>0.12068106312292359</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Besserat De Bellefon</c:v>
                </c:pt>
                <c:pt idx="2">
                  <c:v>Malard</c:v>
                </c:pt>
                <c:pt idx="3">
                  <c:v>Nicolas</c:v>
                </c:pt>
                <c:pt idx="4">
                  <c:v>Henriot</c:v>
                </c:pt>
                <c:pt idx="5">
                  <c:v>Delamotte</c:v>
                </c:pt>
                <c:pt idx="6">
                  <c:v>Ayala</c:v>
                </c:pt>
                <c:pt idx="7">
                  <c:v>De Bligny</c:v>
                </c:pt>
                <c:pt idx="8">
                  <c:v>De Venoge</c:v>
                </c:pt>
              </c:strCache>
            </c:strRef>
          </c:cat>
          <c:val>
            <c:numRef>
              <c:f>Sheet1!$D$2:$D$10</c:f>
              <c:numCache>
                <c:formatCode>General</c:formatCode>
                <c:ptCount val="9"/>
                <c:pt idx="0">
                  <c:v>0.0</c:v>
                </c:pt>
                <c:pt idx="1">
                  <c:v>0.17</c:v>
                </c:pt>
                <c:pt idx="2">
                  <c:v>0.73</c:v>
                </c:pt>
                <c:pt idx="3">
                  <c:v>0.0</c:v>
                </c:pt>
                <c:pt idx="4">
                  <c:v>0.68</c:v>
                </c:pt>
                <c:pt idx="5">
                  <c:v>0.0</c:v>
                </c:pt>
                <c:pt idx="6">
                  <c:v>0.0</c:v>
                </c:pt>
                <c:pt idx="7">
                  <c:v>0.55</c:v>
                </c:pt>
                <c:pt idx="8">
                  <c:v>0.8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B$2:$B$5</c:f>
              <c:numCache>
                <c:formatCode>General</c:formatCode>
                <c:ptCount val="4"/>
                <c:pt idx="0">
                  <c:v>0.6284396909278481</c:v>
                </c:pt>
                <c:pt idx="1">
                  <c:v>0.20271806640419396</c:v>
                </c:pt>
                <c:pt idx="2">
                  <c:v>0.1381350401077963</c:v>
                </c:pt>
                <c:pt idx="3">
                  <c:v>0.03070720256016169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C$2:$C$5</c:f>
              <c:numCache>
                <c:formatCode>General</c:formatCode>
                <c:ptCount val="4"/>
                <c:pt idx="0">
                  <c:v>0.6191171771579861</c:v>
                </c:pt>
                <c:pt idx="1">
                  <c:v>0.21588229028773148</c:v>
                </c:pt>
                <c:pt idx="2">
                  <c:v>0.15571887220218802</c:v>
                </c:pt>
                <c:pt idx="3">
                  <c:v>0.0092816603520944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D$2:$D$5</c:f>
              <c:numCache>
                <c:formatCode>General</c:formatCode>
                <c:ptCount val="4"/>
                <c:pt idx="0">
                  <c:v>0.68</c:v>
                </c:pt>
                <c:pt idx="1">
                  <c:v>0.75</c:v>
                </c:pt>
                <c:pt idx="2">
                  <c:v>0.79</c:v>
                </c:pt>
                <c:pt idx="3">
                  <c:v>0.2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B$2:$B$4</c:f>
              <c:numCache>
                <c:formatCode>General</c:formatCode>
                <c:ptCount val="3"/>
                <c:pt idx="0">
                  <c:v>0.30095301788998496</c:v>
                </c:pt>
                <c:pt idx="1">
                  <c:v>0.1637964665886418</c:v>
                </c:pt>
                <c:pt idx="2">
                  <c:v>0.0592152928718720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C$2:$C$4</c:f>
              <c:numCache>
                <c:formatCode>General</c:formatCode>
                <c:ptCount val="3"/>
                <c:pt idx="0">
                  <c:v>0.8135730701635798</c:v>
                </c:pt>
                <c:pt idx="1">
                  <c:v>0.09395700959848587</c:v>
                </c:pt>
                <c:pt idx="2">
                  <c:v>0.06570231174800595</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D$2:$D$4</c:f>
              <c:numCache>
                <c:formatCode>General</c:formatCode>
                <c:ptCount val="3"/>
                <c:pt idx="0">
                  <c:v>0.59</c:v>
                </c:pt>
                <c:pt idx="1">
                  <c:v>0.15</c:v>
                </c:pt>
                <c:pt idx="2">
                  <c:v>0.2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errier Jouet</c:v>
                </c:pt>
                <c:pt idx="7">
                  <c:v>Piper Heidsieck</c:v>
                </c:pt>
                <c:pt idx="8">
                  <c:v>De Venoge</c:v>
                </c:pt>
              </c:strCache>
            </c:strRef>
          </c:cat>
          <c:val>
            <c:numRef>
              <c:f>Sheet1!$B$2:$B$10</c:f>
              <c:numCache>
                <c:formatCode>General</c:formatCode>
                <c:ptCount val="9"/>
                <c:pt idx="0">
                  <c:v>0.32758972564797806</c:v>
                </c:pt>
                <c:pt idx="1">
                  <c:v>0.21410245196652963</c:v>
                </c:pt>
                <c:pt idx="2">
                  <c:v>0.09597947462025132</c:v>
                </c:pt>
                <c:pt idx="3">
                  <c:v>0.08542523105629901</c:v>
                </c:pt>
                <c:pt idx="4">
                  <c:v>0.07071634741537654</c:v>
                </c:pt>
                <c:pt idx="5">
                  <c:v>0.03947636957345695</c:v>
                </c:pt>
                <c:pt idx="6">
                  <c:v>0.035001020437913644</c:v>
                </c:pt>
                <c:pt idx="7">
                  <c:v>0.03481151053966588</c:v>
                </c:pt>
                <c:pt idx="8">
                  <c:v>0.02919910201463599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errier Jouet</c:v>
                </c:pt>
                <c:pt idx="7">
                  <c:v>Piper Heidsieck</c:v>
                </c:pt>
                <c:pt idx="8">
                  <c:v>De Venoge</c:v>
                </c:pt>
              </c:strCache>
            </c:strRef>
          </c:cat>
          <c:val>
            <c:numRef>
              <c:f>Sheet1!$C$2:$C$10</c:f>
              <c:numCache>
                <c:formatCode>General</c:formatCode>
                <c:ptCount val="9"/>
                <c:pt idx="0">
                  <c:v>0.3867973182052604</c:v>
                </c:pt>
                <c:pt idx="1">
                  <c:v>0.24368231046931407</c:v>
                </c:pt>
                <c:pt idx="2">
                  <c:v>0.1364105208870552</c:v>
                </c:pt>
                <c:pt idx="3">
                  <c:v>0.19520371325425476</c:v>
                </c:pt>
                <c:pt idx="4">
                  <c:v>0.0</c:v>
                </c:pt>
                <c:pt idx="5">
                  <c:v>0.0</c:v>
                </c:pt>
                <c:pt idx="6">
                  <c:v>0.0</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Bollinger</c:v>
                </c:pt>
                <c:pt idx="5">
                  <c:v>Laurent Perrier</c:v>
                </c:pt>
                <c:pt idx="6">
                  <c:v>Perrier Jouet</c:v>
                </c:pt>
                <c:pt idx="7">
                  <c:v>Piper Heidsieck</c:v>
                </c:pt>
                <c:pt idx="8">
                  <c:v>De Venoge</c:v>
                </c:pt>
              </c:strCache>
            </c:strRef>
          </c:cat>
          <c:val>
            <c:numRef>
              <c:f>Sheet1!$D$2:$D$10</c:f>
              <c:numCache>
                <c:formatCode>General</c:formatCode>
                <c:ptCount val="9"/>
                <c:pt idx="0">
                  <c:v>0.26</c:v>
                </c:pt>
                <c:pt idx="1">
                  <c:v>0.33</c:v>
                </c:pt>
                <c:pt idx="2">
                  <c:v>0.32</c:v>
                </c:pt>
                <c:pt idx="3">
                  <c:v>0.5</c:v>
                </c:pt>
                <c:pt idx="4">
                  <c:v>0.0</c:v>
                </c:pt>
                <c:pt idx="5">
                  <c:v>0.0</c:v>
                </c:pt>
                <c:pt idx="6">
                  <c:v>0.0</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Ayala</c:v>
                </c:pt>
                <c:pt idx="7">
                  <c:v>Bollinger</c:v>
                </c:pt>
                <c:pt idx="8">
                  <c:v>Roederer</c:v>
                </c:pt>
              </c:strCache>
            </c:strRef>
          </c:cat>
          <c:val>
            <c:numRef>
              <c:f>Sheet1!$B$2:$B$10</c:f>
              <c:numCache>
                <c:formatCode>General</c:formatCode>
                <c:ptCount val="9"/>
                <c:pt idx="0">
                  <c:v>0.21644149365766396</c:v>
                </c:pt>
                <c:pt idx="1">
                  <c:v>0.10024286636001194</c:v>
                </c:pt>
                <c:pt idx="2">
                  <c:v>0.09911600224714281</c:v>
                </c:pt>
                <c:pt idx="3">
                  <c:v>0.07225025146960068</c:v>
                </c:pt>
                <c:pt idx="4">
                  <c:v>0.04614384854784221</c:v>
                </c:pt>
                <c:pt idx="5">
                  <c:v>0.04139391410639347</c:v>
                </c:pt>
                <c:pt idx="6">
                  <c:v>0.03925669689255</c:v>
                </c:pt>
                <c:pt idx="7">
                  <c:v>0.03667597797908104</c:v>
                </c:pt>
                <c:pt idx="8">
                  <c:v>0.03629309577694861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Ayala</c:v>
                </c:pt>
                <c:pt idx="7">
                  <c:v>Bollinger</c:v>
                </c:pt>
                <c:pt idx="8">
                  <c:v>Roederer</c:v>
                </c:pt>
              </c:strCache>
            </c:strRef>
          </c:cat>
          <c:val>
            <c:numRef>
              <c:f>Sheet1!$C$2:$C$10</c:f>
              <c:numCache>
                <c:formatCode>General</c:formatCode>
                <c:ptCount val="9"/>
                <c:pt idx="0">
                  <c:v>0.21184345697603438</c:v>
                </c:pt>
                <c:pt idx="1">
                  <c:v>0.006966999512981368</c:v>
                </c:pt>
                <c:pt idx="2">
                  <c:v>0.040852079597698085</c:v>
                </c:pt>
                <c:pt idx="3">
                  <c:v>0.08233127357080734</c:v>
                </c:pt>
                <c:pt idx="4">
                  <c:v>0.09829093242862705</c:v>
                </c:pt>
                <c:pt idx="5">
                  <c:v>0.06836410984229882</c:v>
                </c:pt>
                <c:pt idx="6">
                  <c:v>0.05011226754307241</c:v>
                </c:pt>
                <c:pt idx="7">
                  <c:v>0.04301180522711892</c:v>
                </c:pt>
                <c:pt idx="8">
                  <c:v>0.03719009344205191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Taittinger</c:v>
                </c:pt>
                <c:pt idx="6">
                  <c:v>Ayala</c:v>
                </c:pt>
                <c:pt idx="7">
                  <c:v>Bollinger</c:v>
                </c:pt>
                <c:pt idx="8">
                  <c:v>Roederer</c:v>
                </c:pt>
              </c:strCache>
            </c:strRef>
          </c:cat>
          <c:val>
            <c:numRef>
              <c:f>Sheet1!$D$2:$D$10</c:f>
              <c:numCache>
                <c:formatCode>General</c:formatCode>
                <c:ptCount val="9"/>
                <c:pt idx="0">
                  <c:v>0.41</c:v>
                </c:pt>
                <c:pt idx="1">
                  <c:v>0.02</c:v>
                </c:pt>
                <c:pt idx="2">
                  <c:v>0.18</c:v>
                </c:pt>
                <c:pt idx="3">
                  <c:v>0.53</c:v>
                </c:pt>
                <c:pt idx="4">
                  <c:v>0.91</c:v>
                </c:pt>
                <c:pt idx="5">
                  <c:v>0.72</c:v>
                </c:pt>
                <c:pt idx="6">
                  <c:v>0.54</c:v>
                </c:pt>
                <c:pt idx="7">
                  <c:v>0.53</c:v>
                </c:pt>
                <c:pt idx="8">
                  <c:v>0.4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8</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Taittinger</c:v>
                </c:pt>
                <c:pt idx="8">
                  <c:v>De Bligny</c:v>
                </c:pt>
              </c:strCache>
            </c:strRef>
          </c:cat>
          <c:val>
            <c:numRef>
              <c:f>Sheet1!$B$2:$B$10</c:f>
              <c:numCache>
                <c:formatCode>General</c:formatCode>
                <c:ptCount val="9"/>
                <c:pt idx="0">
                  <c:v>0.21116749634533524</c:v>
                </c:pt>
                <c:pt idx="1">
                  <c:v>0.11308530985761298</c:v>
                </c:pt>
                <c:pt idx="2">
                  <c:v>0.10606448953832084</c:v>
                </c:pt>
                <c:pt idx="3">
                  <c:v>0.06841274850110445</c:v>
                </c:pt>
                <c:pt idx="4">
                  <c:v>0.04902257842234401</c:v>
                </c:pt>
                <c:pt idx="5">
                  <c:v>0.04096428410430124</c:v>
                </c:pt>
                <c:pt idx="6">
                  <c:v>0.04055245007438128</c:v>
                </c:pt>
                <c:pt idx="7">
                  <c:v>0.035862082289526725</c:v>
                </c:pt>
                <c:pt idx="8">
                  <c:v>0.03339864503706184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Taittinger</c:v>
                </c:pt>
                <c:pt idx="8">
                  <c:v>De Bligny</c:v>
                </c:pt>
              </c:strCache>
            </c:strRef>
          </c:cat>
          <c:val>
            <c:numRef>
              <c:f>Sheet1!$C$2:$C$10</c:f>
              <c:numCache>
                <c:formatCode>General</c:formatCode>
                <c:ptCount val="9"/>
                <c:pt idx="0">
                  <c:v>0.19840922932510446</c:v>
                </c:pt>
                <c:pt idx="1">
                  <c:v>0.006830197932980554</c:v>
                </c:pt>
                <c:pt idx="2">
                  <c:v>0.04365293936827385</c:v>
                </c:pt>
                <c:pt idx="3">
                  <c:v>0.08281279201897628</c:v>
                </c:pt>
                <c:pt idx="4">
                  <c:v>0.10350946606794661</c:v>
                </c:pt>
                <c:pt idx="5">
                  <c:v>0.06848618513988704</c:v>
                </c:pt>
                <c:pt idx="6">
                  <c:v>0.05168661526045358</c:v>
                </c:pt>
                <c:pt idx="7">
                  <c:v>0.05599818250267386</c:v>
                </c:pt>
                <c:pt idx="8">
                  <c:v>0.04279139344403847</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Taittinger</c:v>
                </c:pt>
                <c:pt idx="8">
                  <c:v>De Bligny</c:v>
                </c:pt>
              </c:strCache>
            </c:strRef>
          </c:cat>
          <c:val>
            <c:numRef>
              <c:f>Sheet1!$D$2:$D$10</c:f>
              <c:numCache>
                <c:formatCode>General</c:formatCode>
                <c:ptCount val="9"/>
                <c:pt idx="0">
                  <c:v>0.39</c:v>
                </c:pt>
                <c:pt idx="1">
                  <c:v>0.02</c:v>
                </c:pt>
                <c:pt idx="2">
                  <c:v>0.18</c:v>
                </c:pt>
                <c:pt idx="3">
                  <c:v>0.55</c:v>
                </c:pt>
                <c:pt idx="4">
                  <c:v>0.9</c:v>
                </c:pt>
                <c:pt idx="5">
                  <c:v>0.74</c:v>
                </c:pt>
                <c:pt idx="6">
                  <c:v>0.54</c:v>
                </c:pt>
                <c:pt idx="7">
                  <c:v>0.68</c:v>
                </c:pt>
                <c:pt idx="8">
                  <c:v>0.5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Laurent Perrier</c:v>
                </c:pt>
                <c:pt idx="4">
                  <c:v>Nicolas</c:v>
                </c:pt>
                <c:pt idx="5">
                  <c:v>Nicolas Feuillatte</c:v>
                </c:pt>
                <c:pt idx="6">
                  <c:v>Besserat De Bellefon</c:v>
                </c:pt>
                <c:pt idx="7">
                  <c:v>Malard</c:v>
                </c:pt>
                <c:pt idx="8">
                  <c:v>Pommery</c:v>
                </c:pt>
              </c:strCache>
            </c:strRef>
          </c:cat>
          <c:val>
            <c:numRef>
              <c:f>Sheet1!$B$2:$B$10</c:f>
              <c:numCache>
                <c:formatCode>General</c:formatCode>
                <c:ptCount val="9"/>
                <c:pt idx="0">
                  <c:v>0.3000291472724054</c:v>
                </c:pt>
                <c:pt idx="1">
                  <c:v>0.15136554077131192</c:v>
                </c:pt>
                <c:pt idx="2">
                  <c:v>0.11264616105387953</c:v>
                </c:pt>
                <c:pt idx="3">
                  <c:v>0.107941469415928</c:v>
                </c:pt>
                <c:pt idx="4">
                  <c:v>0.10336910281834454</c:v>
                </c:pt>
                <c:pt idx="5">
                  <c:v>0.0601488835521763</c:v>
                </c:pt>
                <c:pt idx="6">
                  <c:v>0.054934561691185546</c:v>
                </c:pt>
                <c:pt idx="7">
                  <c:v>0.04935902823351435</c:v>
                </c:pt>
                <c:pt idx="8">
                  <c:v>0.03446352031099960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Laurent Perrier</c:v>
                </c:pt>
                <c:pt idx="4">
                  <c:v>Nicolas</c:v>
                </c:pt>
                <c:pt idx="5">
                  <c:v>Nicolas Feuillatte</c:v>
                </c:pt>
                <c:pt idx="6">
                  <c:v>Besserat De Bellefon</c:v>
                </c:pt>
                <c:pt idx="7">
                  <c:v>Malard</c:v>
                </c:pt>
                <c:pt idx="8">
                  <c:v>Pommery</c:v>
                </c:pt>
              </c:strCache>
            </c:strRef>
          </c:cat>
          <c:val>
            <c:numRef>
              <c:f>Sheet1!$C$2:$C$10</c:f>
              <c:numCache>
                <c:formatCode>General</c:formatCode>
                <c:ptCount val="9"/>
                <c:pt idx="0">
                  <c:v>0.32645919606295215</c:v>
                </c:pt>
                <c:pt idx="1">
                  <c:v>0.15064932666694367</c:v>
                </c:pt>
                <c:pt idx="2">
                  <c:v>0.1741894381119898</c:v>
                </c:pt>
                <c:pt idx="3">
                  <c:v>0.1257703973519106</c:v>
                </c:pt>
                <c:pt idx="4">
                  <c:v>0.014546948649409766</c:v>
                </c:pt>
                <c:pt idx="5">
                  <c:v>0.05101819407319179</c:v>
                </c:pt>
                <c:pt idx="6">
                  <c:v>0.029943354154259517</c:v>
                </c:pt>
                <c:pt idx="7">
                  <c:v>0.058769487879081664</c:v>
                </c:pt>
                <c:pt idx="8">
                  <c:v>0.06865365705026107</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Laurent Perrier</c:v>
                </c:pt>
                <c:pt idx="4">
                  <c:v>Nicolas</c:v>
                </c:pt>
                <c:pt idx="5">
                  <c:v>Nicolas Feuillatte</c:v>
                </c:pt>
                <c:pt idx="6">
                  <c:v>Besserat De Bellefon</c:v>
                </c:pt>
                <c:pt idx="7">
                  <c:v>Malard</c:v>
                </c:pt>
                <c:pt idx="8">
                  <c:v>Pommery</c:v>
                </c:pt>
              </c:strCache>
            </c:strRef>
          </c:cat>
          <c:val>
            <c:numRef>
              <c:f>Sheet1!$D$2:$D$10</c:f>
              <c:numCache>
                <c:formatCode>General</c:formatCode>
                <c:ptCount val="9"/>
                <c:pt idx="0">
                  <c:v>0.45</c:v>
                </c:pt>
                <c:pt idx="1">
                  <c:v>0.41</c:v>
                </c:pt>
                <c:pt idx="2">
                  <c:v>0.62</c:v>
                </c:pt>
                <c:pt idx="3">
                  <c:v>0.47</c:v>
                </c:pt>
                <c:pt idx="4">
                  <c:v>0.05</c:v>
                </c:pt>
                <c:pt idx="5">
                  <c:v>0.36</c:v>
                </c:pt>
                <c:pt idx="6">
                  <c:v>0.23</c:v>
                </c:pt>
                <c:pt idx="7">
                  <c:v>0.49</c:v>
                </c:pt>
                <c:pt idx="8">
                  <c:v>0.7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B$2:$B$4</c:f>
              <c:numCache>
                <c:formatCode>General</c:formatCode>
                <c:ptCount val="3"/>
                <c:pt idx="0">
                  <c:v>0.347638849523455</c:v>
                </c:pt>
                <c:pt idx="1">
                  <c:v>0.16725820575407485</c:v>
                </c:pt>
                <c:pt idx="2">
                  <c:v>0.051639458688856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C$2:$C$4</c:f>
              <c:numCache>
                <c:formatCode>General</c:formatCode>
                <c:ptCount val="3"/>
                <c:pt idx="0">
                  <c:v>0.23804592051678136</c:v>
                </c:pt>
                <c:pt idx="1">
                  <c:v>0.1957590226091841</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D$2:$D$4</c:f>
              <c:numCache>
                <c:formatCode>General</c:formatCode>
                <c:ptCount val="3"/>
                <c:pt idx="0">
                  <c:v>0.18</c:v>
                </c:pt>
                <c:pt idx="1">
                  <c:v>0.32</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080110756523371</c:v>
                </c:pt>
                <c:pt idx="1">
                  <c:v>0.17536136662286464</c:v>
                </c:pt>
                <c:pt idx="2">
                  <c:v>0.09321225204930855</c:v>
                </c:pt>
                <c:pt idx="3">
                  <c:v>0.02252362180088855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7000434208173795</c:v>
                </c:pt>
                <c:pt idx="1">
                  <c:v>0.2054710229898135</c:v>
                </c:pt>
                <c:pt idx="2">
                  <c:v>0.0848400976155702</c:v>
                </c:pt>
                <c:pt idx="3">
                  <c:v>0.00964545857723681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67</c:v>
                </c:pt>
                <c:pt idx="1">
                  <c:v>0.81</c:v>
                </c:pt>
                <c:pt idx="2">
                  <c:v>0.64</c:v>
                </c:pt>
                <c:pt idx="3">
                  <c:v>0.3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B$2:$B$10</c:f>
              <c:numCache>
                <c:formatCode>General</c:formatCode>
                <c:ptCount val="9"/>
                <c:pt idx="0">
                  <c:v>0.6617049900553386</c:v>
                </c:pt>
                <c:pt idx="1">
                  <c:v>0.06342137034384267</c:v>
                </c:pt>
                <c:pt idx="2">
                  <c:v>0.05863209692158609</c:v>
                </c:pt>
                <c:pt idx="3">
                  <c:v>0.044185823518216386</c:v>
                </c:pt>
                <c:pt idx="4">
                  <c:v>0.039989307128048594</c:v>
                </c:pt>
                <c:pt idx="5">
                  <c:v>0.028317950222937663</c:v>
                </c:pt>
                <c:pt idx="6">
                  <c:v>0.025594609397814064</c:v>
                </c:pt>
                <c:pt idx="7">
                  <c:v>0.020827854931433413</c:v>
                </c:pt>
                <c:pt idx="8">
                  <c:v>0.0180442214179968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C$2:$C$10</c:f>
              <c:numCache>
                <c:formatCode>General</c:formatCode>
                <c:ptCount val="9"/>
                <c:pt idx="0">
                  <c:v>0.0</c:v>
                </c:pt>
                <c:pt idx="1">
                  <c:v>0.0</c:v>
                </c:pt>
                <c:pt idx="2">
                  <c:v>0.415199305874547</c:v>
                </c:pt>
                <c:pt idx="3">
                  <c:v>0.05315309403504167</c:v>
                </c:pt>
                <c:pt idx="4">
                  <c:v>0.2835196243556372</c:v>
                </c:pt>
                <c:pt idx="5">
                  <c:v>0.11884711011950332</c:v>
                </c:pt>
                <c:pt idx="6">
                  <c:v>0.0</c:v>
                </c:pt>
                <c:pt idx="7">
                  <c:v>0.0</c:v>
                </c:pt>
                <c:pt idx="8">
                  <c:v>0.12928086561527077</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D$2:$D$10</c:f>
              <c:numCache>
                <c:formatCode>General</c:formatCode>
                <c:ptCount val="9"/>
                <c:pt idx="0">
                  <c:v>0.0</c:v>
                </c:pt>
                <c:pt idx="1">
                  <c:v>0.0</c:v>
                </c:pt>
                <c:pt idx="2">
                  <c:v>0.73</c:v>
                </c:pt>
                <c:pt idx="3">
                  <c:v>0.14</c:v>
                </c:pt>
                <c:pt idx="4">
                  <c:v>0.73</c:v>
                </c:pt>
                <c:pt idx="5">
                  <c:v>0.45</c:v>
                </c:pt>
                <c:pt idx="6">
                  <c:v>0.0</c:v>
                </c:pt>
                <c:pt idx="7">
                  <c:v>0.0</c:v>
                </c:pt>
                <c:pt idx="8">
                  <c:v>0.7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0">
                  <c:v>0.33502250914619663</c:v>
                </c:pt>
                <c:pt idx="1">
                  <c:v>0.13277278234427708</c:v>
                </c:pt>
                <c:pt idx="2">
                  <c:v>0.11827992112890198</c:v>
                </c:pt>
                <c:pt idx="3">
                  <c:v>0.09888879650306456</c:v>
                </c:pt>
                <c:pt idx="4">
                  <c:v>0.0813744239083955</c:v>
                </c:pt>
                <c:pt idx="5">
                  <c:v>0.05624465482016439</c:v>
                </c:pt>
                <c:pt idx="6">
                  <c:v>0.054041252910153464</c:v>
                </c:pt>
                <c:pt idx="7">
                  <c:v>0.049845286739202736</c:v>
                </c:pt>
                <c:pt idx="8">
                  <c:v>0.0440828859219841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0.3799593082400814</c:v>
                </c:pt>
                <c:pt idx="1">
                  <c:v>0.13273009583980297</c:v>
                </c:pt>
                <c:pt idx="2">
                  <c:v>0.019795164411537492</c:v>
                </c:pt>
                <c:pt idx="3">
                  <c:v>0.14731640902867546</c:v>
                </c:pt>
                <c:pt idx="4">
                  <c:v>0.09663910539318796</c:v>
                </c:pt>
                <c:pt idx="5">
                  <c:v>0.04315468222948011</c:v>
                </c:pt>
                <c:pt idx="6">
                  <c:v>0.033478916008230136</c:v>
                </c:pt>
                <c:pt idx="7">
                  <c:v>0.05579054451999786</c:v>
                </c:pt>
                <c:pt idx="8">
                  <c:v>0.0911357743290066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0.47</c:v>
                </c:pt>
                <c:pt idx="1">
                  <c:v>0.4</c:v>
                </c:pt>
                <c:pt idx="2">
                  <c:v>0.06</c:v>
                </c:pt>
                <c:pt idx="3">
                  <c:v>0.6</c:v>
                </c:pt>
                <c:pt idx="4">
                  <c:v>0.48</c:v>
                </c:pt>
                <c:pt idx="5">
                  <c:v>0.32</c:v>
                </c:pt>
                <c:pt idx="6">
                  <c:v>0.27</c:v>
                </c:pt>
                <c:pt idx="7">
                  <c:v>0.46</c:v>
                </c:pt>
                <c:pt idx="8">
                  <c:v>0.8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4000000000000003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0.800161420500403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B$2:$B$4</c:f>
              <c:numCache>
                <c:formatCode>General</c:formatCode>
                <c:ptCount val="3"/>
                <c:pt idx="0">
                  <c:v>0.27334448441069514</c:v>
                </c:pt>
                <c:pt idx="1">
                  <c:v>0.2625930695560786</c:v>
                </c:pt>
                <c:pt idx="2">
                  <c:v>0.1375184412175397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C$2:$C$4</c:f>
              <c:numCache>
                <c:formatCode>General</c:formatCode>
                <c:ptCount val="3"/>
                <c:pt idx="0">
                  <c:v>0.6026991685376625</c:v>
                </c:pt>
                <c:pt idx="1">
                  <c:v>0.12649576867089388</c:v>
                </c:pt>
                <c:pt idx="2">
                  <c:v>0.2130714761540549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D$2:$D$4</c:f>
              <c:numCache>
                <c:formatCode>General</c:formatCode>
                <c:ptCount val="3"/>
                <c:pt idx="0">
                  <c:v>0.48</c:v>
                </c:pt>
                <c:pt idx="1">
                  <c:v>0.12</c:v>
                </c:pt>
                <c:pt idx="2">
                  <c:v>0.3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De Bligny</c:v>
                </c:pt>
                <c:pt idx="8">
                  <c:v>Taittinger</c:v>
                </c:pt>
              </c:strCache>
            </c:strRef>
          </c:cat>
          <c:val>
            <c:numRef>
              <c:f>Sheet1!$B$2:$B$10</c:f>
              <c:numCache>
                <c:formatCode>General</c:formatCode>
                <c:ptCount val="9"/>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De Bligny</c:v>
                </c:pt>
                <c:pt idx="8">
                  <c:v>Taittinger</c:v>
                </c:pt>
              </c:strCache>
            </c:strRef>
          </c:cat>
          <c:val>
            <c:numRef>
              <c:f>Sheet1!$C$2:$C$10</c:f>
              <c:numCache>
                <c:formatCode>General</c:formatCode>
                <c:ptCount val="9"/>
                <c:pt idx="0">
                  <c:v>0.20057657007457239</c:v>
                </c:pt>
                <c:pt idx="1">
                  <c:v>0.00664765637123734</c:v>
                </c:pt>
                <c:pt idx="2">
                  <c:v>0.049022257934318546</c:v>
                </c:pt>
                <c:pt idx="3">
                  <c:v>0.05577696082804188</c:v>
                </c:pt>
                <c:pt idx="4">
                  <c:v>0.11154584267325462</c:v>
                </c:pt>
                <c:pt idx="5">
                  <c:v>0.07408528241599288</c:v>
                </c:pt>
                <c:pt idx="6">
                  <c:v>0.055763159232375445</c:v>
                </c:pt>
                <c:pt idx="7">
                  <c:v>0.05794246485053377</c:v>
                </c:pt>
                <c:pt idx="8">
                  <c:v>0.0641390446804779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Canard Duchêne</c:v>
                </c:pt>
                <c:pt idx="6">
                  <c:v>Ayala</c:v>
                </c:pt>
                <c:pt idx="7">
                  <c:v>De Bligny</c:v>
                </c:pt>
                <c:pt idx="8">
                  <c:v>Taittinger</c:v>
                </c:pt>
              </c:strCache>
            </c:strRef>
          </c:cat>
          <c:val>
            <c:numRef>
              <c:f>Sheet1!$D$2:$D$10</c:f>
              <c:numCache>
                <c:formatCode>General</c:formatCode>
                <c:ptCount val="9"/>
                <c:pt idx="0">
                  <c:v>0.41</c:v>
                </c:pt>
                <c:pt idx="1">
                  <c:v>0.02</c:v>
                </c:pt>
                <c:pt idx="2">
                  <c:v>0.21</c:v>
                </c:pt>
                <c:pt idx="3">
                  <c:v>0.49</c:v>
                </c:pt>
                <c:pt idx="4">
                  <c:v>0.92</c:v>
                </c:pt>
                <c:pt idx="5">
                  <c:v>0.73</c:v>
                </c:pt>
                <c:pt idx="6">
                  <c:v>0.55</c:v>
                </c:pt>
                <c:pt idx="7">
                  <c:v>0.58</c:v>
                </c:pt>
                <c:pt idx="8">
                  <c:v>0.7</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795323299678339</c:v>
                </c:pt>
                <c:pt idx="1">
                  <c:v>0.17971824939887984</c:v>
                </c:pt>
                <c:pt idx="2">
                  <c:v>0.01612365237417083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8604371329537903</c:v>
                </c:pt>
                <c:pt idx="1">
                  <c:v>0.134435444765719</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0.73</c:v>
                </c:pt>
                <c:pt idx="1">
                  <c:v>0.5</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007658792172933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Nicolas Feuillatte</c:v>
                </c:pt>
                <c:pt idx="6">
                  <c:v>Heidsieck &amp; Co Monopole</c:v>
                </c:pt>
                <c:pt idx="7">
                  <c:v>De Bligny</c:v>
                </c:pt>
                <c:pt idx="8">
                  <c:v>Dom Perignon</c:v>
                </c:pt>
                <c:pt idx="9">
                  <c:v>Roederer</c:v>
                </c:pt>
              </c:strCache>
            </c:strRef>
          </c:cat>
          <c:val>
            <c:numRef>
              <c:f>Sheet1!$B$2:$B$11</c:f>
              <c:numCache>
                <c:formatCode>General</c:formatCode>
                <c:ptCount val="10"/>
                <c:pt idx="0">
                  <c:v>0.9863055854746884</c:v>
                </c:pt>
                <c:pt idx="1">
                  <c:v>0.860905894769392</c:v>
                </c:pt>
                <c:pt idx="2">
                  <c:v>0.7831402831402832</c:v>
                </c:pt>
                <c:pt idx="3">
                  <c:v>1.0</c:v>
                </c:pt>
                <c:pt idx="4">
                  <c:v>0.7790748601846237</c:v>
                </c:pt>
                <c:pt idx="5">
                  <c:v>0.908153418501822</c:v>
                </c:pt>
                <c:pt idx="6">
                  <c:v>1.0</c:v>
                </c:pt>
                <c:pt idx="7">
                  <c:v>1.0</c:v>
                </c:pt>
                <c:pt idx="8">
                  <c:v>1.0</c:v>
                </c:pt>
                <c:pt idx="9">
                  <c:v>0.697034775408818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Nicolas Feuillatte</c:v>
                </c:pt>
                <c:pt idx="6">
                  <c:v>Heidsieck &amp; Co Monopole</c:v>
                </c:pt>
                <c:pt idx="7">
                  <c:v>De Bligny</c:v>
                </c:pt>
                <c:pt idx="8">
                  <c:v>Dom Perignon</c:v>
                </c:pt>
                <c:pt idx="9">
                  <c:v>Roederer</c:v>
                </c:pt>
              </c:strCache>
            </c:strRef>
          </c:cat>
          <c:val>
            <c:numRef>
              <c:f>Sheet1!$C$2:$C$11</c:f>
              <c:numCache>
                <c:formatCode>General</c:formatCode>
                <c:ptCount val="10"/>
                <c:pt idx="0">
                  <c:v>0.013694414525311616</c:v>
                </c:pt>
                <c:pt idx="1">
                  <c:v>0.13909410523060795</c:v>
                </c:pt>
                <c:pt idx="2">
                  <c:v>0.21685971685971683</c:v>
                </c:pt>
                <c:pt idx="3">
                  <c:v>0.0</c:v>
                </c:pt>
                <c:pt idx="4">
                  <c:v>0.22092513981537631</c:v>
                </c:pt>
                <c:pt idx="5">
                  <c:v>0.09184658149817804</c:v>
                </c:pt>
                <c:pt idx="6">
                  <c:v>0.0</c:v>
                </c:pt>
                <c:pt idx="7">
                  <c:v>0.0</c:v>
                </c:pt>
                <c:pt idx="8">
                  <c:v>0.0</c:v>
                </c:pt>
                <c:pt idx="9">
                  <c:v>0.302965224591181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Laurent Perrier</c:v>
                </c:pt>
                <c:pt idx="4">
                  <c:v>Heidsieck &amp; Co Monopole</c:v>
                </c:pt>
                <c:pt idx="5">
                  <c:v>Malard</c:v>
                </c:pt>
                <c:pt idx="6">
                  <c:v>Dom Perignon</c:v>
                </c:pt>
                <c:pt idx="7">
                  <c:v>Roederer</c:v>
                </c:pt>
                <c:pt idx="8">
                  <c:v>De Bligny</c:v>
                </c:pt>
                <c:pt idx="9">
                  <c:v>Nicolas Feuillatte</c:v>
                </c:pt>
              </c:strCache>
            </c:strRef>
          </c:cat>
          <c:val>
            <c:numRef>
              <c:f>Sheet1!$B$2:$B$11</c:f>
              <c:numCache>
                <c:formatCode>General</c:formatCode>
                <c:ptCount val="10"/>
                <c:pt idx="0">
                  <c:v>0.9778356207603723</c:v>
                </c:pt>
                <c:pt idx="1">
                  <c:v>0.8646908009074503</c:v>
                </c:pt>
                <c:pt idx="2">
                  <c:v>0.7856349929583298</c:v>
                </c:pt>
                <c:pt idx="3">
                  <c:v>0.8509903795423607</c:v>
                </c:pt>
                <c:pt idx="4">
                  <c:v>1.0</c:v>
                </c:pt>
                <c:pt idx="5">
                  <c:v>1.0</c:v>
                </c:pt>
                <c:pt idx="6">
                  <c:v>1.0</c:v>
                </c:pt>
                <c:pt idx="7">
                  <c:v>0.7186745616032795</c:v>
                </c:pt>
                <c:pt idx="8">
                  <c:v>1.0</c:v>
                </c:pt>
                <c:pt idx="9">
                  <c:v>0.90837518196618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Laurent Perrier</c:v>
                </c:pt>
                <c:pt idx="4">
                  <c:v>Heidsieck &amp; Co Monopole</c:v>
                </c:pt>
                <c:pt idx="5">
                  <c:v>Malard</c:v>
                </c:pt>
                <c:pt idx="6">
                  <c:v>Dom Perignon</c:v>
                </c:pt>
                <c:pt idx="7">
                  <c:v>Roederer</c:v>
                </c:pt>
                <c:pt idx="8">
                  <c:v>De Bligny</c:v>
                </c:pt>
                <c:pt idx="9">
                  <c:v>Nicolas Feuillatte</c:v>
                </c:pt>
              </c:strCache>
            </c:strRef>
          </c:cat>
          <c:val>
            <c:numRef>
              <c:f>Sheet1!$C$2:$C$11</c:f>
              <c:numCache>
                <c:formatCode>General</c:formatCode>
                <c:ptCount val="10"/>
                <c:pt idx="0">
                  <c:v>0.022164379239627663</c:v>
                </c:pt>
                <c:pt idx="1">
                  <c:v>0.13530919909254968</c:v>
                </c:pt>
                <c:pt idx="2">
                  <c:v>0.21436500704167016</c:v>
                </c:pt>
                <c:pt idx="3">
                  <c:v>0.14900962045763932</c:v>
                </c:pt>
                <c:pt idx="4">
                  <c:v>0.0</c:v>
                </c:pt>
                <c:pt idx="5">
                  <c:v>0.0</c:v>
                </c:pt>
                <c:pt idx="6">
                  <c:v>0.0</c:v>
                </c:pt>
                <c:pt idx="7">
                  <c:v>0.28132543839672053</c:v>
                </c:pt>
                <c:pt idx="8">
                  <c:v>0.0</c:v>
                </c:pt>
                <c:pt idx="9">
                  <c:v>0.0916248180338177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Heidsieck &amp; Co Monopole</c:v>
                </c:pt>
                <c:pt idx="6">
                  <c:v>Ayala</c:v>
                </c:pt>
                <c:pt idx="7">
                  <c:v>Nicolas Feuillatte</c:v>
                </c:pt>
                <c:pt idx="8">
                  <c:v>De Bligny</c:v>
                </c:pt>
                <c:pt idx="9">
                  <c:v>Besserat De Bellefon</c:v>
                </c:pt>
              </c:strCache>
            </c:strRef>
          </c:cat>
          <c:val>
            <c:numRef>
              <c:f>Sheet1!$B$2:$B$11</c:f>
              <c:numCache>
                <c:formatCode>General</c:formatCode>
                <c:ptCount val="10"/>
                <c:pt idx="0">
                  <c:v>0.9729195302515132</c:v>
                </c:pt>
                <c:pt idx="1">
                  <c:v>0.8778175211491512</c:v>
                </c:pt>
                <c:pt idx="2">
                  <c:v>0.7808614387992602</c:v>
                </c:pt>
                <c:pt idx="3">
                  <c:v>1.0</c:v>
                </c:pt>
                <c:pt idx="4">
                  <c:v>0.813982772038464</c:v>
                </c:pt>
                <c:pt idx="5">
                  <c:v>1.0</c:v>
                </c:pt>
                <c:pt idx="6">
                  <c:v>1.0</c:v>
                </c:pt>
                <c:pt idx="7">
                  <c:v>0.9209751436802409</c:v>
                </c:pt>
                <c:pt idx="8">
                  <c:v>1.0</c:v>
                </c:pt>
                <c:pt idx="9">
                  <c:v>0.990798069943208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Heidsieck &amp; Co Monopole</c:v>
                </c:pt>
                <c:pt idx="6">
                  <c:v>Ayala</c:v>
                </c:pt>
                <c:pt idx="7">
                  <c:v>Nicolas Feuillatte</c:v>
                </c:pt>
                <c:pt idx="8">
                  <c:v>De Bligny</c:v>
                </c:pt>
                <c:pt idx="9">
                  <c:v>Besserat De Bellefon</c:v>
                </c:pt>
              </c:strCache>
            </c:strRef>
          </c:cat>
          <c:val>
            <c:numRef>
              <c:f>Sheet1!$C$2:$C$11</c:f>
              <c:numCache>
                <c:formatCode>General</c:formatCode>
                <c:ptCount val="10"/>
                <c:pt idx="0">
                  <c:v>0.02708046974848677</c:v>
                </c:pt>
                <c:pt idx="1">
                  <c:v>0.12218247885084876</c:v>
                </c:pt>
                <c:pt idx="2">
                  <c:v>0.21913856120073982</c:v>
                </c:pt>
                <c:pt idx="3">
                  <c:v>0.0</c:v>
                </c:pt>
                <c:pt idx="4">
                  <c:v>0.18601722796153597</c:v>
                </c:pt>
                <c:pt idx="5">
                  <c:v>0.0</c:v>
                </c:pt>
                <c:pt idx="6">
                  <c:v>0.0</c:v>
                </c:pt>
                <c:pt idx="7">
                  <c:v>0.07902485631975908</c:v>
                </c:pt>
                <c:pt idx="8">
                  <c:v>0.0</c:v>
                </c:pt>
                <c:pt idx="9">
                  <c:v>0.00920193005679148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Mure</c:v>
                </c:pt>
                <c:pt idx="3">
                  <c:v>Savian</c:v>
                </c:pt>
                <c:pt idx="4">
                  <c:v>Chateau Moncontour</c:v>
                </c:pt>
                <c:pt idx="5">
                  <c:v>Bouvet-Ladubay</c:v>
                </c:pt>
                <c:pt idx="6">
                  <c:v>De Chanceny</c:v>
                </c:pt>
                <c:pt idx="7">
                  <c:v>Cru La Maqueline</c:v>
                </c:pt>
              </c:strCache>
            </c:strRef>
          </c:cat>
          <c:val>
            <c:numRef>
              <c:f>Sheet1!$B$2:$B$9</c:f>
              <c:numCache>
                <c:formatCode>General</c:formatCode>
                <c:ptCount val="8"/>
                <c:pt idx="0">
                  <c:v>1.0</c:v>
                </c:pt>
                <c:pt idx="1">
                  <c:v>1.0</c:v>
                </c:pt>
                <c:pt idx="2">
                  <c:v>1.0</c:v>
                </c:pt>
                <c:pt idx="3">
                  <c:v>1.0</c:v>
                </c:pt>
                <c:pt idx="4">
                  <c:v>1.0</c:v>
                </c:pt>
                <c:pt idx="5">
                  <c:v>0.9236630427951988</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Mure</c:v>
                </c:pt>
                <c:pt idx="3">
                  <c:v>Savian</c:v>
                </c:pt>
                <c:pt idx="4">
                  <c:v>Chateau Moncontour</c:v>
                </c:pt>
                <c:pt idx="5">
                  <c:v>Bouvet-Ladubay</c:v>
                </c:pt>
                <c:pt idx="6">
                  <c:v>De Chanceny</c:v>
                </c:pt>
                <c:pt idx="7">
                  <c:v>Cru La Maqueline</c:v>
                </c:pt>
              </c:strCache>
            </c:strRef>
          </c:cat>
          <c:val>
            <c:numRef>
              <c:f>Sheet1!$C$2:$C$9</c:f>
              <c:numCache>
                <c:formatCode>General</c:formatCode>
                <c:ptCount val="8"/>
                <c:pt idx="0">
                  <c:v>0.0</c:v>
                </c:pt>
                <c:pt idx="1">
                  <c:v>0.0</c:v>
                </c:pt>
                <c:pt idx="2">
                  <c:v>0.0</c:v>
                </c:pt>
                <c:pt idx="3">
                  <c:v>0.0</c:v>
                </c:pt>
                <c:pt idx="4">
                  <c:v>0.0</c:v>
                </c:pt>
                <c:pt idx="5">
                  <c:v>0.07633695720480116</c:v>
                </c:pt>
                <c:pt idx="6">
                  <c:v>0.0</c:v>
                </c:pt>
                <c:pt idx="7">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atriarche</c:v>
                </c:pt>
                <c:pt idx="1">
                  <c:v>Bottega</c:v>
                </c:pt>
                <c:pt idx="2">
                  <c:v>Mure</c:v>
                </c:pt>
                <c:pt idx="3">
                  <c:v>Bouvet-Ladubay</c:v>
                </c:pt>
                <c:pt idx="4">
                  <c:v>Chateau Moncontour</c:v>
                </c:pt>
                <c:pt idx="5">
                  <c:v>Savian</c:v>
                </c:pt>
                <c:pt idx="6">
                  <c:v>De Chanceny</c:v>
                </c:pt>
                <c:pt idx="7">
                  <c:v>Cru La Maqueline</c:v>
                </c:pt>
              </c:strCache>
            </c:strRef>
          </c:cat>
          <c:val>
            <c:numRef>
              <c:f>Sheet1!$B$2:$B$9</c:f>
              <c:numCache>
                <c:formatCode>General</c:formatCode>
                <c:ptCount val="8"/>
                <c:pt idx="0">
                  <c:v>1.0</c:v>
                </c:pt>
                <c:pt idx="1">
                  <c:v>1.0</c:v>
                </c:pt>
                <c:pt idx="2">
                  <c:v>1.0</c:v>
                </c:pt>
                <c:pt idx="3">
                  <c:v>0.9272054939249867</c:v>
                </c:pt>
                <c:pt idx="4">
                  <c:v>1.0</c:v>
                </c:pt>
                <c:pt idx="5">
                  <c:v>1.0</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atriarche</c:v>
                </c:pt>
                <c:pt idx="1">
                  <c:v>Bottega</c:v>
                </c:pt>
                <c:pt idx="2">
                  <c:v>Mure</c:v>
                </c:pt>
                <c:pt idx="3">
                  <c:v>Bouvet-Ladubay</c:v>
                </c:pt>
                <c:pt idx="4">
                  <c:v>Chateau Moncontour</c:v>
                </c:pt>
                <c:pt idx="5">
                  <c:v>Savian</c:v>
                </c:pt>
                <c:pt idx="6">
                  <c:v>De Chanceny</c:v>
                </c:pt>
                <c:pt idx="7">
                  <c:v>Cru La Maqueline</c:v>
                </c:pt>
              </c:strCache>
            </c:strRef>
          </c:cat>
          <c:val>
            <c:numRef>
              <c:f>Sheet1!$C$2:$C$9</c:f>
              <c:numCache>
                <c:formatCode>General</c:formatCode>
                <c:ptCount val="8"/>
                <c:pt idx="0">
                  <c:v>0.0</c:v>
                </c:pt>
                <c:pt idx="1">
                  <c:v>0.0</c:v>
                </c:pt>
                <c:pt idx="2">
                  <c:v>0.0</c:v>
                </c:pt>
                <c:pt idx="3">
                  <c:v>0.07279450607501325</c:v>
                </c:pt>
                <c:pt idx="4">
                  <c:v>0.0</c:v>
                </c:pt>
                <c:pt idx="5">
                  <c:v>0.0</c:v>
                </c:pt>
                <c:pt idx="6">
                  <c:v>0.0</c:v>
                </c:pt>
                <c:pt idx="7">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Nicolas Feuillatte</c:v>
                </c:pt>
                <c:pt idx="6">
                  <c:v>Heidsieck &amp; Co Monopole</c:v>
                </c:pt>
                <c:pt idx="7">
                  <c:v>Ayala</c:v>
                </c:pt>
                <c:pt idx="8">
                  <c:v>De Bligny</c:v>
                </c:pt>
                <c:pt idx="9">
                  <c:v>Roederer</c:v>
                </c:pt>
              </c:strCache>
            </c:strRef>
          </c:cat>
          <c:val>
            <c:numRef>
              <c:f>Sheet1!$B$2:$B$11</c:f>
              <c:numCache>
                <c:formatCode>General</c:formatCode>
                <c:ptCount val="10"/>
                <c:pt idx="0">
                  <c:v>0.9724490916308415</c:v>
                </c:pt>
                <c:pt idx="1">
                  <c:v>0.889784127240492</c:v>
                </c:pt>
                <c:pt idx="2">
                  <c:v>0.7983579150387765</c:v>
                </c:pt>
                <c:pt idx="3">
                  <c:v>1.0</c:v>
                </c:pt>
                <c:pt idx="4">
                  <c:v>0.8220926978582962</c:v>
                </c:pt>
                <c:pt idx="5">
                  <c:v>0.9279745087242628</c:v>
                </c:pt>
                <c:pt idx="6">
                  <c:v>1.0</c:v>
                </c:pt>
                <c:pt idx="7">
                  <c:v>1.0</c:v>
                </c:pt>
                <c:pt idx="8">
                  <c:v>1.0</c:v>
                </c:pt>
                <c:pt idx="9">
                  <c:v>0.769485394407168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Nicolas Feuillatte</c:v>
                </c:pt>
                <c:pt idx="6">
                  <c:v>Heidsieck &amp; Co Monopole</c:v>
                </c:pt>
                <c:pt idx="7">
                  <c:v>Ayala</c:v>
                </c:pt>
                <c:pt idx="8">
                  <c:v>De Bligny</c:v>
                </c:pt>
                <c:pt idx="9">
                  <c:v>Roederer</c:v>
                </c:pt>
              </c:strCache>
            </c:strRef>
          </c:cat>
          <c:val>
            <c:numRef>
              <c:f>Sheet1!$C$2:$C$11</c:f>
              <c:numCache>
                <c:formatCode>General</c:formatCode>
                <c:ptCount val="10"/>
                <c:pt idx="0">
                  <c:v>0.027550908369158522</c:v>
                </c:pt>
                <c:pt idx="1">
                  <c:v>0.11021587275950795</c:v>
                </c:pt>
                <c:pt idx="2">
                  <c:v>0.2016420849612235</c:v>
                </c:pt>
                <c:pt idx="3">
                  <c:v>0.0</c:v>
                </c:pt>
                <c:pt idx="4">
                  <c:v>0.1779073021417038</c:v>
                </c:pt>
                <c:pt idx="5">
                  <c:v>0.07202549127573721</c:v>
                </c:pt>
                <c:pt idx="6">
                  <c:v>0.0</c:v>
                </c:pt>
                <c:pt idx="7">
                  <c:v>0.0</c:v>
                </c:pt>
                <c:pt idx="8">
                  <c:v>0.0</c:v>
                </c:pt>
                <c:pt idx="9">
                  <c:v>0.2305146055928314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Heidsieck &amp; Co Monopole</c:v>
                </c:pt>
                <c:pt idx="5">
                  <c:v>Ayala</c:v>
                </c:pt>
                <c:pt idx="6">
                  <c:v>De Bligny</c:v>
                </c:pt>
                <c:pt idx="7">
                  <c:v>Besserat De Bellefon</c:v>
                </c:pt>
                <c:pt idx="8">
                  <c:v>Laurent Perrier</c:v>
                </c:pt>
                <c:pt idx="9">
                  <c:v>Canard Duchêne</c:v>
                </c:pt>
              </c:strCache>
            </c:strRef>
          </c:cat>
          <c:val>
            <c:numRef>
              <c:f>Sheet1!$B$2:$B$11</c:f>
              <c:numCache>
                <c:formatCode>General</c:formatCode>
                <c:ptCount val="10"/>
                <c:pt idx="0">
                  <c:v>0.9948446226550194</c:v>
                </c:pt>
                <c:pt idx="1">
                  <c:v>0.8498135374083569</c:v>
                </c:pt>
                <c:pt idx="2">
                  <c:v>0.8060174613834789</c:v>
                </c:pt>
                <c:pt idx="3">
                  <c:v>1.0</c:v>
                </c:pt>
                <c:pt idx="4">
                  <c:v>1.0</c:v>
                </c:pt>
                <c:pt idx="5">
                  <c:v>1.0</c:v>
                </c:pt>
                <c:pt idx="6">
                  <c:v>1.0</c:v>
                </c:pt>
                <c:pt idx="7">
                  <c:v>0.9930316914852997</c:v>
                </c:pt>
                <c:pt idx="8">
                  <c:v>0.7518647804519566</c:v>
                </c:pt>
                <c:pt idx="9">
                  <c:v>0.79271617599239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Heidsieck &amp; Co Monopole</c:v>
                </c:pt>
                <c:pt idx="5">
                  <c:v>Ayala</c:v>
                </c:pt>
                <c:pt idx="6">
                  <c:v>De Bligny</c:v>
                </c:pt>
                <c:pt idx="7">
                  <c:v>Besserat De Bellefon</c:v>
                </c:pt>
                <c:pt idx="8">
                  <c:v>Laurent Perrier</c:v>
                </c:pt>
                <c:pt idx="9">
                  <c:v>Canard Duchêne</c:v>
                </c:pt>
              </c:strCache>
            </c:strRef>
          </c:cat>
          <c:val>
            <c:numRef>
              <c:f>Sheet1!$C$2:$C$11</c:f>
              <c:numCache>
                <c:formatCode>General</c:formatCode>
                <c:ptCount val="10"/>
                <c:pt idx="0">
                  <c:v>0.005155377344980616</c:v>
                </c:pt>
                <c:pt idx="1">
                  <c:v>0.15018646259164314</c:v>
                </c:pt>
                <c:pt idx="2">
                  <c:v>0.19398253861652115</c:v>
                </c:pt>
                <c:pt idx="3">
                  <c:v>0.0</c:v>
                </c:pt>
                <c:pt idx="4">
                  <c:v>0.0</c:v>
                </c:pt>
                <c:pt idx="5">
                  <c:v>0.0</c:v>
                </c:pt>
                <c:pt idx="6">
                  <c:v>0.0</c:v>
                </c:pt>
                <c:pt idx="7">
                  <c:v>0.0069683085147003165</c:v>
                </c:pt>
                <c:pt idx="8">
                  <c:v>0.2481352195480434</c:v>
                </c:pt>
                <c:pt idx="9">
                  <c:v>0.2072838240076040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Ayala</c:v>
                </c:pt>
                <c:pt idx="6">
                  <c:v>Bollinger</c:v>
                </c:pt>
                <c:pt idx="7">
                  <c:v>Nicolas Feuillatte</c:v>
                </c:pt>
                <c:pt idx="8">
                  <c:v>De Bligny</c:v>
                </c:pt>
                <c:pt idx="9">
                  <c:v>Canard Duchêne</c:v>
                </c:pt>
              </c:strCache>
            </c:strRef>
          </c:cat>
          <c:val>
            <c:numRef>
              <c:f>Sheet1!$B$2:$B$11</c:f>
              <c:numCache>
                <c:formatCode>General</c:formatCode>
                <c:ptCount val="10"/>
                <c:pt idx="0">
                  <c:v>0.9393474088291747</c:v>
                </c:pt>
                <c:pt idx="1">
                  <c:v>0.8425605358592136</c:v>
                </c:pt>
                <c:pt idx="2">
                  <c:v>0.7438953002174277</c:v>
                </c:pt>
                <c:pt idx="3">
                  <c:v>1.0</c:v>
                </c:pt>
                <c:pt idx="4">
                  <c:v>0.8065584854631508</c:v>
                </c:pt>
                <c:pt idx="5">
                  <c:v>1.0</c:v>
                </c:pt>
                <c:pt idx="6">
                  <c:v>0.9560264196107984</c:v>
                </c:pt>
                <c:pt idx="7">
                  <c:v>0.8697649539032756</c:v>
                </c:pt>
                <c:pt idx="8">
                  <c:v>1.0</c:v>
                </c:pt>
                <c:pt idx="9">
                  <c:v>0.759921391487988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Ayala</c:v>
                </c:pt>
                <c:pt idx="6">
                  <c:v>Bollinger</c:v>
                </c:pt>
                <c:pt idx="7">
                  <c:v>Nicolas Feuillatte</c:v>
                </c:pt>
                <c:pt idx="8">
                  <c:v>De Bligny</c:v>
                </c:pt>
                <c:pt idx="9">
                  <c:v>Canard Duchêne</c:v>
                </c:pt>
              </c:strCache>
            </c:strRef>
          </c:cat>
          <c:val>
            <c:numRef>
              <c:f>Sheet1!$C$2:$C$11</c:f>
              <c:numCache>
                <c:formatCode>General</c:formatCode>
                <c:ptCount val="10"/>
                <c:pt idx="0">
                  <c:v>0.06065259117082533</c:v>
                </c:pt>
                <c:pt idx="1">
                  <c:v>0.15743946414078636</c:v>
                </c:pt>
                <c:pt idx="2">
                  <c:v>0.25610469978257233</c:v>
                </c:pt>
                <c:pt idx="3">
                  <c:v>0.0</c:v>
                </c:pt>
                <c:pt idx="4">
                  <c:v>0.1934415145368492</c:v>
                </c:pt>
                <c:pt idx="5">
                  <c:v>0.0</c:v>
                </c:pt>
                <c:pt idx="6">
                  <c:v>0.04397358038920163</c:v>
                </c:pt>
                <c:pt idx="7">
                  <c:v>0.13023504609672443</c:v>
                </c:pt>
                <c:pt idx="8">
                  <c:v>0.0</c:v>
                </c:pt>
                <c:pt idx="9">
                  <c:v>0.2400786085120112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Heidsieck &amp; Co Monopole</c:v>
                </c:pt>
                <c:pt idx="6">
                  <c:v>Ayala</c:v>
                </c:pt>
                <c:pt idx="7">
                  <c:v>Nicolas Feuillatte</c:v>
                </c:pt>
                <c:pt idx="8">
                  <c:v>De Bligny</c:v>
                </c:pt>
                <c:pt idx="9">
                  <c:v>Besserat De Bellefon</c:v>
                </c:pt>
              </c:strCache>
            </c:strRef>
          </c:cat>
          <c:val>
            <c:numRef>
              <c:f>Sheet1!$B$2:$B$11</c:f>
              <c:numCache>
                <c:formatCode>General</c:formatCode>
                <c:ptCount val="10"/>
                <c:pt idx="0">
                  <c:v>0.9729195302515132</c:v>
                </c:pt>
                <c:pt idx="1">
                  <c:v>0.8778175211491512</c:v>
                </c:pt>
                <c:pt idx="2">
                  <c:v>0.7808614387992602</c:v>
                </c:pt>
                <c:pt idx="3">
                  <c:v>1.0</c:v>
                </c:pt>
                <c:pt idx="4">
                  <c:v>0.813982772038464</c:v>
                </c:pt>
                <c:pt idx="5">
                  <c:v>1.0</c:v>
                </c:pt>
                <c:pt idx="6">
                  <c:v>1.0</c:v>
                </c:pt>
                <c:pt idx="7">
                  <c:v>0.9209751436802409</c:v>
                </c:pt>
                <c:pt idx="8">
                  <c:v>1.0</c:v>
                </c:pt>
                <c:pt idx="9">
                  <c:v>0.990798069943208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Malard</c:v>
                </c:pt>
                <c:pt idx="4">
                  <c:v>Laurent Perrier</c:v>
                </c:pt>
                <c:pt idx="5">
                  <c:v>Heidsieck &amp; Co Monopole</c:v>
                </c:pt>
                <c:pt idx="6">
                  <c:v>Ayala</c:v>
                </c:pt>
                <c:pt idx="7">
                  <c:v>Nicolas Feuillatte</c:v>
                </c:pt>
                <c:pt idx="8">
                  <c:v>De Bligny</c:v>
                </c:pt>
                <c:pt idx="9">
                  <c:v>Besserat De Bellefon</c:v>
                </c:pt>
              </c:strCache>
            </c:strRef>
          </c:cat>
          <c:val>
            <c:numRef>
              <c:f>Sheet1!$C$2:$C$11</c:f>
              <c:numCache>
                <c:formatCode>General</c:formatCode>
                <c:ptCount val="10"/>
                <c:pt idx="0">
                  <c:v>0.02708046974848677</c:v>
                </c:pt>
                <c:pt idx="1">
                  <c:v>0.12218247885084876</c:v>
                </c:pt>
                <c:pt idx="2">
                  <c:v>0.21913856120073982</c:v>
                </c:pt>
                <c:pt idx="3">
                  <c:v>0.0</c:v>
                </c:pt>
                <c:pt idx="4">
                  <c:v>0.18601722796153597</c:v>
                </c:pt>
                <c:pt idx="5">
                  <c:v>0.0</c:v>
                </c:pt>
                <c:pt idx="6">
                  <c:v>0.0</c:v>
                </c:pt>
                <c:pt idx="7">
                  <c:v>0.07902485631975908</c:v>
                </c:pt>
                <c:pt idx="8">
                  <c:v>0.0</c:v>
                </c:pt>
                <c:pt idx="9">
                  <c:v>0.00920193005679148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B$2:$B$10</c:f>
              <c:numCache>
                <c:formatCode>General</c:formatCode>
                <c:ptCount val="9"/>
                <c:pt idx="0">
                  <c:v>1.0</c:v>
                </c:pt>
                <c:pt idx="1">
                  <c:v>0.9173510295756405</c:v>
                </c:pt>
                <c:pt idx="2">
                  <c:v>1.0</c:v>
                </c:pt>
                <c:pt idx="3">
                  <c:v>1.0</c:v>
                </c:pt>
                <c:pt idx="4">
                  <c:v>1.0</c:v>
                </c:pt>
                <c:pt idx="5">
                  <c:v>1.0</c:v>
                </c:pt>
                <c:pt idx="6">
                  <c:v>1.0</c:v>
                </c:pt>
                <c:pt idx="7">
                  <c:v>0.8299867377091138</c:v>
                </c:pt>
                <c:pt idx="8">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C$2:$C$10</c:f>
              <c:numCache>
                <c:formatCode>General</c:formatCode>
                <c:ptCount val="9"/>
                <c:pt idx="0">
                  <c:v>0.0</c:v>
                </c:pt>
                <c:pt idx="1">
                  <c:v>0.08264897042435948</c:v>
                </c:pt>
                <c:pt idx="2">
                  <c:v>0.0</c:v>
                </c:pt>
                <c:pt idx="3">
                  <c:v>0.0</c:v>
                </c:pt>
                <c:pt idx="4">
                  <c:v>0.0</c:v>
                </c:pt>
                <c:pt idx="5">
                  <c:v>0.0</c:v>
                </c:pt>
                <c:pt idx="6">
                  <c:v>0.0</c:v>
                </c:pt>
                <c:pt idx="7">
                  <c:v>0.1700132622908862</c:v>
                </c:pt>
                <c:pt idx="8">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Henriot</c:v>
                </c:pt>
                <c:pt idx="2">
                  <c:v>Besserat De Bellefon</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Henriot</c:v>
                </c:pt>
                <c:pt idx="2">
                  <c:v>Besserat De Bellefon</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Laurent Perrier</c:v>
                </c:pt>
                <c:pt idx="3">
                  <c:v>Deutz</c:v>
                </c:pt>
                <c:pt idx="4">
                  <c:v>Demoiselle</c:v>
                </c:pt>
                <c:pt idx="5">
                  <c:v>Nicolas Feuillatte</c:v>
                </c:pt>
                <c:pt idx="6">
                  <c:v>Besserat De Bellefon</c:v>
                </c:pt>
                <c:pt idx="7">
                  <c:v>Malard</c:v>
                </c:pt>
                <c:pt idx="8">
                  <c:v>Pommery</c:v>
                </c:pt>
              </c:strCache>
            </c:strRef>
          </c:cat>
          <c:val>
            <c:numRef>
              <c:f>Sheet1!$B$2:$B$10</c:f>
              <c:numCache>
                <c:formatCode>General</c:formatCode>
                <c:ptCount val="9"/>
                <c:pt idx="0">
                  <c:v>0.8155339805825242</c:v>
                </c:pt>
                <c:pt idx="1">
                  <c:v>0.9229988889425632</c:v>
                </c:pt>
                <c:pt idx="2">
                  <c:v>1.0</c:v>
                </c:pt>
                <c:pt idx="3">
                  <c:v>1.0</c:v>
                </c:pt>
                <c:pt idx="4">
                  <c:v>1.0</c:v>
                </c:pt>
                <c:pt idx="5">
                  <c:v>1.0</c:v>
                </c:pt>
                <c:pt idx="6">
                  <c:v>0.8763636363636363</c:v>
                </c:pt>
                <c:pt idx="7">
                  <c:v>1.0</c:v>
                </c:pt>
                <c:pt idx="8">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Laurent Perrier</c:v>
                </c:pt>
                <c:pt idx="3">
                  <c:v>Deutz</c:v>
                </c:pt>
                <c:pt idx="4">
                  <c:v>Demoiselle</c:v>
                </c:pt>
                <c:pt idx="5">
                  <c:v>Nicolas Feuillatte</c:v>
                </c:pt>
                <c:pt idx="6">
                  <c:v>Besserat De Bellefon</c:v>
                </c:pt>
                <c:pt idx="7">
                  <c:v>Malard</c:v>
                </c:pt>
                <c:pt idx="8">
                  <c:v>Pommery</c:v>
                </c:pt>
              </c:strCache>
            </c:strRef>
          </c:cat>
          <c:val>
            <c:numRef>
              <c:f>Sheet1!$C$2:$C$10</c:f>
              <c:numCache>
                <c:formatCode>General</c:formatCode>
                <c:ptCount val="9"/>
                <c:pt idx="0">
                  <c:v>0.18446601941747576</c:v>
                </c:pt>
                <c:pt idx="1">
                  <c:v>0.07700111105743679</c:v>
                </c:pt>
                <c:pt idx="2">
                  <c:v>0.0</c:v>
                </c:pt>
                <c:pt idx="3">
                  <c:v>0.0</c:v>
                </c:pt>
                <c:pt idx="4">
                  <c:v>0.0</c:v>
                </c:pt>
                <c:pt idx="5">
                  <c:v>0.0</c:v>
                </c:pt>
                <c:pt idx="6">
                  <c:v>0.12363636363636366</c:v>
                </c:pt>
                <c:pt idx="7">
                  <c:v>0.0</c:v>
                </c:pt>
                <c:pt idx="8">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De Venoge</c:v>
                </c:pt>
                <c:pt idx="3">
                  <c:v>Henriot</c:v>
                </c:pt>
                <c:pt idx="4">
                  <c:v>De Blign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De Venoge</c:v>
                </c:pt>
                <c:pt idx="3">
                  <c:v>Henriot</c:v>
                </c:pt>
                <c:pt idx="4">
                  <c:v>De Blign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Heidsieck &amp; Co Monopole</c:v>
                </c:pt>
                <c:pt idx="4">
                  <c:v>Laurent Perrier</c:v>
                </c:pt>
                <c:pt idx="5">
                  <c:v>De Bligny</c:v>
                </c:pt>
                <c:pt idx="6">
                  <c:v>Ayala</c:v>
                </c:pt>
                <c:pt idx="7">
                  <c:v>Bollinger</c:v>
                </c:pt>
                <c:pt idx="8">
                  <c:v>Taittinger</c:v>
                </c:pt>
                <c:pt idx="9">
                  <c:v>Canard Duchêne</c:v>
                </c:pt>
              </c:strCache>
            </c:strRef>
          </c:cat>
          <c:val>
            <c:numRef>
              <c:f>Sheet1!$B$2:$B$11</c:f>
              <c:numCache>
                <c:formatCode>General</c:formatCode>
                <c:ptCount val="10"/>
                <c:pt idx="0">
                  <c:v>1.0</c:v>
                </c:pt>
                <c:pt idx="1">
                  <c:v>0.8582349958743004</c:v>
                </c:pt>
                <c:pt idx="2">
                  <c:v>0.7633148220250415</c:v>
                </c:pt>
                <c:pt idx="3">
                  <c:v>1.0</c:v>
                </c:pt>
                <c:pt idx="4">
                  <c:v>0.8210343505777249</c:v>
                </c:pt>
                <c:pt idx="5">
                  <c:v>1.0</c:v>
                </c:pt>
                <c:pt idx="6">
                  <c:v>1.0</c:v>
                </c:pt>
                <c:pt idx="7">
                  <c:v>0.9553899883585565</c:v>
                </c:pt>
                <c:pt idx="8">
                  <c:v>0.7144895102401099</c:v>
                </c:pt>
                <c:pt idx="9">
                  <c:v>0.816150932309209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Heidsieck &amp; Co Monopole</c:v>
                </c:pt>
                <c:pt idx="4">
                  <c:v>Laurent Perrier</c:v>
                </c:pt>
                <c:pt idx="5">
                  <c:v>De Bligny</c:v>
                </c:pt>
                <c:pt idx="6">
                  <c:v>Ayala</c:v>
                </c:pt>
                <c:pt idx="7">
                  <c:v>Bollinger</c:v>
                </c:pt>
                <c:pt idx="8">
                  <c:v>Taittinger</c:v>
                </c:pt>
                <c:pt idx="9">
                  <c:v>Canard Duchêne</c:v>
                </c:pt>
              </c:strCache>
            </c:strRef>
          </c:cat>
          <c:val>
            <c:numRef>
              <c:f>Sheet1!$C$2:$C$11</c:f>
              <c:numCache>
                <c:formatCode>General</c:formatCode>
                <c:ptCount val="10"/>
                <c:pt idx="0">
                  <c:v>0.0</c:v>
                </c:pt>
                <c:pt idx="1">
                  <c:v>0.1417650041256996</c:v>
                </c:pt>
                <c:pt idx="2">
                  <c:v>0.23668517797495847</c:v>
                </c:pt>
                <c:pt idx="3">
                  <c:v>0.0</c:v>
                </c:pt>
                <c:pt idx="4">
                  <c:v>0.1789656494222751</c:v>
                </c:pt>
                <c:pt idx="5">
                  <c:v>0.0</c:v>
                </c:pt>
                <c:pt idx="6">
                  <c:v>0.0</c:v>
                </c:pt>
                <c:pt idx="7">
                  <c:v>0.044610011641443514</c:v>
                </c:pt>
                <c:pt idx="8">
                  <c:v>0.28551048975989013</c:v>
                </c:pt>
                <c:pt idx="9">
                  <c:v>0.1838490676907902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B$2:$B$10</c:f>
              <c:numCache>
                <c:formatCode>General</c:formatCode>
                <c:ptCount val="9"/>
                <c:pt idx="0">
                  <c:v>0.8448371065709552</c:v>
                </c:pt>
                <c:pt idx="1">
                  <c:v>0.9080960566400599</c:v>
                </c:pt>
                <c:pt idx="2">
                  <c:v>1.0</c:v>
                </c:pt>
                <c:pt idx="3">
                  <c:v>1.0</c:v>
                </c:pt>
                <c:pt idx="4">
                  <c:v>1.0</c:v>
                </c:pt>
                <c:pt idx="5">
                  <c:v>1.0</c:v>
                </c:pt>
                <c:pt idx="6">
                  <c:v>1.0</c:v>
                </c:pt>
                <c:pt idx="7">
                  <c:v>0.7811722912966252</c:v>
                </c:pt>
                <c:pt idx="8">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C$2:$C$10</c:f>
              <c:numCache>
                <c:formatCode>General</c:formatCode>
                <c:ptCount val="9"/>
                <c:pt idx="0">
                  <c:v>0.15516289342904477</c:v>
                </c:pt>
                <c:pt idx="1">
                  <c:v>0.09190394335994012</c:v>
                </c:pt>
                <c:pt idx="2">
                  <c:v>0.0</c:v>
                </c:pt>
                <c:pt idx="3">
                  <c:v>0.0</c:v>
                </c:pt>
                <c:pt idx="4">
                  <c:v>0.0</c:v>
                </c:pt>
                <c:pt idx="5">
                  <c:v>0.0</c:v>
                </c:pt>
                <c:pt idx="6">
                  <c:v>0.0</c:v>
                </c:pt>
                <c:pt idx="7">
                  <c:v>0.21882770870337476</c:v>
                </c:pt>
                <c:pt idx="8">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uinart</c:v>
                </c:pt>
                <c:pt idx="2">
                  <c:v>Malard</c:v>
                </c:pt>
                <c:pt idx="3">
                  <c:v>Roederer</c:v>
                </c:pt>
                <c:pt idx="4">
                  <c:v>Pommery</c:v>
                </c:pt>
              </c:strCache>
            </c:strRef>
          </c:cat>
          <c:val>
            <c:numRef>
              <c:f>Sheet1!$B$2:$B$6</c:f>
              <c:numCache>
                <c:formatCode>General</c:formatCode>
                <c:ptCount val="5"/>
                <c:pt idx="0">
                  <c:v>16.5</c:v>
                </c:pt>
                <c:pt idx="1">
                  <c:v>20.0</c:v>
                </c:pt>
                <c:pt idx="2">
                  <c:v>0.123</c:v>
                </c:pt>
                <c:pt idx="3">
                  <c:v>5.8</c:v>
                </c:pt>
                <c:pt idx="4">
                  <c:v>-0.36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Laurent Perrier</c:v>
                </c:pt>
                <c:pt idx="4">
                  <c:v>Heidsieck &amp; Co Monopole</c:v>
                </c:pt>
                <c:pt idx="5">
                  <c:v>Ayala</c:v>
                </c:pt>
                <c:pt idx="6">
                  <c:v>Taittinger</c:v>
                </c:pt>
                <c:pt idx="7">
                  <c:v>Bollinger</c:v>
                </c:pt>
                <c:pt idx="8">
                  <c:v>De Bligny</c:v>
                </c:pt>
                <c:pt idx="9">
                  <c:v>Canard Duchêne</c:v>
                </c:pt>
              </c:strCache>
            </c:strRef>
          </c:cat>
          <c:val>
            <c:numRef>
              <c:f>Sheet1!$B$2:$B$11</c:f>
              <c:numCache>
                <c:formatCode>General</c:formatCode>
                <c:ptCount val="10"/>
                <c:pt idx="0">
                  <c:v>1.0</c:v>
                </c:pt>
                <c:pt idx="1">
                  <c:v>0.8589932985880828</c:v>
                </c:pt>
                <c:pt idx="2">
                  <c:v>0.7664013067907856</c:v>
                </c:pt>
                <c:pt idx="3">
                  <c:v>0.7736492094958155</c:v>
                </c:pt>
                <c:pt idx="4">
                  <c:v>1.0</c:v>
                </c:pt>
                <c:pt idx="5">
                  <c:v>1.0</c:v>
                </c:pt>
                <c:pt idx="6">
                  <c:v>0.7546593438256161</c:v>
                </c:pt>
                <c:pt idx="7">
                  <c:v>0.9711296269469277</c:v>
                </c:pt>
                <c:pt idx="8">
                  <c:v>1.0</c:v>
                </c:pt>
                <c:pt idx="9">
                  <c:v>0.820438231451927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Laurent Perrier</c:v>
                </c:pt>
                <c:pt idx="4">
                  <c:v>Heidsieck &amp; Co Monopole</c:v>
                </c:pt>
                <c:pt idx="5">
                  <c:v>Ayala</c:v>
                </c:pt>
                <c:pt idx="6">
                  <c:v>Taittinger</c:v>
                </c:pt>
                <c:pt idx="7">
                  <c:v>Bollinger</c:v>
                </c:pt>
                <c:pt idx="8">
                  <c:v>De Bligny</c:v>
                </c:pt>
                <c:pt idx="9">
                  <c:v>Canard Duchêne</c:v>
                </c:pt>
              </c:strCache>
            </c:strRef>
          </c:cat>
          <c:val>
            <c:numRef>
              <c:f>Sheet1!$C$2:$C$11</c:f>
              <c:numCache>
                <c:formatCode>General</c:formatCode>
                <c:ptCount val="10"/>
                <c:pt idx="0">
                  <c:v>0.0</c:v>
                </c:pt>
                <c:pt idx="1">
                  <c:v>0.14100670141191718</c:v>
                </c:pt>
                <c:pt idx="2">
                  <c:v>0.23359869320921445</c:v>
                </c:pt>
                <c:pt idx="3">
                  <c:v>0.2263507905041845</c:v>
                </c:pt>
                <c:pt idx="4">
                  <c:v>0.0</c:v>
                </c:pt>
                <c:pt idx="5">
                  <c:v>0.0</c:v>
                </c:pt>
                <c:pt idx="6">
                  <c:v>0.24534065617438394</c:v>
                </c:pt>
                <c:pt idx="7">
                  <c:v>0.028870373053072274</c:v>
                </c:pt>
                <c:pt idx="8">
                  <c:v>0.0</c:v>
                </c:pt>
                <c:pt idx="9">
                  <c:v>0.1795617685480721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Laurent Perrier</c:v>
                </c:pt>
                <c:pt idx="3">
                  <c:v>Malard</c:v>
                </c:pt>
                <c:pt idx="4">
                  <c:v>Nicolas</c:v>
                </c:pt>
              </c:strCache>
            </c:strRef>
          </c:cat>
          <c:val>
            <c:numRef>
              <c:f>Sheet1!$B$2:$B$6</c:f>
              <c:numCache>
                <c:formatCode>General</c:formatCode>
                <c:ptCount val="5"/>
                <c:pt idx="0">
                  <c:v>4.833</c:v>
                </c:pt>
                <c:pt idx="1">
                  <c:v>-0.02100000000000002</c:v>
                </c:pt>
                <c:pt idx="2">
                  <c:v>-0.020000000000000018</c:v>
                </c:pt>
                <c:pt idx="3">
                  <c:v>-0.015000000000000013</c:v>
                </c:pt>
                <c:pt idx="4">
                  <c:v>-0.332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uinart</c:v>
                </c:pt>
                <c:pt idx="2">
                  <c:v>Malard</c:v>
                </c:pt>
                <c:pt idx="3">
                  <c:v>Roederer</c:v>
                </c:pt>
                <c:pt idx="4">
                  <c:v>Pommery</c:v>
                </c:pt>
              </c:strCache>
            </c:strRef>
          </c:cat>
          <c:val>
            <c:numRef>
              <c:f>Sheet1!$B$2:$B$6</c:f>
              <c:numCache>
                <c:formatCode>General</c:formatCode>
                <c:ptCount val="5"/>
                <c:pt idx="0">
                  <c:v>10.489758395088598</c:v>
                </c:pt>
                <c:pt idx="1">
                  <c:v>63.90615434358769</c:v>
                </c:pt>
                <c:pt idx="2">
                  <c:v>0.6557607507462164</c:v>
                </c:pt>
                <c:pt idx="3">
                  <c:v>4.039684483442381</c:v>
                </c:pt>
                <c:pt idx="4">
                  <c:v>-0.911158599256400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1.0</c:v>
                </c:pt>
                <c:pt idx="1">
                  <c:v>0.8947194828325472</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0</c:v>
                </c:pt>
                <c:pt idx="1">
                  <c:v>0.10528051716745279</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B$2:$B$10</c:f>
              <c:numCache>
                <c:formatCode>General</c:formatCode>
                <c:ptCount val="9"/>
                <c:pt idx="0">
                  <c:v>1.0</c:v>
                </c:pt>
                <c:pt idx="1">
                  <c:v>0.9095794326441723</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C$2:$C$10</c:f>
              <c:numCache>
                <c:formatCode>General</c:formatCode>
                <c:ptCount val="9"/>
                <c:pt idx="0">
                  <c:v>0.0</c:v>
                </c:pt>
                <c:pt idx="1">
                  <c:v>0.09042056735582771</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1.0</c:v>
                </c:pt>
                <c:pt idx="1">
                  <c:v>0.9388557572580116</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0</c:v>
                </c:pt>
                <c:pt idx="1">
                  <c:v>0.061144242741988375</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Heidsieck &amp; Co Monopole</c:v>
                </c:pt>
                <c:pt idx="4">
                  <c:v>Ayala</c:v>
                </c:pt>
                <c:pt idx="5">
                  <c:v>De Bligny</c:v>
                </c:pt>
                <c:pt idx="6">
                  <c:v>Laurent Perrier</c:v>
                </c:pt>
                <c:pt idx="7">
                  <c:v>Canard Duchêne</c:v>
                </c:pt>
                <c:pt idx="8">
                  <c:v>Taittinger</c:v>
                </c:pt>
                <c:pt idx="9">
                  <c:v>Bollinger</c:v>
                </c:pt>
              </c:strCache>
            </c:strRef>
          </c:cat>
          <c:val>
            <c:numRef>
              <c:f>Sheet1!$B$2:$B$11</c:f>
              <c:numCache>
                <c:formatCode>General</c:formatCode>
                <c:ptCount val="10"/>
                <c:pt idx="0">
                  <c:v>1.0</c:v>
                </c:pt>
                <c:pt idx="1">
                  <c:v>0.8906900596965328</c:v>
                </c:pt>
                <c:pt idx="2">
                  <c:v>0.7386784225669338</c:v>
                </c:pt>
                <c:pt idx="3">
                  <c:v>1.0</c:v>
                </c:pt>
                <c:pt idx="4">
                  <c:v>1.0</c:v>
                </c:pt>
                <c:pt idx="5">
                  <c:v>1.0</c:v>
                </c:pt>
                <c:pt idx="6">
                  <c:v>0.7974893629862096</c:v>
                </c:pt>
                <c:pt idx="7">
                  <c:v>0.8095127747258989</c:v>
                </c:pt>
                <c:pt idx="8">
                  <c:v>0.7496273670067599</c:v>
                </c:pt>
                <c:pt idx="9">
                  <c:v>0.976164934327362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c:v>
                </c:pt>
                <c:pt idx="1">
                  <c:v>Ruinart</c:v>
                </c:pt>
                <c:pt idx="2">
                  <c:v>Deutz</c:v>
                </c:pt>
                <c:pt idx="3">
                  <c:v>Heidsieck &amp; Co Monopole</c:v>
                </c:pt>
                <c:pt idx="4">
                  <c:v>Ayala</c:v>
                </c:pt>
                <c:pt idx="5">
                  <c:v>De Bligny</c:v>
                </c:pt>
                <c:pt idx="6">
                  <c:v>Laurent Perrier</c:v>
                </c:pt>
                <c:pt idx="7">
                  <c:v>Canard Duchêne</c:v>
                </c:pt>
                <c:pt idx="8">
                  <c:v>Taittinger</c:v>
                </c:pt>
                <c:pt idx="9">
                  <c:v>Bollinger</c:v>
                </c:pt>
              </c:strCache>
            </c:strRef>
          </c:cat>
          <c:val>
            <c:numRef>
              <c:f>Sheet1!$C$2:$C$11</c:f>
              <c:numCache>
                <c:formatCode>General</c:formatCode>
                <c:ptCount val="10"/>
                <c:pt idx="0">
                  <c:v>0.0</c:v>
                </c:pt>
                <c:pt idx="1">
                  <c:v>0.10930994030346719</c:v>
                </c:pt>
                <c:pt idx="2">
                  <c:v>0.26132157743306617</c:v>
                </c:pt>
                <c:pt idx="3">
                  <c:v>0.0</c:v>
                </c:pt>
                <c:pt idx="4">
                  <c:v>0.0</c:v>
                </c:pt>
                <c:pt idx="5">
                  <c:v>0.0</c:v>
                </c:pt>
                <c:pt idx="6">
                  <c:v>0.20251063701379035</c:v>
                </c:pt>
                <c:pt idx="7">
                  <c:v>0.1904872252741011</c:v>
                </c:pt>
                <c:pt idx="8">
                  <c:v>0.2503726329932401</c:v>
                </c:pt>
                <c:pt idx="9">
                  <c:v>0.0238350656726374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652.0</c:v>
                </c:pt>
                <c:pt idx="40">
                  <c:v>3354.0</c:v>
                </c:pt>
                <c:pt idx="41">
                  <c:v>2740.0</c:v>
                </c:pt>
                <c:pt idx="42">
                  <c:v>3224.0</c:v>
                </c:pt>
                <c:pt idx="43">
                  <c:v>78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38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309.0</c:v>
                </c:pt>
                <c:pt idx="1">
                  <c:v>3901.0</c:v>
                </c:pt>
                <c:pt idx="2">
                  <c:v>3143.0</c:v>
                </c:pt>
                <c:pt idx="3">
                  <c:v>3900.0</c:v>
                </c:pt>
                <c:pt idx="4">
                  <c:v>3510.0</c:v>
                </c:pt>
                <c:pt idx="5">
                  <c:v>3210.0</c:v>
                </c:pt>
                <c:pt idx="6">
                  <c:v>3825.0</c:v>
                </c:pt>
                <c:pt idx="7">
                  <c:v>3000.0</c:v>
                </c:pt>
                <c:pt idx="8">
                  <c:v>3354.0</c:v>
                </c:pt>
                <c:pt idx="9">
                  <c:v>3585.0</c:v>
                </c:pt>
                <c:pt idx="10">
                  <c:v>5760.0</c:v>
                </c:pt>
                <c:pt idx="11">
                  <c:v>2711.0</c:v>
                </c:pt>
                <c:pt idx="12">
                  <c:v>3541.0</c:v>
                </c:pt>
                <c:pt idx="13">
                  <c:v>4125.0</c:v>
                </c:pt>
                <c:pt idx="14">
                  <c:v>4099.0</c:v>
                </c:pt>
                <c:pt idx="15">
                  <c:v>5299.0</c:v>
                </c:pt>
                <c:pt idx="16">
                  <c:v>4138.0</c:v>
                </c:pt>
                <c:pt idx="17">
                  <c:v>3805.0</c:v>
                </c:pt>
                <c:pt idx="18">
                  <c:v>4821.0</c:v>
                </c:pt>
                <c:pt idx="19">
                  <c:v>7802.0</c:v>
                </c:pt>
                <c:pt idx="20">
                  <c:v>10065.0</c:v>
                </c:pt>
                <c:pt idx="21">
                  <c:v>14423.0</c:v>
                </c:pt>
                <c:pt idx="22">
                  <c:v>17738.0</c:v>
                </c:pt>
                <c:pt idx="23">
                  <c:v>9106.0</c:v>
                </c:pt>
                <c:pt idx="24">
                  <c:v>11376.0</c:v>
                </c:pt>
                <c:pt idx="25">
                  <c:v>6116.0</c:v>
                </c:pt>
                <c:pt idx="26">
                  <c:v>2888.0</c:v>
                </c:pt>
                <c:pt idx="27">
                  <c:v>3057.0</c:v>
                </c:pt>
                <c:pt idx="28">
                  <c:v>3463.0</c:v>
                </c:pt>
                <c:pt idx="29">
                  <c:v>2789.0</c:v>
                </c:pt>
                <c:pt idx="30">
                  <c:v>4374.0</c:v>
                </c:pt>
                <c:pt idx="31">
                  <c:v>3351.0</c:v>
                </c:pt>
                <c:pt idx="32">
                  <c:v>4316.0</c:v>
                </c:pt>
                <c:pt idx="33">
                  <c:v>4603.0</c:v>
                </c:pt>
                <c:pt idx="34">
                  <c:v>4082.0</c:v>
                </c:pt>
                <c:pt idx="35">
                  <c:v>6393.0</c:v>
                </c:pt>
                <c:pt idx="36">
                  <c:v>4200.0</c:v>
                </c:pt>
                <c:pt idx="37">
                  <c:v>4128.0</c:v>
                </c:pt>
                <c:pt idx="38">
                  <c:v>3282.0</c:v>
                </c:pt>
                <c:pt idx="39">
                  <c:v>2504.0</c:v>
                </c:pt>
                <c:pt idx="40">
                  <c:v>2545.0</c:v>
                </c:pt>
                <c:pt idx="41">
                  <c:v>2581.0</c:v>
                </c:pt>
                <c:pt idx="42">
                  <c:v>4298.0</c:v>
                </c:pt>
                <c:pt idx="43">
                  <c:v>3682.0</c:v>
                </c:pt>
                <c:pt idx="44">
                  <c:v>4439.0</c:v>
                </c:pt>
                <c:pt idx="45">
                  <c:v>3274.0</c:v>
                </c:pt>
                <c:pt idx="46">
                  <c:v>4441.0</c:v>
                </c:pt>
                <c:pt idx="47">
                  <c:v>9967.0</c:v>
                </c:pt>
                <c:pt idx="48">
                  <c:v>5086.0</c:v>
                </c:pt>
                <c:pt idx="49">
                  <c:v>6789.0</c:v>
                </c:pt>
                <c:pt idx="50">
                  <c:v>5985.0</c:v>
                </c:pt>
                <c:pt idx="51">
                  <c:v>4879.0</c:v>
                </c:pt>
                <c:pt idx="52">
                  <c:v>3493.0</c:v>
                </c:pt>
                <c:pt idx="53">
                  <c:v>4978.0</c:v>
                </c:pt>
                <c:pt idx="54">
                  <c:v>4370.0</c:v>
                </c:pt>
                <c:pt idx="55">
                  <c:v>3866.0</c:v>
                </c:pt>
                <c:pt idx="56">
                  <c:v>2975.0</c:v>
                </c:pt>
                <c:pt idx="57">
                  <c:v>4630.0</c:v>
                </c:pt>
                <c:pt idx="58">
                  <c:v>5249.0</c:v>
                </c:pt>
                <c:pt idx="59">
                  <c:v>4032.0</c:v>
                </c:pt>
                <c:pt idx="60">
                  <c:v>3457.0</c:v>
                </c:pt>
                <c:pt idx="61">
                  <c:v>3385.0</c:v>
                </c:pt>
                <c:pt idx="62">
                  <c:v>3498.0</c:v>
                </c:pt>
                <c:pt idx="63">
                  <c:v>2987.0</c:v>
                </c:pt>
                <c:pt idx="64">
                  <c:v>4032.0</c:v>
                </c:pt>
                <c:pt idx="65">
                  <c:v>4922.0</c:v>
                </c:pt>
                <c:pt idx="66">
                  <c:v>3572.0</c:v>
                </c:pt>
                <c:pt idx="67">
                  <c:v>6246.0</c:v>
                </c:pt>
                <c:pt idx="68">
                  <c:v>6032.0</c:v>
                </c:pt>
                <c:pt idx="69">
                  <c:v>3384.0</c:v>
                </c:pt>
                <c:pt idx="70">
                  <c:v>3949.0</c:v>
                </c:pt>
                <c:pt idx="71">
                  <c:v>4217.0</c:v>
                </c:pt>
                <c:pt idx="72">
                  <c:v>9301.0</c:v>
                </c:pt>
                <c:pt idx="73">
                  <c:v>9554.0</c:v>
                </c:pt>
                <c:pt idx="74">
                  <c:v>17091.0</c:v>
                </c:pt>
                <c:pt idx="75">
                  <c:v>12812.0</c:v>
                </c:pt>
                <c:pt idx="76">
                  <c:v>2035.0</c:v>
                </c:pt>
                <c:pt idx="77">
                  <c:v>3392.0</c:v>
                </c:pt>
                <c:pt idx="78">
                  <c:v>4722.0</c:v>
                </c:pt>
                <c:pt idx="79">
                  <c:v>267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309.0</c:v>
                </c:pt>
                <c:pt idx="1">
                  <c:v>3901.0</c:v>
                </c:pt>
                <c:pt idx="2">
                  <c:v>3143.0</c:v>
                </c:pt>
                <c:pt idx="3">
                  <c:v>3900.0</c:v>
                </c:pt>
                <c:pt idx="4">
                  <c:v>3510.0</c:v>
                </c:pt>
                <c:pt idx="5">
                  <c:v>3210.0</c:v>
                </c:pt>
                <c:pt idx="6">
                  <c:v>3825.0</c:v>
                </c:pt>
                <c:pt idx="7">
                  <c:v>3000.0</c:v>
                </c:pt>
                <c:pt idx="8">
                  <c:v>3354.0</c:v>
                </c:pt>
                <c:pt idx="9">
                  <c:v>3585.0</c:v>
                </c:pt>
                <c:pt idx="10">
                  <c:v>5760.0</c:v>
                </c:pt>
                <c:pt idx="11">
                  <c:v>2711.0</c:v>
                </c:pt>
                <c:pt idx="12">
                  <c:v>3541.0</c:v>
                </c:pt>
                <c:pt idx="13">
                  <c:v>4125.0</c:v>
                </c:pt>
                <c:pt idx="14">
                  <c:v>4099.0</c:v>
                </c:pt>
                <c:pt idx="15">
                  <c:v>5299.0</c:v>
                </c:pt>
                <c:pt idx="16">
                  <c:v>4138.0</c:v>
                </c:pt>
                <c:pt idx="17">
                  <c:v>3805.0</c:v>
                </c:pt>
                <c:pt idx="18">
                  <c:v>4821.0</c:v>
                </c:pt>
                <c:pt idx="19">
                  <c:v>7802.0</c:v>
                </c:pt>
                <c:pt idx="20">
                  <c:v>10065.0</c:v>
                </c:pt>
                <c:pt idx="21">
                  <c:v>14423.0</c:v>
                </c:pt>
                <c:pt idx="22">
                  <c:v>17738.0</c:v>
                </c:pt>
                <c:pt idx="23">
                  <c:v>9106.0</c:v>
                </c:pt>
                <c:pt idx="24">
                  <c:v>11376.0</c:v>
                </c:pt>
                <c:pt idx="25">
                  <c:v>6116.0</c:v>
                </c:pt>
                <c:pt idx="26">
                  <c:v>2888.0</c:v>
                </c:pt>
                <c:pt idx="27">
                  <c:v>3057.0</c:v>
                </c:pt>
                <c:pt idx="28">
                  <c:v>3463.0</c:v>
                </c:pt>
                <c:pt idx="29">
                  <c:v>2789.0</c:v>
                </c:pt>
                <c:pt idx="30">
                  <c:v>4374.0</c:v>
                </c:pt>
                <c:pt idx="31">
                  <c:v>3351.0</c:v>
                </c:pt>
                <c:pt idx="32">
                  <c:v>4316.0</c:v>
                </c:pt>
                <c:pt idx="33">
                  <c:v>4603.0</c:v>
                </c:pt>
                <c:pt idx="34">
                  <c:v>4082.0</c:v>
                </c:pt>
                <c:pt idx="35">
                  <c:v>6393.0</c:v>
                </c:pt>
                <c:pt idx="36">
                  <c:v>4200.0</c:v>
                </c:pt>
                <c:pt idx="37">
                  <c:v>4128.0</c:v>
                </c:pt>
                <c:pt idx="38">
                  <c:v>3282.0</c:v>
                </c:pt>
                <c:pt idx="39">
                  <c:v>5156.0</c:v>
                </c:pt>
                <c:pt idx="40">
                  <c:v>5899.0</c:v>
                </c:pt>
                <c:pt idx="41">
                  <c:v>5321.0</c:v>
                </c:pt>
                <c:pt idx="42">
                  <c:v>7522.0</c:v>
                </c:pt>
                <c:pt idx="43">
                  <c:v>4466.0</c:v>
                </c:pt>
                <c:pt idx="44">
                  <c:v>4439.0</c:v>
                </c:pt>
                <c:pt idx="45">
                  <c:v>3274.0</c:v>
                </c:pt>
                <c:pt idx="46">
                  <c:v>4441.0</c:v>
                </c:pt>
                <c:pt idx="47">
                  <c:v>9967.0</c:v>
                </c:pt>
                <c:pt idx="48">
                  <c:v>5086.0</c:v>
                </c:pt>
                <c:pt idx="49">
                  <c:v>6789.0</c:v>
                </c:pt>
                <c:pt idx="50">
                  <c:v>5985.0</c:v>
                </c:pt>
                <c:pt idx="51">
                  <c:v>4879.0</c:v>
                </c:pt>
                <c:pt idx="52">
                  <c:v>3493.0</c:v>
                </c:pt>
                <c:pt idx="53">
                  <c:v>4978.0</c:v>
                </c:pt>
                <c:pt idx="54">
                  <c:v>4370.0</c:v>
                </c:pt>
                <c:pt idx="55">
                  <c:v>3866.0</c:v>
                </c:pt>
                <c:pt idx="56">
                  <c:v>2975.0</c:v>
                </c:pt>
                <c:pt idx="57">
                  <c:v>4630.0</c:v>
                </c:pt>
                <c:pt idx="58">
                  <c:v>5249.0</c:v>
                </c:pt>
                <c:pt idx="59">
                  <c:v>4032.0</c:v>
                </c:pt>
                <c:pt idx="60">
                  <c:v>3457.0</c:v>
                </c:pt>
                <c:pt idx="61">
                  <c:v>3385.0</c:v>
                </c:pt>
                <c:pt idx="62">
                  <c:v>3498.0</c:v>
                </c:pt>
                <c:pt idx="63">
                  <c:v>2987.0</c:v>
                </c:pt>
                <c:pt idx="64">
                  <c:v>4032.0</c:v>
                </c:pt>
                <c:pt idx="65">
                  <c:v>4922.0</c:v>
                </c:pt>
                <c:pt idx="66">
                  <c:v>3572.0</c:v>
                </c:pt>
                <c:pt idx="67">
                  <c:v>6246.0</c:v>
                </c:pt>
                <c:pt idx="68">
                  <c:v>6032.0</c:v>
                </c:pt>
                <c:pt idx="69">
                  <c:v>3384.0</c:v>
                </c:pt>
                <c:pt idx="70">
                  <c:v>3949.0</c:v>
                </c:pt>
                <c:pt idx="71">
                  <c:v>8601.0</c:v>
                </c:pt>
                <c:pt idx="72">
                  <c:v>9301.0</c:v>
                </c:pt>
                <c:pt idx="73">
                  <c:v>9554.0</c:v>
                </c:pt>
                <c:pt idx="74">
                  <c:v>17091.0</c:v>
                </c:pt>
                <c:pt idx="75">
                  <c:v>12812.0</c:v>
                </c:pt>
                <c:pt idx="76">
                  <c:v>2035.0</c:v>
                </c:pt>
                <c:pt idx="77">
                  <c:v>3392.0</c:v>
                </c:pt>
                <c:pt idx="78">
                  <c:v>4722.0</c:v>
                </c:pt>
                <c:pt idx="79">
                  <c:v>267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273.0</c:v>
                </c:pt>
                <c:pt idx="1">
                  <c:v>4225.0</c:v>
                </c:pt>
                <c:pt idx="2">
                  <c:v>4060.0</c:v>
                </c:pt>
                <c:pt idx="3">
                  <c:v>4142.0</c:v>
                </c:pt>
                <c:pt idx="4">
                  <c:v>4130.0</c:v>
                </c:pt>
                <c:pt idx="5">
                  <c:v>4099.0</c:v>
                </c:pt>
                <c:pt idx="6">
                  <c:v>3965.0</c:v>
                </c:pt>
                <c:pt idx="7">
                  <c:v>3329.0</c:v>
                </c:pt>
                <c:pt idx="8">
                  <c:v>3367.0</c:v>
                </c:pt>
                <c:pt idx="9">
                  <c:v>3370.0</c:v>
                </c:pt>
                <c:pt idx="10">
                  <c:v>3782.0</c:v>
                </c:pt>
                <c:pt idx="11">
                  <c:v>3372.0</c:v>
                </c:pt>
                <c:pt idx="12">
                  <c:v>3459.0</c:v>
                </c:pt>
                <c:pt idx="13">
                  <c:v>3839.0</c:v>
                </c:pt>
                <c:pt idx="14">
                  <c:v>3849.0</c:v>
                </c:pt>
                <c:pt idx="15">
                  <c:v>4108.0</c:v>
                </c:pt>
                <c:pt idx="16">
                  <c:v>4226.0</c:v>
                </c:pt>
                <c:pt idx="17">
                  <c:v>3954.0</c:v>
                </c:pt>
                <c:pt idx="18">
                  <c:v>4113.0</c:v>
                </c:pt>
                <c:pt idx="19">
                  <c:v>4871.0</c:v>
                </c:pt>
                <c:pt idx="20">
                  <c:v>5448.0</c:v>
                </c:pt>
                <c:pt idx="21">
                  <c:v>6518.0</c:v>
                </c:pt>
                <c:pt idx="22">
                  <c:v>7527.0</c:v>
                </c:pt>
                <c:pt idx="23">
                  <c:v>7783.0</c:v>
                </c:pt>
                <c:pt idx="24">
                  <c:v>8647.0</c:v>
                </c:pt>
                <c:pt idx="25">
                  <c:v>7918.0</c:v>
                </c:pt>
                <c:pt idx="26">
                  <c:v>7822.0</c:v>
                </c:pt>
                <c:pt idx="27">
                  <c:v>7579.0</c:v>
                </c:pt>
                <c:pt idx="28">
                  <c:v>7916.0</c:v>
                </c:pt>
                <c:pt idx="29">
                  <c:v>7881.0</c:v>
                </c:pt>
                <c:pt idx="30">
                  <c:v>8017.0</c:v>
                </c:pt>
                <c:pt idx="31">
                  <c:v>7519.0</c:v>
                </c:pt>
                <c:pt idx="32">
                  <c:v>7234.0</c:v>
                </c:pt>
                <c:pt idx="33">
                  <c:v>6299.0</c:v>
                </c:pt>
                <c:pt idx="34">
                  <c:v>5164.0</c:v>
                </c:pt>
                <c:pt idx="35">
                  <c:v>4888.0</c:v>
                </c:pt>
                <c:pt idx="36">
                  <c:v>4554.0</c:v>
                </c:pt>
                <c:pt idx="37">
                  <c:v>4260.0</c:v>
                </c:pt>
                <c:pt idx="38">
                  <c:v>4515.0</c:v>
                </c:pt>
                <c:pt idx="39">
                  <c:v>4369.0</c:v>
                </c:pt>
                <c:pt idx="40">
                  <c:v>4554.0</c:v>
                </c:pt>
                <c:pt idx="41">
                  <c:v>4262.0</c:v>
                </c:pt>
                <c:pt idx="42">
                  <c:v>4501.0</c:v>
                </c:pt>
                <c:pt idx="43">
                  <c:v>4189.0</c:v>
                </c:pt>
                <c:pt idx="44">
                  <c:v>4379.0</c:v>
                </c:pt>
                <c:pt idx="45">
                  <c:v>3977.0</c:v>
                </c:pt>
                <c:pt idx="46">
                  <c:v>4314.0</c:v>
                </c:pt>
                <c:pt idx="47">
                  <c:v>4659.0</c:v>
                </c:pt>
                <c:pt idx="48">
                  <c:v>4462.0</c:v>
                </c:pt>
                <c:pt idx="49">
                  <c:v>4790.0</c:v>
                </c:pt>
                <c:pt idx="50">
                  <c:v>4998.0</c:v>
                </c:pt>
                <c:pt idx="51">
                  <c:v>5215.0</c:v>
                </c:pt>
                <c:pt idx="52">
                  <c:v>5142.0</c:v>
                </c:pt>
                <c:pt idx="53">
                  <c:v>5343.0</c:v>
                </c:pt>
                <c:pt idx="54">
                  <c:v>5314.0</c:v>
                </c:pt>
                <c:pt idx="55">
                  <c:v>5424.0</c:v>
                </c:pt>
                <c:pt idx="56">
                  <c:v>5003.0</c:v>
                </c:pt>
                <c:pt idx="57">
                  <c:v>5329.0</c:v>
                </c:pt>
                <c:pt idx="58">
                  <c:v>5265.0</c:v>
                </c:pt>
                <c:pt idx="59">
                  <c:v>5001.0</c:v>
                </c:pt>
                <c:pt idx="60">
                  <c:v>4728.0</c:v>
                </c:pt>
                <c:pt idx="61">
                  <c:v>4243.0</c:v>
                </c:pt>
                <c:pt idx="62">
                  <c:v>4273.0</c:v>
                </c:pt>
                <c:pt idx="63">
                  <c:v>3849.0</c:v>
                </c:pt>
                <c:pt idx="64">
                  <c:v>4094.0</c:v>
                </c:pt>
                <c:pt idx="65">
                  <c:v>4179.0</c:v>
                </c:pt>
                <c:pt idx="66">
                  <c:v>3702.0</c:v>
                </c:pt>
                <c:pt idx="67">
                  <c:v>4211.0</c:v>
                </c:pt>
                <c:pt idx="68">
                  <c:v>4473.0</c:v>
                </c:pt>
                <c:pt idx="69">
                  <c:v>4372.0</c:v>
                </c:pt>
                <c:pt idx="70">
                  <c:v>4409.0</c:v>
                </c:pt>
                <c:pt idx="71">
                  <c:v>4436.0</c:v>
                </c:pt>
                <c:pt idx="72">
                  <c:v>4603.0</c:v>
                </c:pt>
                <c:pt idx="73">
                  <c:v>5592.0</c:v>
                </c:pt>
                <c:pt idx="74">
                  <c:v>6923.0</c:v>
                </c:pt>
                <c:pt idx="75">
                  <c:v>7681.0</c:v>
                </c:pt>
                <c:pt idx="76">
                  <c:v>6654.0</c:v>
                </c:pt>
                <c:pt idx="77">
                  <c:v>6290.0</c:v>
                </c:pt>
                <c:pt idx="78">
                  <c:v>7198.0</c:v>
                </c:pt>
                <c:pt idx="79">
                  <c:v>645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5</c:v>
                </c:pt>
                <c:pt idx="40">
                  <c:v>0.48</c:v>
                </c:pt>
                <c:pt idx="41">
                  <c:v>0.43</c:v>
                </c:pt>
                <c:pt idx="42">
                  <c:v>0.34</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1</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0044.0</c:v>
                </c:pt>
                <c:pt idx="40">
                  <c:v>53641.0</c:v>
                </c:pt>
                <c:pt idx="41">
                  <c:v>55717.0</c:v>
                </c:pt>
                <c:pt idx="42">
                  <c:v>38441.0</c:v>
                </c:pt>
                <c:pt idx="43">
                  <c:v>8505.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418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53458.0</c:v>
                </c:pt>
                <c:pt idx="1">
                  <c:v>50078.0</c:v>
                </c:pt>
                <c:pt idx="2">
                  <c:v>33978.0</c:v>
                </c:pt>
                <c:pt idx="3">
                  <c:v>29153.0</c:v>
                </c:pt>
                <c:pt idx="4">
                  <c:v>25223.0</c:v>
                </c:pt>
                <c:pt idx="5">
                  <c:v>34143.0</c:v>
                </c:pt>
                <c:pt idx="6">
                  <c:v>56359.0</c:v>
                </c:pt>
                <c:pt idx="7">
                  <c:v>60243.0</c:v>
                </c:pt>
                <c:pt idx="8">
                  <c:v>56616.0</c:v>
                </c:pt>
                <c:pt idx="9">
                  <c:v>65707.0</c:v>
                </c:pt>
                <c:pt idx="10">
                  <c:v>70342.0</c:v>
                </c:pt>
                <c:pt idx="11">
                  <c:v>65804.0</c:v>
                </c:pt>
                <c:pt idx="12">
                  <c:v>78457.0</c:v>
                </c:pt>
                <c:pt idx="13">
                  <c:v>71903.0</c:v>
                </c:pt>
                <c:pt idx="14">
                  <c:v>70632.0</c:v>
                </c:pt>
                <c:pt idx="15">
                  <c:v>72226.0</c:v>
                </c:pt>
                <c:pt idx="16">
                  <c:v>78892.0</c:v>
                </c:pt>
                <c:pt idx="17">
                  <c:v>82400.0</c:v>
                </c:pt>
                <c:pt idx="18">
                  <c:v>84589.0</c:v>
                </c:pt>
                <c:pt idx="19">
                  <c:v>86074.0</c:v>
                </c:pt>
                <c:pt idx="20">
                  <c:v>106866.0</c:v>
                </c:pt>
                <c:pt idx="21">
                  <c:v>126634.0</c:v>
                </c:pt>
                <c:pt idx="22">
                  <c:v>210271.0</c:v>
                </c:pt>
                <c:pt idx="23">
                  <c:v>147043.0</c:v>
                </c:pt>
                <c:pt idx="24">
                  <c:v>158653.0</c:v>
                </c:pt>
                <c:pt idx="25">
                  <c:v>60709.0</c:v>
                </c:pt>
                <c:pt idx="26">
                  <c:v>55791.0</c:v>
                </c:pt>
                <c:pt idx="27">
                  <c:v>63168.0</c:v>
                </c:pt>
                <c:pt idx="28">
                  <c:v>58647.0</c:v>
                </c:pt>
                <c:pt idx="29">
                  <c:v>67025.0</c:v>
                </c:pt>
                <c:pt idx="30">
                  <c:v>71252.0</c:v>
                </c:pt>
                <c:pt idx="31">
                  <c:v>56191.0</c:v>
                </c:pt>
                <c:pt idx="32">
                  <c:v>67551.0</c:v>
                </c:pt>
                <c:pt idx="33">
                  <c:v>67096.0</c:v>
                </c:pt>
                <c:pt idx="34">
                  <c:v>68419.0</c:v>
                </c:pt>
                <c:pt idx="35">
                  <c:v>66052.0</c:v>
                </c:pt>
                <c:pt idx="36">
                  <c:v>77545.0</c:v>
                </c:pt>
                <c:pt idx="37">
                  <c:v>62852.0</c:v>
                </c:pt>
                <c:pt idx="38">
                  <c:v>59951.0</c:v>
                </c:pt>
                <c:pt idx="39">
                  <c:v>49890.0</c:v>
                </c:pt>
                <c:pt idx="40">
                  <c:v>50724.0</c:v>
                </c:pt>
                <c:pt idx="41">
                  <c:v>49773.0</c:v>
                </c:pt>
                <c:pt idx="42">
                  <c:v>37486.0</c:v>
                </c:pt>
                <c:pt idx="43">
                  <c:v>59881.0</c:v>
                </c:pt>
                <c:pt idx="44">
                  <c:v>70639.0</c:v>
                </c:pt>
                <c:pt idx="45">
                  <c:v>66624.0</c:v>
                </c:pt>
                <c:pt idx="46">
                  <c:v>74377.0</c:v>
                </c:pt>
                <c:pt idx="47">
                  <c:v>126463.0</c:v>
                </c:pt>
                <c:pt idx="48">
                  <c:v>95453.0</c:v>
                </c:pt>
                <c:pt idx="49">
                  <c:v>100125.0</c:v>
                </c:pt>
                <c:pt idx="50">
                  <c:v>83003.0</c:v>
                </c:pt>
                <c:pt idx="51">
                  <c:v>63233.0</c:v>
                </c:pt>
                <c:pt idx="52">
                  <c:v>53349.0</c:v>
                </c:pt>
                <c:pt idx="53">
                  <c:v>52590.0</c:v>
                </c:pt>
                <c:pt idx="54">
                  <c:v>42177.0</c:v>
                </c:pt>
                <c:pt idx="55">
                  <c:v>31849.0</c:v>
                </c:pt>
                <c:pt idx="56">
                  <c:v>24404.0</c:v>
                </c:pt>
                <c:pt idx="57">
                  <c:v>37674.0</c:v>
                </c:pt>
                <c:pt idx="58">
                  <c:v>56553.0</c:v>
                </c:pt>
                <c:pt idx="59">
                  <c:v>65013.0</c:v>
                </c:pt>
                <c:pt idx="60">
                  <c:v>66808.0</c:v>
                </c:pt>
                <c:pt idx="61">
                  <c:v>64123.0</c:v>
                </c:pt>
                <c:pt idx="62">
                  <c:v>66265.0</c:v>
                </c:pt>
                <c:pt idx="63">
                  <c:v>67252.0</c:v>
                </c:pt>
                <c:pt idx="64">
                  <c:v>71854.0</c:v>
                </c:pt>
                <c:pt idx="65">
                  <c:v>78392.0</c:v>
                </c:pt>
                <c:pt idx="66">
                  <c:v>78981.0</c:v>
                </c:pt>
                <c:pt idx="67">
                  <c:v>79524.0</c:v>
                </c:pt>
                <c:pt idx="68">
                  <c:v>94300.0</c:v>
                </c:pt>
                <c:pt idx="69">
                  <c:v>83448.0</c:v>
                </c:pt>
                <c:pt idx="70">
                  <c:v>79494.0</c:v>
                </c:pt>
                <c:pt idx="71">
                  <c:v>81644.0</c:v>
                </c:pt>
                <c:pt idx="72">
                  <c:v>93538.0</c:v>
                </c:pt>
                <c:pt idx="73">
                  <c:v>105968.0</c:v>
                </c:pt>
                <c:pt idx="74">
                  <c:v>169044.0</c:v>
                </c:pt>
                <c:pt idx="75">
                  <c:v>135151.0</c:v>
                </c:pt>
                <c:pt idx="76">
                  <c:v>37213.0</c:v>
                </c:pt>
                <c:pt idx="77">
                  <c:v>75805.0</c:v>
                </c:pt>
                <c:pt idx="78">
                  <c:v>73836.0</c:v>
                </c:pt>
                <c:pt idx="79">
                  <c:v>7281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53458.0</c:v>
                </c:pt>
                <c:pt idx="1">
                  <c:v>50078.0</c:v>
                </c:pt>
                <c:pt idx="2">
                  <c:v>33978.0</c:v>
                </c:pt>
                <c:pt idx="3">
                  <c:v>29153.0</c:v>
                </c:pt>
                <c:pt idx="4">
                  <c:v>25223.0</c:v>
                </c:pt>
                <c:pt idx="5">
                  <c:v>34143.0</c:v>
                </c:pt>
                <c:pt idx="6">
                  <c:v>56359.0</c:v>
                </c:pt>
                <c:pt idx="7">
                  <c:v>60243.0</c:v>
                </c:pt>
                <c:pt idx="8">
                  <c:v>56616.0</c:v>
                </c:pt>
                <c:pt idx="9">
                  <c:v>65707.0</c:v>
                </c:pt>
                <c:pt idx="10">
                  <c:v>70342.0</c:v>
                </c:pt>
                <c:pt idx="11">
                  <c:v>65804.0</c:v>
                </c:pt>
                <c:pt idx="12">
                  <c:v>78457.0</c:v>
                </c:pt>
                <c:pt idx="13">
                  <c:v>71903.0</c:v>
                </c:pt>
                <c:pt idx="14">
                  <c:v>70632.0</c:v>
                </c:pt>
                <c:pt idx="15">
                  <c:v>72226.0</c:v>
                </c:pt>
                <c:pt idx="16">
                  <c:v>78892.0</c:v>
                </c:pt>
                <c:pt idx="17">
                  <c:v>82400.0</c:v>
                </c:pt>
                <c:pt idx="18">
                  <c:v>84589.0</c:v>
                </c:pt>
                <c:pt idx="19">
                  <c:v>86074.0</c:v>
                </c:pt>
                <c:pt idx="20">
                  <c:v>106866.0</c:v>
                </c:pt>
                <c:pt idx="21">
                  <c:v>126634.0</c:v>
                </c:pt>
                <c:pt idx="22">
                  <c:v>210271.0</c:v>
                </c:pt>
                <c:pt idx="23">
                  <c:v>147043.0</c:v>
                </c:pt>
                <c:pt idx="24">
                  <c:v>158653.0</c:v>
                </c:pt>
                <c:pt idx="25">
                  <c:v>60709.0</c:v>
                </c:pt>
                <c:pt idx="26">
                  <c:v>55791.0</c:v>
                </c:pt>
                <c:pt idx="27">
                  <c:v>63168.0</c:v>
                </c:pt>
                <c:pt idx="28">
                  <c:v>58647.0</c:v>
                </c:pt>
                <c:pt idx="29">
                  <c:v>67025.0</c:v>
                </c:pt>
                <c:pt idx="30">
                  <c:v>71252.0</c:v>
                </c:pt>
                <c:pt idx="31">
                  <c:v>56191.0</c:v>
                </c:pt>
                <c:pt idx="32">
                  <c:v>67551.0</c:v>
                </c:pt>
                <c:pt idx="33">
                  <c:v>67096.0</c:v>
                </c:pt>
                <c:pt idx="34">
                  <c:v>68419.0</c:v>
                </c:pt>
                <c:pt idx="35">
                  <c:v>66052.0</c:v>
                </c:pt>
                <c:pt idx="36">
                  <c:v>77545.0</c:v>
                </c:pt>
                <c:pt idx="37">
                  <c:v>62852.0</c:v>
                </c:pt>
                <c:pt idx="38">
                  <c:v>59951.0</c:v>
                </c:pt>
                <c:pt idx="39">
                  <c:v>89934.0</c:v>
                </c:pt>
                <c:pt idx="40">
                  <c:v>104365.0</c:v>
                </c:pt>
                <c:pt idx="41">
                  <c:v>105490.0</c:v>
                </c:pt>
                <c:pt idx="42">
                  <c:v>75927.0</c:v>
                </c:pt>
                <c:pt idx="43">
                  <c:v>68386.0</c:v>
                </c:pt>
                <c:pt idx="44">
                  <c:v>70639.0</c:v>
                </c:pt>
                <c:pt idx="45">
                  <c:v>66624.0</c:v>
                </c:pt>
                <c:pt idx="46">
                  <c:v>74377.0</c:v>
                </c:pt>
                <c:pt idx="47">
                  <c:v>126463.0</c:v>
                </c:pt>
                <c:pt idx="48">
                  <c:v>95453.0</c:v>
                </c:pt>
                <c:pt idx="49">
                  <c:v>100125.0</c:v>
                </c:pt>
                <c:pt idx="50">
                  <c:v>83003.0</c:v>
                </c:pt>
                <c:pt idx="51">
                  <c:v>63233.0</c:v>
                </c:pt>
                <c:pt idx="52">
                  <c:v>53349.0</c:v>
                </c:pt>
                <c:pt idx="53">
                  <c:v>52590.0</c:v>
                </c:pt>
                <c:pt idx="54">
                  <c:v>42177.0</c:v>
                </c:pt>
                <c:pt idx="55">
                  <c:v>31849.0</c:v>
                </c:pt>
                <c:pt idx="56">
                  <c:v>24404.0</c:v>
                </c:pt>
                <c:pt idx="57">
                  <c:v>37674.0</c:v>
                </c:pt>
                <c:pt idx="58">
                  <c:v>56553.0</c:v>
                </c:pt>
                <c:pt idx="59">
                  <c:v>65013.0</c:v>
                </c:pt>
                <c:pt idx="60">
                  <c:v>66808.0</c:v>
                </c:pt>
                <c:pt idx="61">
                  <c:v>64123.0</c:v>
                </c:pt>
                <c:pt idx="62">
                  <c:v>66265.0</c:v>
                </c:pt>
                <c:pt idx="63">
                  <c:v>67252.0</c:v>
                </c:pt>
                <c:pt idx="64">
                  <c:v>71854.0</c:v>
                </c:pt>
                <c:pt idx="65">
                  <c:v>78392.0</c:v>
                </c:pt>
                <c:pt idx="66">
                  <c:v>78981.0</c:v>
                </c:pt>
                <c:pt idx="67">
                  <c:v>79524.0</c:v>
                </c:pt>
                <c:pt idx="68">
                  <c:v>94300.0</c:v>
                </c:pt>
                <c:pt idx="69">
                  <c:v>83448.0</c:v>
                </c:pt>
                <c:pt idx="70">
                  <c:v>79494.0</c:v>
                </c:pt>
                <c:pt idx="71">
                  <c:v>165833.0</c:v>
                </c:pt>
                <c:pt idx="72">
                  <c:v>93538.0</c:v>
                </c:pt>
                <c:pt idx="73">
                  <c:v>105968.0</c:v>
                </c:pt>
                <c:pt idx="74">
                  <c:v>169044.0</c:v>
                </c:pt>
                <c:pt idx="75">
                  <c:v>135151.0</c:v>
                </c:pt>
                <c:pt idx="76">
                  <c:v>37213.0</c:v>
                </c:pt>
                <c:pt idx="77">
                  <c:v>75805.0</c:v>
                </c:pt>
                <c:pt idx="78">
                  <c:v>73836.0</c:v>
                </c:pt>
                <c:pt idx="79">
                  <c:v>7281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68359.0</c:v>
                </c:pt>
                <c:pt idx="1">
                  <c:v>67622.0</c:v>
                </c:pt>
                <c:pt idx="2">
                  <c:v>64256.0</c:v>
                </c:pt>
                <c:pt idx="3">
                  <c:v>61998.0</c:v>
                </c:pt>
                <c:pt idx="4">
                  <c:v>58381.0</c:v>
                </c:pt>
                <c:pt idx="5">
                  <c:v>54902.0</c:v>
                </c:pt>
                <c:pt idx="6">
                  <c:v>53912.0</c:v>
                </c:pt>
                <c:pt idx="7">
                  <c:v>52443.0</c:v>
                </c:pt>
                <c:pt idx="8">
                  <c:v>50115.0</c:v>
                </c:pt>
                <c:pt idx="9">
                  <c:v>49040.0</c:v>
                </c:pt>
                <c:pt idx="10">
                  <c:v>49109.0</c:v>
                </c:pt>
                <c:pt idx="11">
                  <c:v>50308.0</c:v>
                </c:pt>
                <c:pt idx="12">
                  <c:v>52864.0</c:v>
                </c:pt>
                <c:pt idx="13">
                  <c:v>55185.0</c:v>
                </c:pt>
                <c:pt idx="14">
                  <c:v>58329.0</c:v>
                </c:pt>
                <c:pt idx="15">
                  <c:v>62005.0</c:v>
                </c:pt>
                <c:pt idx="16">
                  <c:v>67215.0</c:v>
                </c:pt>
                <c:pt idx="17">
                  <c:v>71704.0</c:v>
                </c:pt>
                <c:pt idx="18">
                  <c:v>73749.0</c:v>
                </c:pt>
                <c:pt idx="19">
                  <c:v>76193.0</c:v>
                </c:pt>
                <c:pt idx="20">
                  <c:v>80125.0</c:v>
                </c:pt>
                <c:pt idx="21">
                  <c:v>85462.0</c:v>
                </c:pt>
                <c:pt idx="22">
                  <c:v>97722.0</c:v>
                </c:pt>
                <c:pt idx="23">
                  <c:v>103648.0</c:v>
                </c:pt>
                <c:pt idx="24">
                  <c:v>114691.0</c:v>
                </c:pt>
                <c:pt idx="25">
                  <c:v>112169.0</c:v>
                </c:pt>
                <c:pt idx="26">
                  <c:v>110935.0</c:v>
                </c:pt>
                <c:pt idx="27">
                  <c:v>109699.0</c:v>
                </c:pt>
                <c:pt idx="28">
                  <c:v>107711.0</c:v>
                </c:pt>
                <c:pt idx="29">
                  <c:v>106001.0</c:v>
                </c:pt>
                <c:pt idx="30">
                  <c:v>103930.0</c:v>
                </c:pt>
                <c:pt idx="31">
                  <c:v>101542.0</c:v>
                </c:pt>
                <c:pt idx="32">
                  <c:v>97744.0</c:v>
                </c:pt>
                <c:pt idx="33">
                  <c:v>92193.0</c:v>
                </c:pt>
                <c:pt idx="34">
                  <c:v>78735.0</c:v>
                </c:pt>
                <c:pt idx="35">
                  <c:v>71765.0</c:v>
                </c:pt>
                <c:pt idx="36">
                  <c:v>65464.0</c:v>
                </c:pt>
                <c:pt idx="37">
                  <c:v>65306.0</c:v>
                </c:pt>
                <c:pt idx="38">
                  <c:v>65764.0</c:v>
                </c:pt>
                <c:pt idx="39">
                  <c:v>65271.0</c:v>
                </c:pt>
                <c:pt idx="40">
                  <c:v>65690.0</c:v>
                </c:pt>
                <c:pt idx="41">
                  <c:v>65121.0</c:v>
                </c:pt>
                <c:pt idx="42">
                  <c:v>62947.0</c:v>
                </c:pt>
                <c:pt idx="43">
                  <c:v>63714.0</c:v>
                </c:pt>
                <c:pt idx="44">
                  <c:v>63919.0</c:v>
                </c:pt>
                <c:pt idx="45">
                  <c:v>63757.0</c:v>
                </c:pt>
                <c:pt idx="46">
                  <c:v>64341.0</c:v>
                </c:pt>
                <c:pt idx="47">
                  <c:v>70171.0</c:v>
                </c:pt>
                <c:pt idx="48">
                  <c:v>72224.0</c:v>
                </c:pt>
                <c:pt idx="49">
                  <c:v>75903.0</c:v>
                </c:pt>
                <c:pt idx="50">
                  <c:v>78303.0</c:v>
                </c:pt>
                <c:pt idx="51">
                  <c:v>78729.0</c:v>
                </c:pt>
                <c:pt idx="52">
                  <c:v>78495.0</c:v>
                </c:pt>
                <c:pt idx="53">
                  <c:v>78050.0</c:v>
                </c:pt>
                <c:pt idx="54">
                  <c:v>76840.0</c:v>
                </c:pt>
                <c:pt idx="55">
                  <c:v>75054.0</c:v>
                </c:pt>
                <c:pt idx="56">
                  <c:v>71294.0</c:v>
                </c:pt>
                <c:pt idx="57">
                  <c:v>69071.0</c:v>
                </c:pt>
                <c:pt idx="58">
                  <c:v>64023.0</c:v>
                </c:pt>
                <c:pt idx="59">
                  <c:v>61794.0</c:v>
                </c:pt>
                <c:pt idx="60">
                  <c:v>59372.0</c:v>
                </c:pt>
                <c:pt idx="61">
                  <c:v>55787.0</c:v>
                </c:pt>
                <c:pt idx="62">
                  <c:v>53761.0</c:v>
                </c:pt>
                <c:pt idx="63">
                  <c:v>54066.0</c:v>
                </c:pt>
                <c:pt idx="64">
                  <c:v>55544.0</c:v>
                </c:pt>
                <c:pt idx="65">
                  <c:v>58148.0</c:v>
                </c:pt>
                <c:pt idx="66">
                  <c:v>61447.0</c:v>
                </c:pt>
                <c:pt idx="67">
                  <c:v>65788.0</c:v>
                </c:pt>
                <c:pt idx="68">
                  <c:v>72471.0</c:v>
                </c:pt>
                <c:pt idx="69">
                  <c:v>75639.0</c:v>
                </c:pt>
                <c:pt idx="70">
                  <c:v>77289.0</c:v>
                </c:pt>
                <c:pt idx="71">
                  <c:v>78649.0</c:v>
                </c:pt>
                <c:pt idx="72">
                  <c:v>81184.0</c:v>
                </c:pt>
                <c:pt idx="73">
                  <c:v>84508.0</c:v>
                </c:pt>
                <c:pt idx="74">
                  <c:v>93061.0</c:v>
                </c:pt>
                <c:pt idx="75">
                  <c:v>98714.0</c:v>
                </c:pt>
                <c:pt idx="76">
                  <c:v>94788.0</c:v>
                </c:pt>
                <c:pt idx="77">
                  <c:v>94570.0</c:v>
                </c:pt>
                <c:pt idx="78">
                  <c:v>93740.0</c:v>
                </c:pt>
                <c:pt idx="79">
                  <c:v>9214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6</c:v>
                </c:pt>
                <c:pt idx="40">
                  <c:v>0.42</c:v>
                </c:pt>
                <c:pt idx="41">
                  <c:v>0.44</c:v>
                </c:pt>
                <c:pt idx="42">
                  <c:v>0.41</c:v>
                </c:pt>
                <c:pt idx="43">
                  <c:v>0.1</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836.0</c:v>
                </c:pt>
                <c:pt idx="40">
                  <c:v>4288.0</c:v>
                </c:pt>
                <c:pt idx="41">
                  <c:v>3061.0</c:v>
                </c:pt>
                <c:pt idx="42">
                  <c:v>3054.0</c:v>
                </c:pt>
                <c:pt idx="43">
                  <c:v>86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536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920.0</c:v>
                </c:pt>
                <c:pt idx="1">
                  <c:v>3403.0</c:v>
                </c:pt>
                <c:pt idx="2">
                  <c:v>3578.0</c:v>
                </c:pt>
                <c:pt idx="3">
                  <c:v>4752.0</c:v>
                </c:pt>
                <c:pt idx="4">
                  <c:v>3356.0</c:v>
                </c:pt>
                <c:pt idx="5">
                  <c:v>3527.0</c:v>
                </c:pt>
                <c:pt idx="6">
                  <c:v>4128.0</c:v>
                </c:pt>
                <c:pt idx="7">
                  <c:v>3004.0</c:v>
                </c:pt>
                <c:pt idx="8">
                  <c:v>3832.0</c:v>
                </c:pt>
                <c:pt idx="9">
                  <c:v>5217.0</c:v>
                </c:pt>
                <c:pt idx="10">
                  <c:v>4821.0</c:v>
                </c:pt>
                <c:pt idx="11">
                  <c:v>3033.0</c:v>
                </c:pt>
                <c:pt idx="12">
                  <c:v>3328.0</c:v>
                </c:pt>
                <c:pt idx="13">
                  <c:v>5346.0</c:v>
                </c:pt>
                <c:pt idx="14">
                  <c:v>4461.0</c:v>
                </c:pt>
                <c:pt idx="15">
                  <c:v>5062.0</c:v>
                </c:pt>
                <c:pt idx="16">
                  <c:v>4281.0</c:v>
                </c:pt>
                <c:pt idx="17">
                  <c:v>5098.0</c:v>
                </c:pt>
                <c:pt idx="18">
                  <c:v>4718.0</c:v>
                </c:pt>
                <c:pt idx="19">
                  <c:v>7862.0</c:v>
                </c:pt>
                <c:pt idx="20">
                  <c:v>9160.0</c:v>
                </c:pt>
                <c:pt idx="21">
                  <c:v>12000.0</c:v>
                </c:pt>
                <c:pt idx="22">
                  <c:v>22121.0</c:v>
                </c:pt>
                <c:pt idx="23">
                  <c:v>15274.0</c:v>
                </c:pt>
                <c:pt idx="24">
                  <c:v>15306.0</c:v>
                </c:pt>
                <c:pt idx="25">
                  <c:v>2911.0</c:v>
                </c:pt>
                <c:pt idx="26">
                  <c:v>3629.0</c:v>
                </c:pt>
                <c:pt idx="27">
                  <c:v>3436.0</c:v>
                </c:pt>
                <c:pt idx="28">
                  <c:v>3383.0</c:v>
                </c:pt>
                <c:pt idx="29">
                  <c:v>4838.0</c:v>
                </c:pt>
                <c:pt idx="30">
                  <c:v>5883.0</c:v>
                </c:pt>
                <c:pt idx="31">
                  <c:v>3835.0</c:v>
                </c:pt>
                <c:pt idx="32">
                  <c:v>4586.0</c:v>
                </c:pt>
                <c:pt idx="33">
                  <c:v>5673.0</c:v>
                </c:pt>
                <c:pt idx="34">
                  <c:v>4441.0</c:v>
                </c:pt>
                <c:pt idx="35">
                  <c:v>4786.0</c:v>
                </c:pt>
                <c:pt idx="36">
                  <c:v>4817.0</c:v>
                </c:pt>
                <c:pt idx="37">
                  <c:v>3882.0</c:v>
                </c:pt>
                <c:pt idx="38">
                  <c:v>3691.0</c:v>
                </c:pt>
                <c:pt idx="39">
                  <c:v>3014.0</c:v>
                </c:pt>
                <c:pt idx="40">
                  <c:v>2513.0</c:v>
                </c:pt>
                <c:pt idx="41">
                  <c:v>2580.0</c:v>
                </c:pt>
                <c:pt idx="42">
                  <c:v>2996.0</c:v>
                </c:pt>
                <c:pt idx="43">
                  <c:v>4170.0</c:v>
                </c:pt>
                <c:pt idx="44">
                  <c:v>3670.0</c:v>
                </c:pt>
                <c:pt idx="45">
                  <c:v>4672.0</c:v>
                </c:pt>
                <c:pt idx="46">
                  <c:v>4191.0</c:v>
                </c:pt>
                <c:pt idx="47">
                  <c:v>6818.0</c:v>
                </c:pt>
                <c:pt idx="48">
                  <c:v>6036.0</c:v>
                </c:pt>
                <c:pt idx="49">
                  <c:v>5493.0</c:v>
                </c:pt>
                <c:pt idx="50">
                  <c:v>5262.0</c:v>
                </c:pt>
                <c:pt idx="51">
                  <c:v>5060.0</c:v>
                </c:pt>
                <c:pt idx="52">
                  <c:v>3961.0</c:v>
                </c:pt>
                <c:pt idx="53">
                  <c:v>3954.0</c:v>
                </c:pt>
                <c:pt idx="54">
                  <c:v>2820.0</c:v>
                </c:pt>
                <c:pt idx="55">
                  <c:v>3249.0</c:v>
                </c:pt>
                <c:pt idx="56">
                  <c:v>3431.0</c:v>
                </c:pt>
                <c:pt idx="57">
                  <c:v>4488.0</c:v>
                </c:pt>
                <c:pt idx="58">
                  <c:v>4774.0</c:v>
                </c:pt>
                <c:pt idx="59">
                  <c:v>3958.0</c:v>
                </c:pt>
                <c:pt idx="60">
                  <c:v>3404.0</c:v>
                </c:pt>
                <c:pt idx="61">
                  <c:v>4643.0</c:v>
                </c:pt>
                <c:pt idx="62">
                  <c:v>4908.0</c:v>
                </c:pt>
                <c:pt idx="63">
                  <c:v>3343.0</c:v>
                </c:pt>
                <c:pt idx="64">
                  <c:v>5910.0</c:v>
                </c:pt>
                <c:pt idx="65">
                  <c:v>6153.0</c:v>
                </c:pt>
                <c:pt idx="66">
                  <c:v>5985.0</c:v>
                </c:pt>
                <c:pt idx="67">
                  <c:v>4969.0</c:v>
                </c:pt>
                <c:pt idx="68">
                  <c:v>6525.0</c:v>
                </c:pt>
                <c:pt idx="69">
                  <c:v>4887.0</c:v>
                </c:pt>
                <c:pt idx="70">
                  <c:v>5445.0</c:v>
                </c:pt>
                <c:pt idx="71">
                  <c:v>5210.0</c:v>
                </c:pt>
                <c:pt idx="72">
                  <c:v>7940.0</c:v>
                </c:pt>
                <c:pt idx="73">
                  <c:v>12154.0</c:v>
                </c:pt>
                <c:pt idx="74">
                  <c:v>19454.0</c:v>
                </c:pt>
                <c:pt idx="75">
                  <c:v>15490.0</c:v>
                </c:pt>
                <c:pt idx="76">
                  <c:v>3715.0</c:v>
                </c:pt>
                <c:pt idx="77">
                  <c:v>4771.0</c:v>
                </c:pt>
                <c:pt idx="78">
                  <c:v>6063.0</c:v>
                </c:pt>
                <c:pt idx="79">
                  <c:v>562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920.0</c:v>
                </c:pt>
                <c:pt idx="1">
                  <c:v>3403.0</c:v>
                </c:pt>
                <c:pt idx="2">
                  <c:v>3578.0</c:v>
                </c:pt>
                <c:pt idx="3">
                  <c:v>4752.0</c:v>
                </c:pt>
                <c:pt idx="4">
                  <c:v>3356.0</c:v>
                </c:pt>
                <c:pt idx="5">
                  <c:v>3527.0</c:v>
                </c:pt>
                <c:pt idx="6">
                  <c:v>4128.0</c:v>
                </c:pt>
                <c:pt idx="7">
                  <c:v>3004.0</c:v>
                </c:pt>
                <c:pt idx="8">
                  <c:v>3832.0</c:v>
                </c:pt>
                <c:pt idx="9">
                  <c:v>5217.0</c:v>
                </c:pt>
                <c:pt idx="10">
                  <c:v>4821.0</c:v>
                </c:pt>
                <c:pt idx="11">
                  <c:v>3033.0</c:v>
                </c:pt>
                <c:pt idx="12">
                  <c:v>3328.0</c:v>
                </c:pt>
                <c:pt idx="13">
                  <c:v>5346.0</c:v>
                </c:pt>
                <c:pt idx="14">
                  <c:v>4461.0</c:v>
                </c:pt>
                <c:pt idx="15">
                  <c:v>5062.0</c:v>
                </c:pt>
                <c:pt idx="16">
                  <c:v>4281.0</c:v>
                </c:pt>
                <c:pt idx="17">
                  <c:v>5098.0</c:v>
                </c:pt>
                <c:pt idx="18">
                  <c:v>4718.0</c:v>
                </c:pt>
                <c:pt idx="19">
                  <c:v>7862.0</c:v>
                </c:pt>
                <c:pt idx="20">
                  <c:v>9160.0</c:v>
                </c:pt>
                <c:pt idx="21">
                  <c:v>12000.0</c:v>
                </c:pt>
                <c:pt idx="22">
                  <c:v>22121.0</c:v>
                </c:pt>
                <c:pt idx="23">
                  <c:v>15274.0</c:v>
                </c:pt>
                <c:pt idx="24">
                  <c:v>15306.0</c:v>
                </c:pt>
                <c:pt idx="25">
                  <c:v>2911.0</c:v>
                </c:pt>
                <c:pt idx="26">
                  <c:v>3629.0</c:v>
                </c:pt>
                <c:pt idx="27">
                  <c:v>3436.0</c:v>
                </c:pt>
                <c:pt idx="28">
                  <c:v>3383.0</c:v>
                </c:pt>
                <c:pt idx="29">
                  <c:v>4838.0</c:v>
                </c:pt>
                <c:pt idx="30">
                  <c:v>5883.0</c:v>
                </c:pt>
                <c:pt idx="31">
                  <c:v>3835.0</c:v>
                </c:pt>
                <c:pt idx="32">
                  <c:v>4586.0</c:v>
                </c:pt>
                <c:pt idx="33">
                  <c:v>5673.0</c:v>
                </c:pt>
                <c:pt idx="34">
                  <c:v>4441.0</c:v>
                </c:pt>
                <c:pt idx="35">
                  <c:v>4786.0</c:v>
                </c:pt>
                <c:pt idx="36">
                  <c:v>4817.0</c:v>
                </c:pt>
                <c:pt idx="37">
                  <c:v>3882.0</c:v>
                </c:pt>
                <c:pt idx="38">
                  <c:v>3691.0</c:v>
                </c:pt>
                <c:pt idx="39">
                  <c:v>5850.0</c:v>
                </c:pt>
                <c:pt idx="40">
                  <c:v>6801.0</c:v>
                </c:pt>
                <c:pt idx="41">
                  <c:v>5641.0</c:v>
                </c:pt>
                <c:pt idx="42">
                  <c:v>6050.0</c:v>
                </c:pt>
                <c:pt idx="43">
                  <c:v>5038.0</c:v>
                </c:pt>
                <c:pt idx="44">
                  <c:v>3670.0</c:v>
                </c:pt>
                <c:pt idx="45">
                  <c:v>4672.0</c:v>
                </c:pt>
                <c:pt idx="46">
                  <c:v>4191.0</c:v>
                </c:pt>
                <c:pt idx="47">
                  <c:v>6818.0</c:v>
                </c:pt>
                <c:pt idx="48">
                  <c:v>6036.0</c:v>
                </c:pt>
                <c:pt idx="49">
                  <c:v>5493.0</c:v>
                </c:pt>
                <c:pt idx="50">
                  <c:v>5262.0</c:v>
                </c:pt>
                <c:pt idx="51">
                  <c:v>5060.0</c:v>
                </c:pt>
                <c:pt idx="52">
                  <c:v>3961.0</c:v>
                </c:pt>
                <c:pt idx="53">
                  <c:v>3954.0</c:v>
                </c:pt>
                <c:pt idx="54">
                  <c:v>2820.0</c:v>
                </c:pt>
                <c:pt idx="55">
                  <c:v>3249.0</c:v>
                </c:pt>
                <c:pt idx="56">
                  <c:v>3431.0</c:v>
                </c:pt>
                <c:pt idx="57">
                  <c:v>4488.0</c:v>
                </c:pt>
                <c:pt idx="58">
                  <c:v>4774.0</c:v>
                </c:pt>
                <c:pt idx="59">
                  <c:v>3958.0</c:v>
                </c:pt>
                <c:pt idx="60">
                  <c:v>3404.0</c:v>
                </c:pt>
                <c:pt idx="61">
                  <c:v>4643.0</c:v>
                </c:pt>
                <c:pt idx="62">
                  <c:v>4908.0</c:v>
                </c:pt>
                <c:pt idx="63">
                  <c:v>3343.0</c:v>
                </c:pt>
                <c:pt idx="64">
                  <c:v>5910.0</c:v>
                </c:pt>
                <c:pt idx="65">
                  <c:v>6153.0</c:v>
                </c:pt>
                <c:pt idx="66">
                  <c:v>5985.0</c:v>
                </c:pt>
                <c:pt idx="67">
                  <c:v>4969.0</c:v>
                </c:pt>
                <c:pt idx="68">
                  <c:v>6525.0</c:v>
                </c:pt>
                <c:pt idx="69">
                  <c:v>4887.0</c:v>
                </c:pt>
                <c:pt idx="70">
                  <c:v>5445.0</c:v>
                </c:pt>
                <c:pt idx="71">
                  <c:v>10574.0</c:v>
                </c:pt>
                <c:pt idx="72">
                  <c:v>7940.0</c:v>
                </c:pt>
                <c:pt idx="73">
                  <c:v>12154.0</c:v>
                </c:pt>
                <c:pt idx="74">
                  <c:v>19454.0</c:v>
                </c:pt>
                <c:pt idx="75">
                  <c:v>15490.0</c:v>
                </c:pt>
                <c:pt idx="76">
                  <c:v>3715.0</c:v>
                </c:pt>
                <c:pt idx="77">
                  <c:v>4771.0</c:v>
                </c:pt>
                <c:pt idx="78">
                  <c:v>6063.0</c:v>
                </c:pt>
                <c:pt idx="79">
                  <c:v>562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600.0</c:v>
                </c:pt>
                <c:pt idx="1">
                  <c:v>4418.0</c:v>
                </c:pt>
                <c:pt idx="2">
                  <c:v>4249.0</c:v>
                </c:pt>
                <c:pt idx="3">
                  <c:v>4774.0</c:v>
                </c:pt>
                <c:pt idx="4">
                  <c:v>4401.0</c:v>
                </c:pt>
                <c:pt idx="5">
                  <c:v>4023.0</c:v>
                </c:pt>
                <c:pt idx="6">
                  <c:v>4375.0</c:v>
                </c:pt>
                <c:pt idx="7">
                  <c:v>3691.0</c:v>
                </c:pt>
                <c:pt idx="8">
                  <c:v>3585.0</c:v>
                </c:pt>
                <c:pt idx="9">
                  <c:v>3915.0</c:v>
                </c:pt>
                <c:pt idx="10">
                  <c:v>3819.0</c:v>
                </c:pt>
                <c:pt idx="11">
                  <c:v>3653.0</c:v>
                </c:pt>
                <c:pt idx="12">
                  <c:v>3757.0</c:v>
                </c:pt>
                <c:pt idx="13">
                  <c:v>4212.0</c:v>
                </c:pt>
                <c:pt idx="14">
                  <c:v>3899.0</c:v>
                </c:pt>
                <c:pt idx="15">
                  <c:v>4439.0</c:v>
                </c:pt>
                <c:pt idx="16">
                  <c:v>4399.0</c:v>
                </c:pt>
                <c:pt idx="17">
                  <c:v>4473.0</c:v>
                </c:pt>
                <c:pt idx="18">
                  <c:v>4716.0</c:v>
                </c:pt>
                <c:pt idx="19">
                  <c:v>5019.0</c:v>
                </c:pt>
                <c:pt idx="20">
                  <c:v>5787.0</c:v>
                </c:pt>
                <c:pt idx="21">
                  <c:v>6119.0</c:v>
                </c:pt>
                <c:pt idx="22">
                  <c:v>7771.0</c:v>
                </c:pt>
                <c:pt idx="23">
                  <c:v>8944.0</c:v>
                </c:pt>
                <c:pt idx="24">
                  <c:v>10187.0</c:v>
                </c:pt>
                <c:pt idx="25">
                  <c:v>9159.0</c:v>
                </c:pt>
                <c:pt idx="26">
                  <c:v>9008.0</c:v>
                </c:pt>
                <c:pt idx="27">
                  <c:v>8571.0</c:v>
                </c:pt>
                <c:pt idx="28">
                  <c:v>8112.0</c:v>
                </c:pt>
                <c:pt idx="29">
                  <c:v>8508.0</c:v>
                </c:pt>
                <c:pt idx="30">
                  <c:v>8633.0</c:v>
                </c:pt>
                <c:pt idx="31">
                  <c:v>8169.0</c:v>
                </c:pt>
                <c:pt idx="32">
                  <c:v>7958.0</c:v>
                </c:pt>
                <c:pt idx="33">
                  <c:v>7406.0</c:v>
                </c:pt>
                <c:pt idx="34">
                  <c:v>6119.0</c:v>
                </c:pt>
                <c:pt idx="35">
                  <c:v>5699.0</c:v>
                </c:pt>
                <c:pt idx="36">
                  <c:v>4667.0</c:v>
                </c:pt>
                <c:pt idx="37">
                  <c:v>5099.0</c:v>
                </c:pt>
                <c:pt idx="38">
                  <c:v>4545.0</c:v>
                </c:pt>
                <c:pt idx="39">
                  <c:v>5033.0</c:v>
                </c:pt>
                <c:pt idx="40">
                  <c:v>5034.0</c:v>
                </c:pt>
                <c:pt idx="41">
                  <c:v>4848.0</c:v>
                </c:pt>
                <c:pt idx="42">
                  <c:v>4499.0</c:v>
                </c:pt>
                <c:pt idx="43">
                  <c:v>4609.0</c:v>
                </c:pt>
                <c:pt idx="44">
                  <c:v>4423.0</c:v>
                </c:pt>
                <c:pt idx="45">
                  <c:v>4375.0</c:v>
                </c:pt>
                <c:pt idx="46">
                  <c:v>4337.0</c:v>
                </c:pt>
                <c:pt idx="47">
                  <c:v>4485.0</c:v>
                </c:pt>
                <c:pt idx="48">
                  <c:v>4560.0</c:v>
                </c:pt>
                <c:pt idx="49">
                  <c:v>4682.0</c:v>
                </c:pt>
                <c:pt idx="50">
                  <c:v>4960.0</c:v>
                </c:pt>
                <c:pt idx="51">
                  <c:v>4941.0</c:v>
                </c:pt>
                <c:pt idx="52">
                  <c:v>4735.0</c:v>
                </c:pt>
                <c:pt idx="53">
                  <c:v>4792.0</c:v>
                </c:pt>
                <c:pt idx="54">
                  <c:v>4946.0</c:v>
                </c:pt>
                <c:pt idx="55">
                  <c:v>5024.0</c:v>
                </c:pt>
                <c:pt idx="56">
                  <c:v>4754.0</c:v>
                </c:pt>
                <c:pt idx="57">
                  <c:v>4931.0</c:v>
                </c:pt>
                <c:pt idx="58">
                  <c:v>4604.0</c:v>
                </c:pt>
                <c:pt idx="59">
                  <c:v>4349.0</c:v>
                </c:pt>
                <c:pt idx="60">
                  <c:v>4059.0</c:v>
                </c:pt>
                <c:pt idx="61">
                  <c:v>4345.0</c:v>
                </c:pt>
                <c:pt idx="62">
                  <c:v>4390.0</c:v>
                </c:pt>
                <c:pt idx="63">
                  <c:v>3775.0</c:v>
                </c:pt>
                <c:pt idx="64">
                  <c:v>4236.0</c:v>
                </c:pt>
                <c:pt idx="65">
                  <c:v>4378.0</c:v>
                </c:pt>
                <c:pt idx="66">
                  <c:v>4866.0</c:v>
                </c:pt>
                <c:pt idx="67">
                  <c:v>4785.0</c:v>
                </c:pt>
                <c:pt idx="68">
                  <c:v>5002.0</c:v>
                </c:pt>
                <c:pt idx="69">
                  <c:v>5462.0</c:v>
                </c:pt>
                <c:pt idx="70">
                  <c:v>5093.0</c:v>
                </c:pt>
                <c:pt idx="71">
                  <c:v>5690.0</c:v>
                </c:pt>
                <c:pt idx="72">
                  <c:v>5768.0</c:v>
                </c:pt>
                <c:pt idx="73">
                  <c:v>6665.0</c:v>
                </c:pt>
                <c:pt idx="74">
                  <c:v>8032.0</c:v>
                </c:pt>
                <c:pt idx="75">
                  <c:v>8846.0</c:v>
                </c:pt>
                <c:pt idx="76">
                  <c:v>7891.0</c:v>
                </c:pt>
                <c:pt idx="77">
                  <c:v>8124.0</c:v>
                </c:pt>
                <c:pt idx="78">
                  <c:v>8164.0</c:v>
                </c:pt>
                <c:pt idx="79">
                  <c:v>757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1</c:v>
                </c:pt>
                <c:pt idx="40">
                  <c:v>0.55</c:v>
                </c:pt>
                <c:pt idx="41">
                  <c:v>0.45</c:v>
                </c:pt>
                <c:pt idx="42">
                  <c:v>0.41</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526.0</c:v>
                </c:pt>
                <c:pt idx="40">
                  <c:v>1686.0</c:v>
                </c:pt>
                <c:pt idx="41">
                  <c:v>2328.0</c:v>
                </c:pt>
                <c:pt idx="42">
                  <c:v>2004.0</c:v>
                </c:pt>
                <c:pt idx="43">
                  <c:v>20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722.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082.0</c:v>
                </c:pt>
                <c:pt idx="1">
                  <c:v>5029.0</c:v>
                </c:pt>
                <c:pt idx="2">
                  <c:v>5176.0</c:v>
                </c:pt>
                <c:pt idx="3">
                  <c:v>5214.0</c:v>
                </c:pt>
                <c:pt idx="4">
                  <c:v>4714.0</c:v>
                </c:pt>
                <c:pt idx="5">
                  <c:v>4607.0</c:v>
                </c:pt>
                <c:pt idx="6">
                  <c:v>3864.0</c:v>
                </c:pt>
                <c:pt idx="7">
                  <c:v>3526.0</c:v>
                </c:pt>
                <c:pt idx="8">
                  <c:v>4386.0</c:v>
                </c:pt>
                <c:pt idx="9">
                  <c:v>3264.0</c:v>
                </c:pt>
                <c:pt idx="10">
                  <c:v>3118.0</c:v>
                </c:pt>
                <c:pt idx="11">
                  <c:v>2929.0</c:v>
                </c:pt>
                <c:pt idx="12">
                  <c:v>4143.0</c:v>
                </c:pt>
                <c:pt idx="13">
                  <c:v>2686.0</c:v>
                </c:pt>
                <c:pt idx="14">
                  <c:v>3758.0</c:v>
                </c:pt>
                <c:pt idx="15">
                  <c:v>4072.0</c:v>
                </c:pt>
                <c:pt idx="16">
                  <c:v>3068.0</c:v>
                </c:pt>
                <c:pt idx="17">
                  <c:v>3605.0</c:v>
                </c:pt>
                <c:pt idx="18">
                  <c:v>3920.0</c:v>
                </c:pt>
                <c:pt idx="19">
                  <c:v>8151.0</c:v>
                </c:pt>
                <c:pt idx="20">
                  <c:v>6860.0</c:v>
                </c:pt>
                <c:pt idx="21">
                  <c:v>7622.0</c:v>
                </c:pt>
                <c:pt idx="22">
                  <c:v>15465.0</c:v>
                </c:pt>
                <c:pt idx="23">
                  <c:v>11233.0</c:v>
                </c:pt>
                <c:pt idx="24">
                  <c:v>9644.0</c:v>
                </c:pt>
                <c:pt idx="25">
                  <c:v>4060.0</c:v>
                </c:pt>
                <c:pt idx="26">
                  <c:v>1860.0</c:v>
                </c:pt>
                <c:pt idx="27">
                  <c:v>3017.0</c:v>
                </c:pt>
                <c:pt idx="28">
                  <c:v>2857.0</c:v>
                </c:pt>
                <c:pt idx="29">
                  <c:v>3319.0</c:v>
                </c:pt>
                <c:pt idx="30">
                  <c:v>3763.0</c:v>
                </c:pt>
                <c:pt idx="31">
                  <c:v>2706.0</c:v>
                </c:pt>
                <c:pt idx="32">
                  <c:v>2425.0</c:v>
                </c:pt>
                <c:pt idx="33">
                  <c:v>3535.0</c:v>
                </c:pt>
                <c:pt idx="34">
                  <c:v>2938.0</c:v>
                </c:pt>
                <c:pt idx="35">
                  <c:v>2620.0</c:v>
                </c:pt>
                <c:pt idx="36">
                  <c:v>3663.0</c:v>
                </c:pt>
                <c:pt idx="37">
                  <c:v>2747.0</c:v>
                </c:pt>
                <c:pt idx="38">
                  <c:v>2918.0</c:v>
                </c:pt>
                <c:pt idx="39">
                  <c:v>2048.0</c:v>
                </c:pt>
                <c:pt idx="40">
                  <c:v>1886.0</c:v>
                </c:pt>
                <c:pt idx="41">
                  <c:v>3963.0</c:v>
                </c:pt>
                <c:pt idx="42">
                  <c:v>2567.0</c:v>
                </c:pt>
                <c:pt idx="43">
                  <c:v>2836.0</c:v>
                </c:pt>
                <c:pt idx="44">
                  <c:v>2918.0</c:v>
                </c:pt>
                <c:pt idx="45">
                  <c:v>3250.0</c:v>
                </c:pt>
                <c:pt idx="46">
                  <c:v>3072.0</c:v>
                </c:pt>
                <c:pt idx="47">
                  <c:v>5971.0</c:v>
                </c:pt>
                <c:pt idx="48">
                  <c:v>3607.0</c:v>
                </c:pt>
                <c:pt idx="49">
                  <c:v>4981.0</c:v>
                </c:pt>
                <c:pt idx="50">
                  <c:v>6520.0</c:v>
                </c:pt>
                <c:pt idx="51">
                  <c:v>4101.0</c:v>
                </c:pt>
                <c:pt idx="52">
                  <c:v>4482.0</c:v>
                </c:pt>
                <c:pt idx="53">
                  <c:v>4066.0</c:v>
                </c:pt>
                <c:pt idx="54">
                  <c:v>4438.0</c:v>
                </c:pt>
                <c:pt idx="55">
                  <c:v>4509.0</c:v>
                </c:pt>
                <c:pt idx="56">
                  <c:v>5974.0</c:v>
                </c:pt>
                <c:pt idx="57">
                  <c:v>4318.0</c:v>
                </c:pt>
                <c:pt idx="58">
                  <c:v>4906.0</c:v>
                </c:pt>
                <c:pt idx="59">
                  <c:v>3582.0</c:v>
                </c:pt>
                <c:pt idx="60">
                  <c:v>3695.0</c:v>
                </c:pt>
                <c:pt idx="61">
                  <c:v>3719.0</c:v>
                </c:pt>
                <c:pt idx="62">
                  <c:v>3066.0</c:v>
                </c:pt>
                <c:pt idx="63">
                  <c:v>2771.0</c:v>
                </c:pt>
                <c:pt idx="64">
                  <c:v>3785.0</c:v>
                </c:pt>
                <c:pt idx="65">
                  <c:v>6902.0</c:v>
                </c:pt>
                <c:pt idx="66">
                  <c:v>4079.0</c:v>
                </c:pt>
                <c:pt idx="67">
                  <c:v>5119.0</c:v>
                </c:pt>
                <c:pt idx="68">
                  <c:v>4830.0</c:v>
                </c:pt>
                <c:pt idx="69">
                  <c:v>4069.0</c:v>
                </c:pt>
                <c:pt idx="70">
                  <c:v>3141.0</c:v>
                </c:pt>
                <c:pt idx="71">
                  <c:v>3393.0</c:v>
                </c:pt>
                <c:pt idx="72">
                  <c:v>6101.0</c:v>
                </c:pt>
                <c:pt idx="73">
                  <c:v>5879.0</c:v>
                </c:pt>
                <c:pt idx="74">
                  <c:v>9792.0</c:v>
                </c:pt>
                <c:pt idx="75">
                  <c:v>11414.0</c:v>
                </c:pt>
                <c:pt idx="76">
                  <c:v>2196.0</c:v>
                </c:pt>
                <c:pt idx="77">
                  <c:v>3970.0</c:v>
                </c:pt>
                <c:pt idx="78">
                  <c:v>2296.0</c:v>
                </c:pt>
                <c:pt idx="79">
                  <c:v>2720.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082.0</c:v>
                </c:pt>
                <c:pt idx="1">
                  <c:v>5029.0</c:v>
                </c:pt>
                <c:pt idx="2">
                  <c:v>5176.0</c:v>
                </c:pt>
                <c:pt idx="3">
                  <c:v>5214.0</c:v>
                </c:pt>
                <c:pt idx="4">
                  <c:v>4714.0</c:v>
                </c:pt>
                <c:pt idx="5">
                  <c:v>4607.0</c:v>
                </c:pt>
                <c:pt idx="6">
                  <c:v>3864.0</c:v>
                </c:pt>
                <c:pt idx="7">
                  <c:v>3526.0</c:v>
                </c:pt>
                <c:pt idx="8">
                  <c:v>4386.0</c:v>
                </c:pt>
                <c:pt idx="9">
                  <c:v>3264.0</c:v>
                </c:pt>
                <c:pt idx="10">
                  <c:v>3118.0</c:v>
                </c:pt>
                <c:pt idx="11">
                  <c:v>2929.0</c:v>
                </c:pt>
                <c:pt idx="12">
                  <c:v>4143.0</c:v>
                </c:pt>
                <c:pt idx="13">
                  <c:v>2686.0</c:v>
                </c:pt>
                <c:pt idx="14">
                  <c:v>3758.0</c:v>
                </c:pt>
                <c:pt idx="15">
                  <c:v>4072.0</c:v>
                </c:pt>
                <c:pt idx="16">
                  <c:v>3068.0</c:v>
                </c:pt>
                <c:pt idx="17">
                  <c:v>3605.0</c:v>
                </c:pt>
                <c:pt idx="18">
                  <c:v>3920.0</c:v>
                </c:pt>
                <c:pt idx="19">
                  <c:v>8151.0</c:v>
                </c:pt>
                <c:pt idx="20">
                  <c:v>6860.0</c:v>
                </c:pt>
                <c:pt idx="21">
                  <c:v>7622.0</c:v>
                </c:pt>
                <c:pt idx="22">
                  <c:v>15465.0</c:v>
                </c:pt>
                <c:pt idx="23">
                  <c:v>11233.0</c:v>
                </c:pt>
                <c:pt idx="24">
                  <c:v>9644.0</c:v>
                </c:pt>
                <c:pt idx="25">
                  <c:v>4060.0</c:v>
                </c:pt>
                <c:pt idx="26">
                  <c:v>1860.0</c:v>
                </c:pt>
                <c:pt idx="27">
                  <c:v>3017.0</c:v>
                </c:pt>
                <c:pt idx="28">
                  <c:v>2857.0</c:v>
                </c:pt>
                <c:pt idx="29">
                  <c:v>3319.0</c:v>
                </c:pt>
                <c:pt idx="30">
                  <c:v>3763.0</c:v>
                </c:pt>
                <c:pt idx="31">
                  <c:v>2706.0</c:v>
                </c:pt>
                <c:pt idx="32">
                  <c:v>2425.0</c:v>
                </c:pt>
                <c:pt idx="33">
                  <c:v>3535.0</c:v>
                </c:pt>
                <c:pt idx="34">
                  <c:v>2938.0</c:v>
                </c:pt>
                <c:pt idx="35">
                  <c:v>2620.0</c:v>
                </c:pt>
                <c:pt idx="36">
                  <c:v>3663.0</c:v>
                </c:pt>
                <c:pt idx="37">
                  <c:v>2747.0</c:v>
                </c:pt>
                <c:pt idx="38">
                  <c:v>2918.0</c:v>
                </c:pt>
                <c:pt idx="39">
                  <c:v>3574.0</c:v>
                </c:pt>
                <c:pt idx="40">
                  <c:v>3572.0</c:v>
                </c:pt>
                <c:pt idx="41">
                  <c:v>6291.0</c:v>
                </c:pt>
                <c:pt idx="42">
                  <c:v>4571.0</c:v>
                </c:pt>
                <c:pt idx="43">
                  <c:v>3042.0</c:v>
                </c:pt>
                <c:pt idx="44">
                  <c:v>2918.0</c:v>
                </c:pt>
                <c:pt idx="45">
                  <c:v>3250.0</c:v>
                </c:pt>
                <c:pt idx="46">
                  <c:v>3072.0</c:v>
                </c:pt>
                <c:pt idx="47">
                  <c:v>5971.0</c:v>
                </c:pt>
                <c:pt idx="48">
                  <c:v>3607.0</c:v>
                </c:pt>
                <c:pt idx="49">
                  <c:v>4981.0</c:v>
                </c:pt>
                <c:pt idx="50">
                  <c:v>6520.0</c:v>
                </c:pt>
                <c:pt idx="51">
                  <c:v>4101.0</c:v>
                </c:pt>
                <c:pt idx="52">
                  <c:v>4482.0</c:v>
                </c:pt>
                <c:pt idx="53">
                  <c:v>4066.0</c:v>
                </c:pt>
                <c:pt idx="54">
                  <c:v>4438.0</c:v>
                </c:pt>
                <c:pt idx="55">
                  <c:v>4509.0</c:v>
                </c:pt>
                <c:pt idx="56">
                  <c:v>5974.0</c:v>
                </c:pt>
                <c:pt idx="57">
                  <c:v>4318.0</c:v>
                </c:pt>
                <c:pt idx="58">
                  <c:v>4906.0</c:v>
                </c:pt>
                <c:pt idx="59">
                  <c:v>3582.0</c:v>
                </c:pt>
                <c:pt idx="60">
                  <c:v>3695.0</c:v>
                </c:pt>
                <c:pt idx="61">
                  <c:v>3719.0</c:v>
                </c:pt>
                <c:pt idx="62">
                  <c:v>3066.0</c:v>
                </c:pt>
                <c:pt idx="63">
                  <c:v>2771.0</c:v>
                </c:pt>
                <c:pt idx="64">
                  <c:v>3785.0</c:v>
                </c:pt>
                <c:pt idx="65">
                  <c:v>6902.0</c:v>
                </c:pt>
                <c:pt idx="66">
                  <c:v>4079.0</c:v>
                </c:pt>
                <c:pt idx="67">
                  <c:v>5119.0</c:v>
                </c:pt>
                <c:pt idx="68">
                  <c:v>4830.0</c:v>
                </c:pt>
                <c:pt idx="69">
                  <c:v>4069.0</c:v>
                </c:pt>
                <c:pt idx="70">
                  <c:v>3141.0</c:v>
                </c:pt>
                <c:pt idx="71">
                  <c:v>8115.0</c:v>
                </c:pt>
                <c:pt idx="72">
                  <c:v>6101.0</c:v>
                </c:pt>
                <c:pt idx="73">
                  <c:v>5879.0</c:v>
                </c:pt>
                <c:pt idx="74">
                  <c:v>9792.0</c:v>
                </c:pt>
                <c:pt idx="75">
                  <c:v>11414.0</c:v>
                </c:pt>
                <c:pt idx="76">
                  <c:v>2196.0</c:v>
                </c:pt>
                <c:pt idx="77">
                  <c:v>3970.0</c:v>
                </c:pt>
                <c:pt idx="78">
                  <c:v>2296.0</c:v>
                </c:pt>
                <c:pt idx="79">
                  <c:v>2720.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083.0</c:v>
                </c:pt>
                <c:pt idx="1">
                  <c:v>4300.0</c:v>
                </c:pt>
                <c:pt idx="2">
                  <c:v>4242.0</c:v>
                </c:pt>
                <c:pt idx="3">
                  <c:v>4500.0</c:v>
                </c:pt>
                <c:pt idx="4">
                  <c:v>4346.0</c:v>
                </c:pt>
                <c:pt idx="5">
                  <c:v>4442.0</c:v>
                </c:pt>
                <c:pt idx="6">
                  <c:v>3984.0</c:v>
                </c:pt>
                <c:pt idx="7">
                  <c:v>4106.0</c:v>
                </c:pt>
                <c:pt idx="8">
                  <c:v>4228.0</c:v>
                </c:pt>
                <c:pt idx="9">
                  <c:v>3967.0</c:v>
                </c:pt>
                <c:pt idx="10">
                  <c:v>4063.0</c:v>
                </c:pt>
                <c:pt idx="11">
                  <c:v>4203.0</c:v>
                </c:pt>
                <c:pt idx="12">
                  <c:v>4344.0</c:v>
                </c:pt>
                <c:pt idx="13">
                  <c:v>3716.0</c:v>
                </c:pt>
                <c:pt idx="14">
                  <c:v>3721.0</c:v>
                </c:pt>
                <c:pt idx="15">
                  <c:v>4087.0</c:v>
                </c:pt>
                <c:pt idx="16">
                  <c:v>3685.0</c:v>
                </c:pt>
                <c:pt idx="17">
                  <c:v>3627.0</c:v>
                </c:pt>
                <c:pt idx="18">
                  <c:v>3734.0</c:v>
                </c:pt>
                <c:pt idx="19">
                  <c:v>4686.0</c:v>
                </c:pt>
                <c:pt idx="20">
                  <c:v>4209.0</c:v>
                </c:pt>
                <c:pt idx="21">
                  <c:v>4510.0</c:v>
                </c:pt>
                <c:pt idx="22">
                  <c:v>6649.0</c:v>
                </c:pt>
                <c:pt idx="23">
                  <c:v>7045.0</c:v>
                </c:pt>
                <c:pt idx="24">
                  <c:v>7004.0</c:v>
                </c:pt>
                <c:pt idx="25">
                  <c:v>6672.0</c:v>
                </c:pt>
                <c:pt idx="26">
                  <c:v>6284.0</c:v>
                </c:pt>
                <c:pt idx="27">
                  <c:v>6723.0</c:v>
                </c:pt>
                <c:pt idx="28">
                  <c:v>5965.0</c:v>
                </c:pt>
                <c:pt idx="29">
                  <c:v>6454.0</c:v>
                </c:pt>
                <c:pt idx="30">
                  <c:v>6714.0</c:v>
                </c:pt>
                <c:pt idx="31">
                  <c:v>5927.0</c:v>
                </c:pt>
                <c:pt idx="32">
                  <c:v>5357.0</c:v>
                </c:pt>
                <c:pt idx="33">
                  <c:v>5248.0</c:v>
                </c:pt>
                <c:pt idx="34">
                  <c:v>4502.0</c:v>
                </c:pt>
                <c:pt idx="35">
                  <c:v>3617.0</c:v>
                </c:pt>
                <c:pt idx="36">
                  <c:v>3530.0</c:v>
                </c:pt>
                <c:pt idx="37">
                  <c:v>2998.0</c:v>
                </c:pt>
                <c:pt idx="38">
                  <c:v>3262.0</c:v>
                </c:pt>
                <c:pt idx="39">
                  <c:v>3593.0</c:v>
                </c:pt>
                <c:pt idx="40">
                  <c:v>3866.0</c:v>
                </c:pt>
                <c:pt idx="41">
                  <c:v>3914.0</c:v>
                </c:pt>
                <c:pt idx="42">
                  <c:v>3754.0</c:v>
                </c:pt>
                <c:pt idx="43">
                  <c:v>3066.0</c:v>
                </c:pt>
                <c:pt idx="44">
                  <c:v>3277.0</c:v>
                </c:pt>
                <c:pt idx="45">
                  <c:v>2997.0</c:v>
                </c:pt>
                <c:pt idx="46">
                  <c:v>3139.0</c:v>
                </c:pt>
                <c:pt idx="47">
                  <c:v>3307.0</c:v>
                </c:pt>
                <c:pt idx="48">
                  <c:v>3208.0</c:v>
                </c:pt>
                <c:pt idx="49">
                  <c:v>3706.0</c:v>
                </c:pt>
                <c:pt idx="50">
                  <c:v>4074.0</c:v>
                </c:pt>
                <c:pt idx="51">
                  <c:v>4308.0</c:v>
                </c:pt>
                <c:pt idx="52">
                  <c:v>4360.0</c:v>
                </c:pt>
                <c:pt idx="53">
                  <c:v>4251.0</c:v>
                </c:pt>
                <c:pt idx="54">
                  <c:v>4400.0</c:v>
                </c:pt>
                <c:pt idx="55">
                  <c:v>4695.0</c:v>
                </c:pt>
                <c:pt idx="56">
                  <c:v>5130.0</c:v>
                </c:pt>
                <c:pt idx="57">
                  <c:v>5118.0</c:v>
                </c:pt>
                <c:pt idx="58">
                  <c:v>5093.0</c:v>
                </c:pt>
                <c:pt idx="59">
                  <c:v>5017.0</c:v>
                </c:pt>
                <c:pt idx="60">
                  <c:v>5027.0</c:v>
                </c:pt>
                <c:pt idx="61">
                  <c:v>4605.0</c:v>
                </c:pt>
                <c:pt idx="62">
                  <c:v>4370.0</c:v>
                </c:pt>
                <c:pt idx="63">
                  <c:v>4484.0</c:v>
                </c:pt>
                <c:pt idx="64">
                  <c:v>3970.0</c:v>
                </c:pt>
                <c:pt idx="65">
                  <c:v>4618.0</c:v>
                </c:pt>
                <c:pt idx="66">
                  <c:v>4248.0</c:v>
                </c:pt>
                <c:pt idx="67">
                  <c:v>4621.0</c:v>
                </c:pt>
                <c:pt idx="68">
                  <c:v>4330.0</c:v>
                </c:pt>
                <c:pt idx="69">
                  <c:v>4368.0</c:v>
                </c:pt>
                <c:pt idx="70">
                  <c:v>4093.0</c:v>
                </c:pt>
                <c:pt idx="71">
                  <c:v>4309.0</c:v>
                </c:pt>
                <c:pt idx="72">
                  <c:v>4437.0</c:v>
                </c:pt>
                <c:pt idx="73">
                  <c:v>4650.0</c:v>
                </c:pt>
                <c:pt idx="74">
                  <c:v>5731.0</c:v>
                </c:pt>
                <c:pt idx="75">
                  <c:v>6300.0</c:v>
                </c:pt>
                <c:pt idx="76">
                  <c:v>5586.0</c:v>
                </c:pt>
                <c:pt idx="77">
                  <c:v>5541.0</c:v>
                </c:pt>
                <c:pt idx="78">
                  <c:v>5388.0</c:v>
                </c:pt>
                <c:pt idx="79">
                  <c:v>4836.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5</c:v>
                </c:pt>
                <c:pt idx="40">
                  <c:v>0.38</c:v>
                </c:pt>
                <c:pt idx="41">
                  <c:v>0.29</c:v>
                </c:pt>
                <c:pt idx="42">
                  <c:v>0.35</c:v>
                </c:pt>
                <c:pt idx="43">
                  <c:v>0.0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8</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1589.0</c:v>
                </c:pt>
                <c:pt idx="40">
                  <c:v>11211.0</c:v>
                </c:pt>
                <c:pt idx="41">
                  <c:v>13599.0</c:v>
                </c:pt>
                <c:pt idx="42">
                  <c:v>11025.0</c:v>
                </c:pt>
                <c:pt idx="43">
                  <c:v>433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2245.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5454.0</c:v>
                </c:pt>
                <c:pt idx="1">
                  <c:v>12718.0</c:v>
                </c:pt>
                <c:pt idx="2">
                  <c:v>11365.0</c:v>
                </c:pt>
                <c:pt idx="3">
                  <c:v>9549.0</c:v>
                </c:pt>
                <c:pt idx="4">
                  <c:v>8454.0</c:v>
                </c:pt>
                <c:pt idx="5">
                  <c:v>11686.0</c:v>
                </c:pt>
                <c:pt idx="6">
                  <c:v>16179.0</c:v>
                </c:pt>
                <c:pt idx="7">
                  <c:v>15743.0</c:v>
                </c:pt>
                <c:pt idx="8">
                  <c:v>14780.0</c:v>
                </c:pt>
                <c:pt idx="9">
                  <c:v>19344.0</c:v>
                </c:pt>
                <c:pt idx="10">
                  <c:v>20099.0</c:v>
                </c:pt>
                <c:pt idx="11">
                  <c:v>13721.0</c:v>
                </c:pt>
                <c:pt idx="12">
                  <c:v>19773.0</c:v>
                </c:pt>
                <c:pt idx="13">
                  <c:v>17024.0</c:v>
                </c:pt>
                <c:pt idx="14">
                  <c:v>18307.0</c:v>
                </c:pt>
                <c:pt idx="15">
                  <c:v>19291.0</c:v>
                </c:pt>
                <c:pt idx="16">
                  <c:v>20967.0</c:v>
                </c:pt>
                <c:pt idx="17">
                  <c:v>17751.0</c:v>
                </c:pt>
                <c:pt idx="18">
                  <c:v>19145.0</c:v>
                </c:pt>
                <c:pt idx="19">
                  <c:v>24705.0</c:v>
                </c:pt>
                <c:pt idx="20">
                  <c:v>30119.0</c:v>
                </c:pt>
                <c:pt idx="21">
                  <c:v>37130.0</c:v>
                </c:pt>
                <c:pt idx="22">
                  <c:v>63106.0</c:v>
                </c:pt>
                <c:pt idx="23">
                  <c:v>46638.0</c:v>
                </c:pt>
                <c:pt idx="24">
                  <c:v>48211.0</c:v>
                </c:pt>
                <c:pt idx="25">
                  <c:v>15328.0</c:v>
                </c:pt>
                <c:pt idx="26">
                  <c:v>13105.0</c:v>
                </c:pt>
                <c:pt idx="27">
                  <c:v>15431.0</c:v>
                </c:pt>
                <c:pt idx="28">
                  <c:v>14314.0</c:v>
                </c:pt>
                <c:pt idx="29">
                  <c:v>15869.0</c:v>
                </c:pt>
                <c:pt idx="30">
                  <c:v>18818.0</c:v>
                </c:pt>
                <c:pt idx="31">
                  <c:v>12444.0</c:v>
                </c:pt>
                <c:pt idx="32">
                  <c:v>16249.0</c:v>
                </c:pt>
                <c:pt idx="33">
                  <c:v>17880.0</c:v>
                </c:pt>
                <c:pt idx="34">
                  <c:v>16894.0</c:v>
                </c:pt>
                <c:pt idx="35">
                  <c:v>17698.0</c:v>
                </c:pt>
                <c:pt idx="36">
                  <c:v>23634.0</c:v>
                </c:pt>
                <c:pt idx="37">
                  <c:v>17281.0</c:v>
                </c:pt>
                <c:pt idx="38">
                  <c:v>17323.0</c:v>
                </c:pt>
                <c:pt idx="39">
                  <c:v>13568.0</c:v>
                </c:pt>
                <c:pt idx="40">
                  <c:v>12898.0</c:v>
                </c:pt>
                <c:pt idx="41">
                  <c:v>12312.0</c:v>
                </c:pt>
                <c:pt idx="42">
                  <c:v>11270.0</c:v>
                </c:pt>
                <c:pt idx="43">
                  <c:v>15406.0</c:v>
                </c:pt>
                <c:pt idx="44">
                  <c:v>18490.0</c:v>
                </c:pt>
                <c:pt idx="45">
                  <c:v>16526.0</c:v>
                </c:pt>
                <c:pt idx="46">
                  <c:v>19930.0</c:v>
                </c:pt>
                <c:pt idx="47">
                  <c:v>35214.0</c:v>
                </c:pt>
                <c:pt idx="48">
                  <c:v>25669.0</c:v>
                </c:pt>
                <c:pt idx="49">
                  <c:v>27364.0</c:v>
                </c:pt>
                <c:pt idx="50">
                  <c:v>20753.0</c:v>
                </c:pt>
                <c:pt idx="51">
                  <c:v>18895.0</c:v>
                </c:pt>
                <c:pt idx="52">
                  <c:v>16587.0</c:v>
                </c:pt>
                <c:pt idx="53">
                  <c:v>15910.0</c:v>
                </c:pt>
                <c:pt idx="54">
                  <c:v>11867.0</c:v>
                </c:pt>
                <c:pt idx="55">
                  <c:v>10069.0</c:v>
                </c:pt>
                <c:pt idx="56">
                  <c:v>9866.0</c:v>
                </c:pt>
                <c:pt idx="57">
                  <c:v>12798.0</c:v>
                </c:pt>
                <c:pt idx="58">
                  <c:v>19621.0</c:v>
                </c:pt>
                <c:pt idx="59">
                  <c:v>15699.0</c:v>
                </c:pt>
                <c:pt idx="60">
                  <c:v>20689.0</c:v>
                </c:pt>
                <c:pt idx="61">
                  <c:v>16397.0</c:v>
                </c:pt>
                <c:pt idx="62">
                  <c:v>18138.0</c:v>
                </c:pt>
                <c:pt idx="63">
                  <c:v>16139.0</c:v>
                </c:pt>
                <c:pt idx="64">
                  <c:v>20608.0</c:v>
                </c:pt>
                <c:pt idx="65">
                  <c:v>22167.0</c:v>
                </c:pt>
                <c:pt idx="66">
                  <c:v>20926.0</c:v>
                </c:pt>
                <c:pt idx="67">
                  <c:v>21870.0</c:v>
                </c:pt>
                <c:pt idx="68">
                  <c:v>26377.0</c:v>
                </c:pt>
                <c:pt idx="69">
                  <c:v>22273.0</c:v>
                </c:pt>
                <c:pt idx="70">
                  <c:v>20729.0</c:v>
                </c:pt>
                <c:pt idx="71">
                  <c:v>22235.0</c:v>
                </c:pt>
                <c:pt idx="72">
                  <c:v>26293.0</c:v>
                </c:pt>
                <c:pt idx="73">
                  <c:v>30249.0</c:v>
                </c:pt>
                <c:pt idx="74">
                  <c:v>47832.0</c:v>
                </c:pt>
                <c:pt idx="75">
                  <c:v>45400.0</c:v>
                </c:pt>
                <c:pt idx="76">
                  <c:v>8535.0</c:v>
                </c:pt>
                <c:pt idx="77">
                  <c:v>18035.0</c:v>
                </c:pt>
                <c:pt idx="78">
                  <c:v>18477.0</c:v>
                </c:pt>
                <c:pt idx="79">
                  <c:v>1733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5454.0</c:v>
                </c:pt>
                <c:pt idx="1">
                  <c:v>12718.0</c:v>
                </c:pt>
                <c:pt idx="2">
                  <c:v>11365.0</c:v>
                </c:pt>
                <c:pt idx="3">
                  <c:v>9549.0</c:v>
                </c:pt>
                <c:pt idx="4">
                  <c:v>8454.0</c:v>
                </c:pt>
                <c:pt idx="5">
                  <c:v>11686.0</c:v>
                </c:pt>
                <c:pt idx="6">
                  <c:v>16179.0</c:v>
                </c:pt>
                <c:pt idx="7">
                  <c:v>15743.0</c:v>
                </c:pt>
                <c:pt idx="8">
                  <c:v>14780.0</c:v>
                </c:pt>
                <c:pt idx="9">
                  <c:v>19344.0</c:v>
                </c:pt>
                <c:pt idx="10">
                  <c:v>20099.0</c:v>
                </c:pt>
                <c:pt idx="11">
                  <c:v>13721.0</c:v>
                </c:pt>
                <c:pt idx="12">
                  <c:v>19773.0</c:v>
                </c:pt>
                <c:pt idx="13">
                  <c:v>17024.0</c:v>
                </c:pt>
                <c:pt idx="14">
                  <c:v>18307.0</c:v>
                </c:pt>
                <c:pt idx="15">
                  <c:v>19291.0</c:v>
                </c:pt>
                <c:pt idx="16">
                  <c:v>20967.0</c:v>
                </c:pt>
                <c:pt idx="17">
                  <c:v>17751.0</c:v>
                </c:pt>
                <c:pt idx="18">
                  <c:v>19145.0</c:v>
                </c:pt>
                <c:pt idx="19">
                  <c:v>24705.0</c:v>
                </c:pt>
                <c:pt idx="20">
                  <c:v>30119.0</c:v>
                </c:pt>
                <c:pt idx="21">
                  <c:v>37130.0</c:v>
                </c:pt>
                <c:pt idx="22">
                  <c:v>63106.0</c:v>
                </c:pt>
                <c:pt idx="23">
                  <c:v>46638.0</c:v>
                </c:pt>
                <c:pt idx="24">
                  <c:v>48211.0</c:v>
                </c:pt>
                <c:pt idx="25">
                  <c:v>15328.0</c:v>
                </c:pt>
                <c:pt idx="26">
                  <c:v>13105.0</c:v>
                </c:pt>
                <c:pt idx="27">
                  <c:v>15431.0</c:v>
                </c:pt>
                <c:pt idx="28">
                  <c:v>14314.0</c:v>
                </c:pt>
                <c:pt idx="29">
                  <c:v>15869.0</c:v>
                </c:pt>
                <c:pt idx="30">
                  <c:v>18818.0</c:v>
                </c:pt>
                <c:pt idx="31">
                  <c:v>12444.0</c:v>
                </c:pt>
                <c:pt idx="32">
                  <c:v>16249.0</c:v>
                </c:pt>
                <c:pt idx="33">
                  <c:v>17880.0</c:v>
                </c:pt>
                <c:pt idx="34">
                  <c:v>16894.0</c:v>
                </c:pt>
                <c:pt idx="35">
                  <c:v>17698.0</c:v>
                </c:pt>
                <c:pt idx="36">
                  <c:v>23634.0</c:v>
                </c:pt>
                <c:pt idx="37">
                  <c:v>17281.0</c:v>
                </c:pt>
                <c:pt idx="38">
                  <c:v>17323.0</c:v>
                </c:pt>
                <c:pt idx="39">
                  <c:v>25157.0</c:v>
                </c:pt>
                <c:pt idx="40">
                  <c:v>24109.0</c:v>
                </c:pt>
                <c:pt idx="41">
                  <c:v>25911.0</c:v>
                </c:pt>
                <c:pt idx="42">
                  <c:v>22295.0</c:v>
                </c:pt>
                <c:pt idx="43">
                  <c:v>19744.0</c:v>
                </c:pt>
                <c:pt idx="44">
                  <c:v>18490.0</c:v>
                </c:pt>
                <c:pt idx="45">
                  <c:v>16526.0</c:v>
                </c:pt>
                <c:pt idx="46">
                  <c:v>19930.0</c:v>
                </c:pt>
                <c:pt idx="47">
                  <c:v>35214.0</c:v>
                </c:pt>
                <c:pt idx="48">
                  <c:v>25669.0</c:v>
                </c:pt>
                <c:pt idx="49">
                  <c:v>27364.0</c:v>
                </c:pt>
                <c:pt idx="50">
                  <c:v>20753.0</c:v>
                </c:pt>
                <c:pt idx="51">
                  <c:v>18895.0</c:v>
                </c:pt>
                <c:pt idx="52">
                  <c:v>16587.0</c:v>
                </c:pt>
                <c:pt idx="53">
                  <c:v>15910.0</c:v>
                </c:pt>
                <c:pt idx="54">
                  <c:v>11867.0</c:v>
                </c:pt>
                <c:pt idx="55">
                  <c:v>10069.0</c:v>
                </c:pt>
                <c:pt idx="56">
                  <c:v>9866.0</c:v>
                </c:pt>
                <c:pt idx="57">
                  <c:v>12798.0</c:v>
                </c:pt>
                <c:pt idx="58">
                  <c:v>19621.0</c:v>
                </c:pt>
                <c:pt idx="59">
                  <c:v>15699.0</c:v>
                </c:pt>
                <c:pt idx="60">
                  <c:v>20689.0</c:v>
                </c:pt>
                <c:pt idx="61">
                  <c:v>16397.0</c:v>
                </c:pt>
                <c:pt idx="62">
                  <c:v>18138.0</c:v>
                </c:pt>
                <c:pt idx="63">
                  <c:v>16139.0</c:v>
                </c:pt>
                <c:pt idx="64">
                  <c:v>20608.0</c:v>
                </c:pt>
                <c:pt idx="65">
                  <c:v>22167.0</c:v>
                </c:pt>
                <c:pt idx="66">
                  <c:v>20926.0</c:v>
                </c:pt>
                <c:pt idx="67">
                  <c:v>21870.0</c:v>
                </c:pt>
                <c:pt idx="68">
                  <c:v>26377.0</c:v>
                </c:pt>
                <c:pt idx="69">
                  <c:v>22273.0</c:v>
                </c:pt>
                <c:pt idx="70">
                  <c:v>20729.0</c:v>
                </c:pt>
                <c:pt idx="71">
                  <c:v>44480.0</c:v>
                </c:pt>
                <c:pt idx="72">
                  <c:v>26293.0</c:v>
                </c:pt>
                <c:pt idx="73">
                  <c:v>30249.0</c:v>
                </c:pt>
                <c:pt idx="74">
                  <c:v>47832.0</c:v>
                </c:pt>
                <c:pt idx="75">
                  <c:v>45400.0</c:v>
                </c:pt>
                <c:pt idx="76">
                  <c:v>8535.0</c:v>
                </c:pt>
                <c:pt idx="77">
                  <c:v>18035.0</c:v>
                </c:pt>
                <c:pt idx="78">
                  <c:v>18477.0</c:v>
                </c:pt>
                <c:pt idx="79">
                  <c:v>1733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7891.0</c:v>
                </c:pt>
                <c:pt idx="1">
                  <c:v>17503.0</c:v>
                </c:pt>
                <c:pt idx="2">
                  <c:v>16829.0</c:v>
                </c:pt>
                <c:pt idx="3">
                  <c:v>16455.0</c:v>
                </c:pt>
                <c:pt idx="4">
                  <c:v>15591.0</c:v>
                </c:pt>
                <c:pt idx="5">
                  <c:v>14907.0</c:v>
                </c:pt>
                <c:pt idx="6">
                  <c:v>15331.0</c:v>
                </c:pt>
                <c:pt idx="7">
                  <c:v>14906.0</c:v>
                </c:pt>
                <c:pt idx="8">
                  <c:v>13773.0</c:v>
                </c:pt>
                <c:pt idx="9">
                  <c:v>13750.0</c:v>
                </c:pt>
                <c:pt idx="10">
                  <c:v>14369.0</c:v>
                </c:pt>
                <c:pt idx="11">
                  <c:v>14117.0</c:v>
                </c:pt>
                <c:pt idx="12">
                  <c:v>14866.0</c:v>
                </c:pt>
                <c:pt idx="13">
                  <c:v>15178.0</c:v>
                </c:pt>
                <c:pt idx="14">
                  <c:v>15971.0</c:v>
                </c:pt>
                <c:pt idx="15">
                  <c:v>16779.0</c:v>
                </c:pt>
                <c:pt idx="16">
                  <c:v>17701.0</c:v>
                </c:pt>
                <c:pt idx="17">
                  <c:v>18374.0</c:v>
                </c:pt>
                <c:pt idx="18">
                  <c:v>18468.0</c:v>
                </c:pt>
                <c:pt idx="19">
                  <c:v>19163.0</c:v>
                </c:pt>
                <c:pt idx="20">
                  <c:v>20439.0</c:v>
                </c:pt>
                <c:pt idx="21">
                  <c:v>21829.0</c:v>
                </c:pt>
                <c:pt idx="22">
                  <c:v>25927.0</c:v>
                </c:pt>
                <c:pt idx="23">
                  <c:v>28388.0</c:v>
                </c:pt>
                <c:pt idx="24">
                  <c:v>32401.0</c:v>
                </c:pt>
                <c:pt idx="25">
                  <c:v>31264.0</c:v>
                </c:pt>
                <c:pt idx="26">
                  <c:v>30722.0</c:v>
                </c:pt>
                <c:pt idx="27">
                  <c:v>30355.0</c:v>
                </c:pt>
                <c:pt idx="28">
                  <c:v>29295.0</c:v>
                </c:pt>
                <c:pt idx="29">
                  <c:v>29348.0</c:v>
                </c:pt>
                <c:pt idx="30">
                  <c:v>29196.0</c:v>
                </c:pt>
                <c:pt idx="31">
                  <c:v>27838.0</c:v>
                </c:pt>
                <c:pt idx="32">
                  <c:v>27120.0</c:v>
                </c:pt>
                <c:pt idx="33">
                  <c:v>24966.0</c:v>
                </c:pt>
                <c:pt idx="34">
                  <c:v>21758.0</c:v>
                </c:pt>
                <c:pt idx="35">
                  <c:v>19213.0</c:v>
                </c:pt>
                <c:pt idx="36">
                  <c:v>16977.0</c:v>
                </c:pt>
                <c:pt idx="37">
                  <c:v>16939.0</c:v>
                </c:pt>
                <c:pt idx="38">
                  <c:v>17431.0</c:v>
                </c:pt>
                <c:pt idx="39">
                  <c:v>17306.0</c:v>
                </c:pt>
                <c:pt idx="40">
                  <c:v>17641.0</c:v>
                </c:pt>
                <c:pt idx="41">
                  <c:v>17346.0</c:v>
                </c:pt>
                <c:pt idx="42">
                  <c:v>17100.0</c:v>
                </c:pt>
                <c:pt idx="43">
                  <c:v>16804.0</c:v>
                </c:pt>
                <c:pt idx="44">
                  <c:v>17210.0</c:v>
                </c:pt>
                <c:pt idx="45">
                  <c:v>16820.0</c:v>
                </c:pt>
                <c:pt idx="46">
                  <c:v>17393.0</c:v>
                </c:pt>
                <c:pt idx="47">
                  <c:v>19013.0</c:v>
                </c:pt>
                <c:pt idx="48">
                  <c:v>19480.0</c:v>
                </c:pt>
                <c:pt idx="49">
                  <c:v>20433.0</c:v>
                </c:pt>
                <c:pt idx="50">
                  <c:v>21013.0</c:v>
                </c:pt>
                <c:pt idx="51">
                  <c:v>21211.0</c:v>
                </c:pt>
                <c:pt idx="52">
                  <c:v>21100.0</c:v>
                </c:pt>
                <c:pt idx="53">
                  <c:v>21196.0</c:v>
                </c:pt>
                <c:pt idx="54">
                  <c:v>20698.0</c:v>
                </c:pt>
                <c:pt idx="55">
                  <c:v>20679.0</c:v>
                </c:pt>
                <c:pt idx="56">
                  <c:v>19583.0</c:v>
                </c:pt>
                <c:pt idx="57">
                  <c:v>19781.0</c:v>
                </c:pt>
                <c:pt idx="58">
                  <c:v>19062.0</c:v>
                </c:pt>
                <c:pt idx="59">
                  <c:v>18110.0</c:v>
                </c:pt>
                <c:pt idx="60">
                  <c:v>17118.0</c:v>
                </c:pt>
                <c:pt idx="61">
                  <c:v>16654.0</c:v>
                </c:pt>
                <c:pt idx="62">
                  <c:v>16152.0</c:v>
                </c:pt>
                <c:pt idx="63">
                  <c:v>15670.0</c:v>
                </c:pt>
                <c:pt idx="64">
                  <c:v>16293.0</c:v>
                </c:pt>
                <c:pt idx="65">
                  <c:v>16965.0</c:v>
                </c:pt>
                <c:pt idx="66">
                  <c:v>17635.0</c:v>
                </c:pt>
                <c:pt idx="67">
                  <c:v>18699.0</c:v>
                </c:pt>
                <c:pt idx="68">
                  <c:v>20361.0</c:v>
                </c:pt>
                <c:pt idx="69">
                  <c:v>21071.0</c:v>
                </c:pt>
                <c:pt idx="70">
                  <c:v>20926.0</c:v>
                </c:pt>
                <c:pt idx="71">
                  <c:v>21421.0</c:v>
                </c:pt>
                <c:pt idx="72">
                  <c:v>21966.0</c:v>
                </c:pt>
                <c:pt idx="73">
                  <c:v>23319.0</c:v>
                </c:pt>
                <c:pt idx="74">
                  <c:v>25676.0</c:v>
                </c:pt>
                <c:pt idx="75">
                  <c:v>28115.0</c:v>
                </c:pt>
                <c:pt idx="76">
                  <c:v>26341.0</c:v>
                </c:pt>
                <c:pt idx="77">
                  <c:v>26111.0</c:v>
                </c:pt>
                <c:pt idx="78">
                  <c:v>26228.0</c:v>
                </c:pt>
                <c:pt idx="79">
                  <c:v>2476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7</c:v>
                </c:pt>
                <c:pt idx="40">
                  <c:v>0.38</c:v>
                </c:pt>
                <c:pt idx="41">
                  <c:v>0.44</c:v>
                </c:pt>
                <c:pt idx="42">
                  <c:v>0.41</c:v>
                </c:pt>
                <c:pt idx="43">
                  <c:v>0.18</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8</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3573.0</c:v>
                </c:pt>
                <c:pt idx="40">
                  <c:v>16414.0</c:v>
                </c:pt>
                <c:pt idx="41">
                  <c:v>15279.0</c:v>
                </c:pt>
                <c:pt idx="42">
                  <c:v>14515.0</c:v>
                </c:pt>
                <c:pt idx="43">
                  <c:v>264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4163.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9268.0</c:v>
                </c:pt>
                <c:pt idx="1">
                  <c:v>19337.0</c:v>
                </c:pt>
                <c:pt idx="2">
                  <c:v>13952.0</c:v>
                </c:pt>
                <c:pt idx="3">
                  <c:v>11640.0</c:v>
                </c:pt>
                <c:pt idx="4">
                  <c:v>11264.0</c:v>
                </c:pt>
                <c:pt idx="5">
                  <c:v>13371.0</c:v>
                </c:pt>
                <c:pt idx="6">
                  <c:v>18680.0</c:v>
                </c:pt>
                <c:pt idx="7">
                  <c:v>21238.0</c:v>
                </c:pt>
                <c:pt idx="8">
                  <c:v>17827.0</c:v>
                </c:pt>
                <c:pt idx="9">
                  <c:v>19372.0</c:v>
                </c:pt>
                <c:pt idx="10">
                  <c:v>22783.0</c:v>
                </c:pt>
                <c:pt idx="11">
                  <c:v>17291.0</c:v>
                </c:pt>
                <c:pt idx="12">
                  <c:v>23084.0</c:v>
                </c:pt>
                <c:pt idx="13">
                  <c:v>21989.0</c:v>
                </c:pt>
                <c:pt idx="14">
                  <c:v>27969.0</c:v>
                </c:pt>
                <c:pt idx="15">
                  <c:v>24267.0</c:v>
                </c:pt>
                <c:pt idx="16">
                  <c:v>22762.0</c:v>
                </c:pt>
                <c:pt idx="17">
                  <c:v>25039.0</c:v>
                </c:pt>
                <c:pt idx="18">
                  <c:v>23874.0</c:v>
                </c:pt>
                <c:pt idx="19">
                  <c:v>31689.0</c:v>
                </c:pt>
                <c:pt idx="20">
                  <c:v>32678.0</c:v>
                </c:pt>
                <c:pt idx="21">
                  <c:v>44102.0</c:v>
                </c:pt>
                <c:pt idx="22">
                  <c:v>84867.0</c:v>
                </c:pt>
                <c:pt idx="23">
                  <c:v>56030.0</c:v>
                </c:pt>
                <c:pt idx="24">
                  <c:v>55350.0</c:v>
                </c:pt>
                <c:pt idx="25">
                  <c:v>15816.0</c:v>
                </c:pt>
                <c:pt idx="26">
                  <c:v>14026.0</c:v>
                </c:pt>
                <c:pt idx="27">
                  <c:v>18273.0</c:v>
                </c:pt>
                <c:pt idx="28">
                  <c:v>14280.0</c:v>
                </c:pt>
                <c:pt idx="29">
                  <c:v>17281.0</c:v>
                </c:pt>
                <c:pt idx="30">
                  <c:v>20812.0</c:v>
                </c:pt>
                <c:pt idx="31">
                  <c:v>15985.0</c:v>
                </c:pt>
                <c:pt idx="32">
                  <c:v>17734.0</c:v>
                </c:pt>
                <c:pt idx="33">
                  <c:v>18166.0</c:v>
                </c:pt>
                <c:pt idx="34">
                  <c:v>18043.0</c:v>
                </c:pt>
                <c:pt idx="35">
                  <c:v>17326.0</c:v>
                </c:pt>
                <c:pt idx="36">
                  <c:v>23630.0</c:v>
                </c:pt>
                <c:pt idx="37">
                  <c:v>18195.0</c:v>
                </c:pt>
                <c:pt idx="38">
                  <c:v>20049.0</c:v>
                </c:pt>
                <c:pt idx="39">
                  <c:v>15061.0</c:v>
                </c:pt>
                <c:pt idx="40">
                  <c:v>15090.0</c:v>
                </c:pt>
                <c:pt idx="41">
                  <c:v>16606.0</c:v>
                </c:pt>
                <c:pt idx="42">
                  <c:v>12694.0</c:v>
                </c:pt>
                <c:pt idx="43">
                  <c:v>18842.0</c:v>
                </c:pt>
                <c:pt idx="44">
                  <c:v>23523.0</c:v>
                </c:pt>
                <c:pt idx="45">
                  <c:v>19477.0</c:v>
                </c:pt>
                <c:pt idx="46">
                  <c:v>21895.0</c:v>
                </c:pt>
                <c:pt idx="47">
                  <c:v>40741.0</c:v>
                </c:pt>
                <c:pt idx="48">
                  <c:v>29817.0</c:v>
                </c:pt>
                <c:pt idx="49">
                  <c:v>31484.0</c:v>
                </c:pt>
                <c:pt idx="50">
                  <c:v>26579.0</c:v>
                </c:pt>
                <c:pt idx="51">
                  <c:v>20895.0</c:v>
                </c:pt>
                <c:pt idx="52">
                  <c:v>20357.0</c:v>
                </c:pt>
                <c:pt idx="53">
                  <c:v>18637.0</c:v>
                </c:pt>
                <c:pt idx="54">
                  <c:v>18723.0</c:v>
                </c:pt>
                <c:pt idx="55">
                  <c:v>13602.0</c:v>
                </c:pt>
                <c:pt idx="56">
                  <c:v>13615.0</c:v>
                </c:pt>
                <c:pt idx="57">
                  <c:v>13997.0</c:v>
                </c:pt>
                <c:pt idx="58">
                  <c:v>21180.0</c:v>
                </c:pt>
                <c:pt idx="59">
                  <c:v>17956.0</c:v>
                </c:pt>
                <c:pt idx="60">
                  <c:v>20213.0</c:v>
                </c:pt>
                <c:pt idx="61">
                  <c:v>20801.0</c:v>
                </c:pt>
                <c:pt idx="62">
                  <c:v>21398.0</c:v>
                </c:pt>
                <c:pt idx="63">
                  <c:v>18638.0</c:v>
                </c:pt>
                <c:pt idx="64">
                  <c:v>22600.0</c:v>
                </c:pt>
                <c:pt idx="65">
                  <c:v>24459.0</c:v>
                </c:pt>
                <c:pt idx="66">
                  <c:v>26367.0</c:v>
                </c:pt>
                <c:pt idx="67">
                  <c:v>28334.0</c:v>
                </c:pt>
                <c:pt idx="68">
                  <c:v>30113.0</c:v>
                </c:pt>
                <c:pt idx="69">
                  <c:v>25779.0</c:v>
                </c:pt>
                <c:pt idx="70">
                  <c:v>24022.0</c:v>
                </c:pt>
                <c:pt idx="71">
                  <c:v>25335.0</c:v>
                </c:pt>
                <c:pt idx="72">
                  <c:v>30055.0</c:v>
                </c:pt>
                <c:pt idx="73">
                  <c:v>35069.0</c:v>
                </c:pt>
                <c:pt idx="74">
                  <c:v>66499.0</c:v>
                </c:pt>
                <c:pt idx="75">
                  <c:v>55239.0</c:v>
                </c:pt>
                <c:pt idx="76">
                  <c:v>13291.0</c:v>
                </c:pt>
                <c:pt idx="77">
                  <c:v>21375.0</c:v>
                </c:pt>
                <c:pt idx="78">
                  <c:v>21180.0</c:v>
                </c:pt>
                <c:pt idx="79">
                  <c:v>2233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9268.0</c:v>
                </c:pt>
                <c:pt idx="1">
                  <c:v>19337.0</c:v>
                </c:pt>
                <c:pt idx="2">
                  <c:v>13952.0</c:v>
                </c:pt>
                <c:pt idx="3">
                  <c:v>11640.0</c:v>
                </c:pt>
                <c:pt idx="4">
                  <c:v>11264.0</c:v>
                </c:pt>
                <c:pt idx="5">
                  <c:v>13371.0</c:v>
                </c:pt>
                <c:pt idx="6">
                  <c:v>18680.0</c:v>
                </c:pt>
                <c:pt idx="7">
                  <c:v>21238.0</c:v>
                </c:pt>
                <c:pt idx="8">
                  <c:v>17827.0</c:v>
                </c:pt>
                <c:pt idx="9">
                  <c:v>19372.0</c:v>
                </c:pt>
                <c:pt idx="10">
                  <c:v>22783.0</c:v>
                </c:pt>
                <c:pt idx="11">
                  <c:v>17291.0</c:v>
                </c:pt>
                <c:pt idx="12">
                  <c:v>23084.0</c:v>
                </c:pt>
                <c:pt idx="13">
                  <c:v>21989.0</c:v>
                </c:pt>
                <c:pt idx="14">
                  <c:v>27969.0</c:v>
                </c:pt>
                <c:pt idx="15">
                  <c:v>24267.0</c:v>
                </c:pt>
                <c:pt idx="16">
                  <c:v>22762.0</c:v>
                </c:pt>
                <c:pt idx="17">
                  <c:v>25039.0</c:v>
                </c:pt>
                <c:pt idx="18">
                  <c:v>23874.0</c:v>
                </c:pt>
                <c:pt idx="19">
                  <c:v>31689.0</c:v>
                </c:pt>
                <c:pt idx="20">
                  <c:v>32678.0</c:v>
                </c:pt>
                <c:pt idx="21">
                  <c:v>44102.0</c:v>
                </c:pt>
                <c:pt idx="22">
                  <c:v>84867.0</c:v>
                </c:pt>
                <c:pt idx="23">
                  <c:v>56030.0</c:v>
                </c:pt>
                <c:pt idx="24">
                  <c:v>55350.0</c:v>
                </c:pt>
                <c:pt idx="25">
                  <c:v>15816.0</c:v>
                </c:pt>
                <c:pt idx="26">
                  <c:v>14026.0</c:v>
                </c:pt>
                <c:pt idx="27">
                  <c:v>18273.0</c:v>
                </c:pt>
                <c:pt idx="28">
                  <c:v>14280.0</c:v>
                </c:pt>
                <c:pt idx="29">
                  <c:v>17281.0</c:v>
                </c:pt>
                <c:pt idx="30">
                  <c:v>20812.0</c:v>
                </c:pt>
                <c:pt idx="31">
                  <c:v>15985.0</c:v>
                </c:pt>
                <c:pt idx="32">
                  <c:v>17734.0</c:v>
                </c:pt>
                <c:pt idx="33">
                  <c:v>18166.0</c:v>
                </c:pt>
                <c:pt idx="34">
                  <c:v>18043.0</c:v>
                </c:pt>
                <c:pt idx="35">
                  <c:v>17326.0</c:v>
                </c:pt>
                <c:pt idx="36">
                  <c:v>23630.0</c:v>
                </c:pt>
                <c:pt idx="37">
                  <c:v>18195.0</c:v>
                </c:pt>
                <c:pt idx="38">
                  <c:v>20049.0</c:v>
                </c:pt>
                <c:pt idx="39">
                  <c:v>28634.0</c:v>
                </c:pt>
                <c:pt idx="40">
                  <c:v>31504.0</c:v>
                </c:pt>
                <c:pt idx="41">
                  <c:v>31885.0</c:v>
                </c:pt>
                <c:pt idx="42">
                  <c:v>27209.0</c:v>
                </c:pt>
                <c:pt idx="43">
                  <c:v>21482.0</c:v>
                </c:pt>
                <c:pt idx="44">
                  <c:v>23523.0</c:v>
                </c:pt>
                <c:pt idx="45">
                  <c:v>19477.0</c:v>
                </c:pt>
                <c:pt idx="46">
                  <c:v>21895.0</c:v>
                </c:pt>
                <c:pt idx="47">
                  <c:v>40741.0</c:v>
                </c:pt>
                <c:pt idx="48">
                  <c:v>29817.0</c:v>
                </c:pt>
                <c:pt idx="49">
                  <c:v>31484.0</c:v>
                </c:pt>
                <c:pt idx="50">
                  <c:v>26579.0</c:v>
                </c:pt>
                <c:pt idx="51">
                  <c:v>20895.0</c:v>
                </c:pt>
                <c:pt idx="52">
                  <c:v>20357.0</c:v>
                </c:pt>
                <c:pt idx="53">
                  <c:v>18637.0</c:v>
                </c:pt>
                <c:pt idx="54">
                  <c:v>18723.0</c:v>
                </c:pt>
                <c:pt idx="55">
                  <c:v>13602.0</c:v>
                </c:pt>
                <c:pt idx="56">
                  <c:v>13615.0</c:v>
                </c:pt>
                <c:pt idx="57">
                  <c:v>13997.0</c:v>
                </c:pt>
                <c:pt idx="58">
                  <c:v>21180.0</c:v>
                </c:pt>
                <c:pt idx="59">
                  <c:v>17956.0</c:v>
                </c:pt>
                <c:pt idx="60">
                  <c:v>20213.0</c:v>
                </c:pt>
                <c:pt idx="61">
                  <c:v>20801.0</c:v>
                </c:pt>
                <c:pt idx="62">
                  <c:v>21398.0</c:v>
                </c:pt>
                <c:pt idx="63">
                  <c:v>18638.0</c:v>
                </c:pt>
                <c:pt idx="64">
                  <c:v>22600.0</c:v>
                </c:pt>
                <c:pt idx="65">
                  <c:v>24459.0</c:v>
                </c:pt>
                <c:pt idx="66">
                  <c:v>26367.0</c:v>
                </c:pt>
                <c:pt idx="67">
                  <c:v>28334.0</c:v>
                </c:pt>
                <c:pt idx="68">
                  <c:v>30113.0</c:v>
                </c:pt>
                <c:pt idx="69">
                  <c:v>25779.0</c:v>
                </c:pt>
                <c:pt idx="70">
                  <c:v>24022.0</c:v>
                </c:pt>
                <c:pt idx="71">
                  <c:v>59498.0</c:v>
                </c:pt>
                <c:pt idx="72">
                  <c:v>30055.0</c:v>
                </c:pt>
                <c:pt idx="73">
                  <c:v>35069.0</c:v>
                </c:pt>
                <c:pt idx="74">
                  <c:v>66499.0</c:v>
                </c:pt>
                <c:pt idx="75">
                  <c:v>55239.0</c:v>
                </c:pt>
                <c:pt idx="76">
                  <c:v>13291.0</c:v>
                </c:pt>
                <c:pt idx="77">
                  <c:v>21375.0</c:v>
                </c:pt>
                <c:pt idx="78">
                  <c:v>21180.0</c:v>
                </c:pt>
                <c:pt idx="79">
                  <c:v>2233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4341.0</c:v>
                </c:pt>
                <c:pt idx="1">
                  <c:v>24111.0</c:v>
                </c:pt>
                <c:pt idx="2">
                  <c:v>23012.0</c:v>
                </c:pt>
                <c:pt idx="3">
                  <c:v>22381.0</c:v>
                </c:pt>
                <c:pt idx="4">
                  <c:v>21034.0</c:v>
                </c:pt>
                <c:pt idx="5">
                  <c:v>19378.0</c:v>
                </c:pt>
                <c:pt idx="6">
                  <c:v>19445.0</c:v>
                </c:pt>
                <c:pt idx="7">
                  <c:v>19126.0</c:v>
                </c:pt>
                <c:pt idx="8">
                  <c:v>18432.0</c:v>
                </c:pt>
                <c:pt idx="9">
                  <c:v>17412.0</c:v>
                </c:pt>
                <c:pt idx="10">
                  <c:v>17446.0</c:v>
                </c:pt>
                <c:pt idx="11">
                  <c:v>17507.0</c:v>
                </c:pt>
                <c:pt idx="12">
                  <c:v>17741.0</c:v>
                </c:pt>
                <c:pt idx="13">
                  <c:v>18257.0</c:v>
                </c:pt>
                <c:pt idx="14">
                  <c:v>18937.0</c:v>
                </c:pt>
                <c:pt idx="15">
                  <c:v>20363.0</c:v>
                </c:pt>
                <c:pt idx="16">
                  <c:v>21551.0</c:v>
                </c:pt>
                <c:pt idx="17">
                  <c:v>22322.0</c:v>
                </c:pt>
                <c:pt idx="18">
                  <c:v>22997.0</c:v>
                </c:pt>
                <c:pt idx="19">
                  <c:v>23924.0</c:v>
                </c:pt>
                <c:pt idx="20">
                  <c:v>25399.0</c:v>
                </c:pt>
                <c:pt idx="21">
                  <c:v>27541.0</c:v>
                </c:pt>
                <c:pt idx="22">
                  <c:v>32887.0</c:v>
                </c:pt>
                <c:pt idx="23">
                  <c:v>35741.0</c:v>
                </c:pt>
                <c:pt idx="24">
                  <c:v>39895.0</c:v>
                </c:pt>
                <c:pt idx="25">
                  <c:v>38825.0</c:v>
                </c:pt>
                <c:pt idx="26">
                  <c:v>36257.0</c:v>
                </c:pt>
                <c:pt idx="27">
                  <c:v>36565.0</c:v>
                </c:pt>
                <c:pt idx="28">
                  <c:v>35687.0</c:v>
                </c:pt>
                <c:pt idx="29">
                  <c:v>34464.0</c:v>
                </c:pt>
                <c:pt idx="30">
                  <c:v>34576.0</c:v>
                </c:pt>
                <c:pt idx="31">
                  <c:v>32456.0</c:v>
                </c:pt>
                <c:pt idx="32">
                  <c:v>31990.0</c:v>
                </c:pt>
                <c:pt idx="33">
                  <c:v>29557.0</c:v>
                </c:pt>
                <c:pt idx="34">
                  <c:v>24402.0</c:v>
                </c:pt>
                <c:pt idx="35">
                  <c:v>21317.0</c:v>
                </c:pt>
                <c:pt idx="36">
                  <c:v>18922.0</c:v>
                </c:pt>
                <c:pt idx="37">
                  <c:v>18540.0</c:v>
                </c:pt>
                <c:pt idx="38">
                  <c:v>18838.0</c:v>
                </c:pt>
                <c:pt idx="39">
                  <c:v>18981.0</c:v>
                </c:pt>
                <c:pt idx="40">
                  <c:v>19322.0</c:v>
                </c:pt>
                <c:pt idx="41">
                  <c:v>19344.0</c:v>
                </c:pt>
                <c:pt idx="42">
                  <c:v>18845.0</c:v>
                </c:pt>
                <c:pt idx="43">
                  <c:v>19136.0</c:v>
                </c:pt>
                <c:pt idx="44">
                  <c:v>19352.0</c:v>
                </c:pt>
                <c:pt idx="45">
                  <c:v>19278.0</c:v>
                </c:pt>
                <c:pt idx="46">
                  <c:v>19730.0</c:v>
                </c:pt>
                <c:pt idx="47">
                  <c:v>22304.0</c:v>
                </c:pt>
                <c:pt idx="48">
                  <c:v>22473.0</c:v>
                </c:pt>
                <c:pt idx="49">
                  <c:v>24247.0</c:v>
                </c:pt>
                <c:pt idx="50">
                  <c:v>24996.0</c:v>
                </c:pt>
                <c:pt idx="51">
                  <c:v>25037.0</c:v>
                </c:pt>
                <c:pt idx="52">
                  <c:v>24891.0</c:v>
                </c:pt>
                <c:pt idx="53">
                  <c:v>25122.0</c:v>
                </c:pt>
                <c:pt idx="54">
                  <c:v>25686.0</c:v>
                </c:pt>
                <c:pt idx="55">
                  <c:v>24998.0</c:v>
                </c:pt>
                <c:pt idx="56">
                  <c:v>24138.0</c:v>
                </c:pt>
                <c:pt idx="57">
                  <c:v>23695.0</c:v>
                </c:pt>
                <c:pt idx="58">
                  <c:v>22682.0</c:v>
                </c:pt>
                <c:pt idx="59">
                  <c:v>21687.0</c:v>
                </c:pt>
                <c:pt idx="60">
                  <c:v>20723.0</c:v>
                </c:pt>
                <c:pt idx="61">
                  <c:v>19462.0</c:v>
                </c:pt>
                <c:pt idx="62">
                  <c:v>19160.0</c:v>
                </c:pt>
                <c:pt idx="63">
                  <c:v>19141.0</c:v>
                </c:pt>
                <c:pt idx="64">
                  <c:v>19071.0</c:v>
                </c:pt>
                <c:pt idx="65">
                  <c:v>19642.0</c:v>
                </c:pt>
                <c:pt idx="66">
                  <c:v>20292.0</c:v>
                </c:pt>
                <c:pt idx="67">
                  <c:v>21888.0</c:v>
                </c:pt>
                <c:pt idx="68">
                  <c:v>22841.0</c:v>
                </c:pt>
                <c:pt idx="69">
                  <c:v>24235.0</c:v>
                </c:pt>
                <c:pt idx="70">
                  <c:v>24224.0</c:v>
                </c:pt>
                <c:pt idx="71">
                  <c:v>25137.0</c:v>
                </c:pt>
                <c:pt idx="72">
                  <c:v>25767.0</c:v>
                </c:pt>
                <c:pt idx="73">
                  <c:v>27056.0</c:v>
                </c:pt>
                <c:pt idx="74">
                  <c:v>30803.0</c:v>
                </c:pt>
                <c:pt idx="75">
                  <c:v>33840.0</c:v>
                </c:pt>
                <c:pt idx="76">
                  <c:v>32920.0</c:v>
                </c:pt>
                <c:pt idx="77">
                  <c:v>32607.0</c:v>
                </c:pt>
                <c:pt idx="78">
                  <c:v>31865.0</c:v>
                </c:pt>
                <c:pt idx="79">
                  <c:v>3093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9</c:v>
                </c:pt>
                <c:pt idx="40">
                  <c:v>0.43</c:v>
                </c:pt>
                <c:pt idx="41">
                  <c:v>0.39</c:v>
                </c:pt>
                <c:pt idx="42">
                  <c:v>0.44</c:v>
                </c:pt>
                <c:pt idx="43">
                  <c:v>0.1</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5</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652.0</c:v>
                </c:pt>
                <c:pt idx="40">
                  <c:v>3354.0</c:v>
                </c:pt>
                <c:pt idx="41">
                  <c:v>2740.0</c:v>
                </c:pt>
                <c:pt idx="42">
                  <c:v>3224.0</c:v>
                </c:pt>
                <c:pt idx="43">
                  <c:v>78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38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201.0</c:v>
                </c:pt>
                <c:pt idx="1">
                  <c:v>3901.0</c:v>
                </c:pt>
                <c:pt idx="2">
                  <c:v>3143.0</c:v>
                </c:pt>
                <c:pt idx="3">
                  <c:v>3900.0</c:v>
                </c:pt>
                <c:pt idx="4">
                  <c:v>3402.0</c:v>
                </c:pt>
                <c:pt idx="5">
                  <c:v>3210.0</c:v>
                </c:pt>
                <c:pt idx="6">
                  <c:v>3609.0</c:v>
                </c:pt>
                <c:pt idx="7">
                  <c:v>3000.0</c:v>
                </c:pt>
                <c:pt idx="8">
                  <c:v>3354.0</c:v>
                </c:pt>
                <c:pt idx="9">
                  <c:v>3585.0</c:v>
                </c:pt>
                <c:pt idx="10">
                  <c:v>5760.0</c:v>
                </c:pt>
                <c:pt idx="11">
                  <c:v>2711.0</c:v>
                </c:pt>
                <c:pt idx="12">
                  <c:v>3541.0</c:v>
                </c:pt>
                <c:pt idx="13">
                  <c:v>4017.0</c:v>
                </c:pt>
                <c:pt idx="14">
                  <c:v>4099.0</c:v>
                </c:pt>
                <c:pt idx="15">
                  <c:v>5299.0</c:v>
                </c:pt>
                <c:pt idx="16">
                  <c:v>4138.0</c:v>
                </c:pt>
                <c:pt idx="17">
                  <c:v>3805.0</c:v>
                </c:pt>
                <c:pt idx="18">
                  <c:v>4713.0</c:v>
                </c:pt>
                <c:pt idx="19">
                  <c:v>7802.0</c:v>
                </c:pt>
                <c:pt idx="20">
                  <c:v>10065.0</c:v>
                </c:pt>
                <c:pt idx="21">
                  <c:v>14315.0</c:v>
                </c:pt>
                <c:pt idx="22">
                  <c:v>17522.0</c:v>
                </c:pt>
                <c:pt idx="23">
                  <c:v>9106.0</c:v>
                </c:pt>
                <c:pt idx="24">
                  <c:v>11376.0</c:v>
                </c:pt>
                <c:pt idx="25">
                  <c:v>6116.0</c:v>
                </c:pt>
                <c:pt idx="26">
                  <c:v>2888.0</c:v>
                </c:pt>
                <c:pt idx="27">
                  <c:v>3057.0</c:v>
                </c:pt>
                <c:pt idx="28">
                  <c:v>3463.0</c:v>
                </c:pt>
                <c:pt idx="29">
                  <c:v>2789.0</c:v>
                </c:pt>
                <c:pt idx="30">
                  <c:v>4374.0</c:v>
                </c:pt>
                <c:pt idx="31">
                  <c:v>3351.0</c:v>
                </c:pt>
                <c:pt idx="32">
                  <c:v>4316.0</c:v>
                </c:pt>
                <c:pt idx="33">
                  <c:v>4495.0</c:v>
                </c:pt>
                <c:pt idx="34">
                  <c:v>4082.0</c:v>
                </c:pt>
                <c:pt idx="35">
                  <c:v>6393.0</c:v>
                </c:pt>
                <c:pt idx="36">
                  <c:v>4200.0</c:v>
                </c:pt>
                <c:pt idx="37">
                  <c:v>4020.0</c:v>
                </c:pt>
                <c:pt idx="38">
                  <c:v>3282.0</c:v>
                </c:pt>
                <c:pt idx="39">
                  <c:v>2504.0</c:v>
                </c:pt>
                <c:pt idx="40">
                  <c:v>2545.0</c:v>
                </c:pt>
                <c:pt idx="41">
                  <c:v>2581.0</c:v>
                </c:pt>
                <c:pt idx="42">
                  <c:v>4190.0</c:v>
                </c:pt>
                <c:pt idx="43">
                  <c:v>3682.0</c:v>
                </c:pt>
                <c:pt idx="44">
                  <c:v>4331.0</c:v>
                </c:pt>
                <c:pt idx="45">
                  <c:v>3274.0</c:v>
                </c:pt>
                <c:pt idx="46">
                  <c:v>4333.0</c:v>
                </c:pt>
                <c:pt idx="47">
                  <c:v>9859.0</c:v>
                </c:pt>
                <c:pt idx="48">
                  <c:v>4978.0</c:v>
                </c:pt>
                <c:pt idx="49">
                  <c:v>6681.0</c:v>
                </c:pt>
                <c:pt idx="50">
                  <c:v>5985.0</c:v>
                </c:pt>
                <c:pt idx="51">
                  <c:v>4879.0</c:v>
                </c:pt>
                <c:pt idx="52">
                  <c:v>3493.0</c:v>
                </c:pt>
                <c:pt idx="53">
                  <c:v>4978.0</c:v>
                </c:pt>
                <c:pt idx="54">
                  <c:v>4262.0</c:v>
                </c:pt>
                <c:pt idx="55">
                  <c:v>3866.0</c:v>
                </c:pt>
                <c:pt idx="56">
                  <c:v>2975.0</c:v>
                </c:pt>
                <c:pt idx="57">
                  <c:v>4630.0</c:v>
                </c:pt>
                <c:pt idx="58">
                  <c:v>5141.0</c:v>
                </c:pt>
                <c:pt idx="59">
                  <c:v>3924.0</c:v>
                </c:pt>
                <c:pt idx="60">
                  <c:v>3349.0</c:v>
                </c:pt>
                <c:pt idx="61">
                  <c:v>3385.0</c:v>
                </c:pt>
                <c:pt idx="62">
                  <c:v>3498.0</c:v>
                </c:pt>
                <c:pt idx="63">
                  <c:v>2879.0</c:v>
                </c:pt>
                <c:pt idx="64">
                  <c:v>3924.0</c:v>
                </c:pt>
                <c:pt idx="65">
                  <c:v>4814.0</c:v>
                </c:pt>
                <c:pt idx="66">
                  <c:v>3572.0</c:v>
                </c:pt>
                <c:pt idx="67">
                  <c:v>6246.0</c:v>
                </c:pt>
                <c:pt idx="68">
                  <c:v>6032.0</c:v>
                </c:pt>
                <c:pt idx="69">
                  <c:v>3384.0</c:v>
                </c:pt>
                <c:pt idx="70">
                  <c:v>3949.0</c:v>
                </c:pt>
                <c:pt idx="71">
                  <c:v>4109.0</c:v>
                </c:pt>
                <c:pt idx="72">
                  <c:v>9301.0</c:v>
                </c:pt>
                <c:pt idx="73">
                  <c:v>9554.0</c:v>
                </c:pt>
                <c:pt idx="74">
                  <c:v>16983.0</c:v>
                </c:pt>
                <c:pt idx="75">
                  <c:v>12812.0</c:v>
                </c:pt>
                <c:pt idx="76">
                  <c:v>1927.0</c:v>
                </c:pt>
                <c:pt idx="77">
                  <c:v>3392.0</c:v>
                </c:pt>
                <c:pt idx="78">
                  <c:v>4722.0</c:v>
                </c:pt>
                <c:pt idx="79">
                  <c:v>267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201.0</c:v>
                </c:pt>
                <c:pt idx="1">
                  <c:v>3901.0</c:v>
                </c:pt>
                <c:pt idx="2">
                  <c:v>3143.0</c:v>
                </c:pt>
                <c:pt idx="3">
                  <c:v>3900.0</c:v>
                </c:pt>
                <c:pt idx="4">
                  <c:v>3402.0</c:v>
                </c:pt>
                <c:pt idx="5">
                  <c:v>3210.0</c:v>
                </c:pt>
                <c:pt idx="6">
                  <c:v>3609.0</c:v>
                </c:pt>
                <c:pt idx="7">
                  <c:v>3000.0</c:v>
                </c:pt>
                <c:pt idx="8">
                  <c:v>3354.0</c:v>
                </c:pt>
                <c:pt idx="9">
                  <c:v>3585.0</c:v>
                </c:pt>
                <c:pt idx="10">
                  <c:v>5760.0</c:v>
                </c:pt>
                <c:pt idx="11">
                  <c:v>2711.0</c:v>
                </c:pt>
                <c:pt idx="12">
                  <c:v>3541.0</c:v>
                </c:pt>
                <c:pt idx="13">
                  <c:v>4017.0</c:v>
                </c:pt>
                <c:pt idx="14">
                  <c:v>4099.0</c:v>
                </c:pt>
                <c:pt idx="15">
                  <c:v>5299.0</c:v>
                </c:pt>
                <c:pt idx="16">
                  <c:v>4138.0</c:v>
                </c:pt>
                <c:pt idx="17">
                  <c:v>3805.0</c:v>
                </c:pt>
                <c:pt idx="18">
                  <c:v>4713.0</c:v>
                </c:pt>
                <c:pt idx="19">
                  <c:v>7802.0</c:v>
                </c:pt>
                <c:pt idx="20">
                  <c:v>10065.0</c:v>
                </c:pt>
                <c:pt idx="21">
                  <c:v>14315.0</c:v>
                </c:pt>
                <c:pt idx="22">
                  <c:v>17522.0</c:v>
                </c:pt>
                <c:pt idx="23">
                  <c:v>9106.0</c:v>
                </c:pt>
                <c:pt idx="24">
                  <c:v>11376.0</c:v>
                </c:pt>
                <c:pt idx="25">
                  <c:v>6116.0</c:v>
                </c:pt>
                <c:pt idx="26">
                  <c:v>2888.0</c:v>
                </c:pt>
                <c:pt idx="27">
                  <c:v>3057.0</c:v>
                </c:pt>
                <c:pt idx="28">
                  <c:v>3463.0</c:v>
                </c:pt>
                <c:pt idx="29">
                  <c:v>2789.0</c:v>
                </c:pt>
                <c:pt idx="30">
                  <c:v>4374.0</c:v>
                </c:pt>
                <c:pt idx="31">
                  <c:v>3351.0</c:v>
                </c:pt>
                <c:pt idx="32">
                  <c:v>4316.0</c:v>
                </c:pt>
                <c:pt idx="33">
                  <c:v>4495.0</c:v>
                </c:pt>
                <c:pt idx="34">
                  <c:v>4082.0</c:v>
                </c:pt>
                <c:pt idx="35">
                  <c:v>6393.0</c:v>
                </c:pt>
                <c:pt idx="36">
                  <c:v>4200.0</c:v>
                </c:pt>
                <c:pt idx="37">
                  <c:v>4020.0</c:v>
                </c:pt>
                <c:pt idx="38">
                  <c:v>3282.0</c:v>
                </c:pt>
                <c:pt idx="39">
                  <c:v>5156.0</c:v>
                </c:pt>
                <c:pt idx="40">
                  <c:v>5899.0</c:v>
                </c:pt>
                <c:pt idx="41">
                  <c:v>5321.0</c:v>
                </c:pt>
                <c:pt idx="42">
                  <c:v>7414.0</c:v>
                </c:pt>
                <c:pt idx="43">
                  <c:v>4466.0</c:v>
                </c:pt>
                <c:pt idx="44">
                  <c:v>4331.0</c:v>
                </c:pt>
                <c:pt idx="45">
                  <c:v>3274.0</c:v>
                </c:pt>
                <c:pt idx="46">
                  <c:v>4333.0</c:v>
                </c:pt>
                <c:pt idx="47">
                  <c:v>9859.0</c:v>
                </c:pt>
                <c:pt idx="48">
                  <c:v>4978.0</c:v>
                </c:pt>
                <c:pt idx="49">
                  <c:v>6681.0</c:v>
                </c:pt>
                <c:pt idx="50">
                  <c:v>5985.0</c:v>
                </c:pt>
                <c:pt idx="51">
                  <c:v>4879.0</c:v>
                </c:pt>
                <c:pt idx="52">
                  <c:v>3493.0</c:v>
                </c:pt>
                <c:pt idx="53">
                  <c:v>4978.0</c:v>
                </c:pt>
                <c:pt idx="54">
                  <c:v>4262.0</c:v>
                </c:pt>
                <c:pt idx="55">
                  <c:v>3866.0</c:v>
                </c:pt>
                <c:pt idx="56">
                  <c:v>2975.0</c:v>
                </c:pt>
                <c:pt idx="57">
                  <c:v>4630.0</c:v>
                </c:pt>
                <c:pt idx="58">
                  <c:v>5141.0</c:v>
                </c:pt>
                <c:pt idx="59">
                  <c:v>3924.0</c:v>
                </c:pt>
                <c:pt idx="60">
                  <c:v>3349.0</c:v>
                </c:pt>
                <c:pt idx="61">
                  <c:v>3385.0</c:v>
                </c:pt>
                <c:pt idx="62">
                  <c:v>3498.0</c:v>
                </c:pt>
                <c:pt idx="63">
                  <c:v>2879.0</c:v>
                </c:pt>
                <c:pt idx="64">
                  <c:v>3924.0</c:v>
                </c:pt>
                <c:pt idx="65">
                  <c:v>4814.0</c:v>
                </c:pt>
                <c:pt idx="66">
                  <c:v>3572.0</c:v>
                </c:pt>
                <c:pt idx="67">
                  <c:v>6246.0</c:v>
                </c:pt>
                <c:pt idx="68">
                  <c:v>6032.0</c:v>
                </c:pt>
                <c:pt idx="69">
                  <c:v>3384.0</c:v>
                </c:pt>
                <c:pt idx="70">
                  <c:v>3949.0</c:v>
                </c:pt>
                <c:pt idx="71">
                  <c:v>8493.0</c:v>
                </c:pt>
                <c:pt idx="72">
                  <c:v>9301.0</c:v>
                </c:pt>
                <c:pt idx="73">
                  <c:v>9554.0</c:v>
                </c:pt>
                <c:pt idx="74">
                  <c:v>16983.0</c:v>
                </c:pt>
                <c:pt idx="75">
                  <c:v>12812.0</c:v>
                </c:pt>
                <c:pt idx="76">
                  <c:v>1927.0</c:v>
                </c:pt>
                <c:pt idx="77">
                  <c:v>3392.0</c:v>
                </c:pt>
                <c:pt idx="78">
                  <c:v>4722.0</c:v>
                </c:pt>
                <c:pt idx="79">
                  <c:v>267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165.0</c:v>
                </c:pt>
                <c:pt idx="1">
                  <c:v>4225.0</c:v>
                </c:pt>
                <c:pt idx="2">
                  <c:v>4060.0</c:v>
                </c:pt>
                <c:pt idx="3">
                  <c:v>4142.0</c:v>
                </c:pt>
                <c:pt idx="4">
                  <c:v>4022.0</c:v>
                </c:pt>
                <c:pt idx="5">
                  <c:v>4099.0</c:v>
                </c:pt>
                <c:pt idx="6">
                  <c:v>3857.0</c:v>
                </c:pt>
                <c:pt idx="7">
                  <c:v>3329.0</c:v>
                </c:pt>
                <c:pt idx="8">
                  <c:v>3367.0</c:v>
                </c:pt>
                <c:pt idx="9">
                  <c:v>3370.0</c:v>
                </c:pt>
                <c:pt idx="10">
                  <c:v>3782.0</c:v>
                </c:pt>
                <c:pt idx="11">
                  <c:v>3372.0</c:v>
                </c:pt>
                <c:pt idx="12">
                  <c:v>3459.0</c:v>
                </c:pt>
                <c:pt idx="13">
                  <c:v>3731.0</c:v>
                </c:pt>
                <c:pt idx="14">
                  <c:v>3849.0</c:v>
                </c:pt>
                <c:pt idx="15">
                  <c:v>4108.0</c:v>
                </c:pt>
                <c:pt idx="16">
                  <c:v>4226.0</c:v>
                </c:pt>
                <c:pt idx="17">
                  <c:v>3954.0</c:v>
                </c:pt>
                <c:pt idx="18">
                  <c:v>4005.0</c:v>
                </c:pt>
                <c:pt idx="19">
                  <c:v>4871.0</c:v>
                </c:pt>
                <c:pt idx="20">
                  <c:v>5448.0</c:v>
                </c:pt>
                <c:pt idx="21">
                  <c:v>6410.0</c:v>
                </c:pt>
                <c:pt idx="22">
                  <c:v>7419.0</c:v>
                </c:pt>
                <c:pt idx="23">
                  <c:v>7783.0</c:v>
                </c:pt>
                <c:pt idx="24">
                  <c:v>8647.0</c:v>
                </c:pt>
                <c:pt idx="25">
                  <c:v>7918.0</c:v>
                </c:pt>
                <c:pt idx="26">
                  <c:v>7822.0</c:v>
                </c:pt>
                <c:pt idx="27">
                  <c:v>7579.0</c:v>
                </c:pt>
                <c:pt idx="28">
                  <c:v>7916.0</c:v>
                </c:pt>
                <c:pt idx="29">
                  <c:v>7881.0</c:v>
                </c:pt>
                <c:pt idx="30">
                  <c:v>8017.0</c:v>
                </c:pt>
                <c:pt idx="31">
                  <c:v>7519.0</c:v>
                </c:pt>
                <c:pt idx="32">
                  <c:v>7234.0</c:v>
                </c:pt>
                <c:pt idx="33">
                  <c:v>6191.0</c:v>
                </c:pt>
                <c:pt idx="34">
                  <c:v>5164.0</c:v>
                </c:pt>
                <c:pt idx="35">
                  <c:v>4888.0</c:v>
                </c:pt>
                <c:pt idx="36">
                  <c:v>4554.0</c:v>
                </c:pt>
                <c:pt idx="37">
                  <c:v>4152.0</c:v>
                </c:pt>
                <c:pt idx="38">
                  <c:v>4515.0</c:v>
                </c:pt>
                <c:pt idx="39">
                  <c:v>4369.0</c:v>
                </c:pt>
                <c:pt idx="40">
                  <c:v>4554.0</c:v>
                </c:pt>
                <c:pt idx="41">
                  <c:v>4262.0</c:v>
                </c:pt>
                <c:pt idx="42">
                  <c:v>4393.0</c:v>
                </c:pt>
                <c:pt idx="43">
                  <c:v>4189.0</c:v>
                </c:pt>
                <c:pt idx="44">
                  <c:v>4271.0</c:v>
                </c:pt>
                <c:pt idx="45">
                  <c:v>3977.0</c:v>
                </c:pt>
                <c:pt idx="46">
                  <c:v>4206.0</c:v>
                </c:pt>
                <c:pt idx="47">
                  <c:v>4551.0</c:v>
                </c:pt>
                <c:pt idx="48">
                  <c:v>4354.0</c:v>
                </c:pt>
                <c:pt idx="49">
                  <c:v>4682.0</c:v>
                </c:pt>
                <c:pt idx="50">
                  <c:v>4998.0</c:v>
                </c:pt>
                <c:pt idx="51">
                  <c:v>5215.0</c:v>
                </c:pt>
                <c:pt idx="52">
                  <c:v>5142.0</c:v>
                </c:pt>
                <c:pt idx="53">
                  <c:v>5343.0</c:v>
                </c:pt>
                <c:pt idx="54">
                  <c:v>5206.0</c:v>
                </c:pt>
                <c:pt idx="55">
                  <c:v>5424.0</c:v>
                </c:pt>
                <c:pt idx="56">
                  <c:v>5003.0</c:v>
                </c:pt>
                <c:pt idx="57">
                  <c:v>5329.0</c:v>
                </c:pt>
                <c:pt idx="58">
                  <c:v>5157.0</c:v>
                </c:pt>
                <c:pt idx="59">
                  <c:v>4893.0</c:v>
                </c:pt>
                <c:pt idx="60">
                  <c:v>4620.0</c:v>
                </c:pt>
                <c:pt idx="61">
                  <c:v>4243.0</c:v>
                </c:pt>
                <c:pt idx="62">
                  <c:v>4273.0</c:v>
                </c:pt>
                <c:pt idx="63">
                  <c:v>3741.0</c:v>
                </c:pt>
                <c:pt idx="64">
                  <c:v>3986.0</c:v>
                </c:pt>
                <c:pt idx="65">
                  <c:v>4071.0</c:v>
                </c:pt>
                <c:pt idx="66">
                  <c:v>3702.0</c:v>
                </c:pt>
                <c:pt idx="67">
                  <c:v>4211.0</c:v>
                </c:pt>
                <c:pt idx="68">
                  <c:v>4473.0</c:v>
                </c:pt>
                <c:pt idx="69">
                  <c:v>4372.0</c:v>
                </c:pt>
                <c:pt idx="70">
                  <c:v>4409.0</c:v>
                </c:pt>
                <c:pt idx="71">
                  <c:v>4328.0</c:v>
                </c:pt>
                <c:pt idx="72">
                  <c:v>4603.0</c:v>
                </c:pt>
                <c:pt idx="73">
                  <c:v>5592.0</c:v>
                </c:pt>
                <c:pt idx="74">
                  <c:v>6815.0</c:v>
                </c:pt>
                <c:pt idx="75">
                  <c:v>7681.0</c:v>
                </c:pt>
                <c:pt idx="76">
                  <c:v>6546.0</c:v>
                </c:pt>
                <c:pt idx="77">
                  <c:v>6290.0</c:v>
                </c:pt>
                <c:pt idx="78">
                  <c:v>7198.0</c:v>
                </c:pt>
                <c:pt idx="79">
                  <c:v>645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5</c:v>
                </c:pt>
                <c:pt idx="40">
                  <c:v>0.48</c:v>
                </c:pt>
                <c:pt idx="41">
                  <c:v>0.43</c:v>
                </c:pt>
                <c:pt idx="42">
                  <c:v>0.34</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2</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652.0</c:v>
                </c:pt>
                <c:pt idx="40">
                  <c:v>3354.0</c:v>
                </c:pt>
                <c:pt idx="41">
                  <c:v>2740.0</c:v>
                </c:pt>
                <c:pt idx="42">
                  <c:v>3224.0</c:v>
                </c:pt>
                <c:pt idx="43">
                  <c:v>78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38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309.0</c:v>
                </c:pt>
                <c:pt idx="1">
                  <c:v>3901.0</c:v>
                </c:pt>
                <c:pt idx="2">
                  <c:v>3143.0</c:v>
                </c:pt>
                <c:pt idx="3">
                  <c:v>3900.0</c:v>
                </c:pt>
                <c:pt idx="4">
                  <c:v>3510.0</c:v>
                </c:pt>
                <c:pt idx="5">
                  <c:v>3210.0</c:v>
                </c:pt>
                <c:pt idx="6">
                  <c:v>3825.0</c:v>
                </c:pt>
                <c:pt idx="7">
                  <c:v>3000.0</c:v>
                </c:pt>
                <c:pt idx="8">
                  <c:v>3354.0</c:v>
                </c:pt>
                <c:pt idx="9">
                  <c:v>3585.0</c:v>
                </c:pt>
                <c:pt idx="10">
                  <c:v>5760.0</c:v>
                </c:pt>
                <c:pt idx="11">
                  <c:v>2711.0</c:v>
                </c:pt>
                <c:pt idx="12">
                  <c:v>3541.0</c:v>
                </c:pt>
                <c:pt idx="13">
                  <c:v>4125.0</c:v>
                </c:pt>
                <c:pt idx="14">
                  <c:v>4099.0</c:v>
                </c:pt>
                <c:pt idx="15">
                  <c:v>5299.0</c:v>
                </c:pt>
                <c:pt idx="16">
                  <c:v>4138.0</c:v>
                </c:pt>
                <c:pt idx="17">
                  <c:v>3805.0</c:v>
                </c:pt>
                <c:pt idx="18">
                  <c:v>4821.0</c:v>
                </c:pt>
                <c:pt idx="19">
                  <c:v>7802.0</c:v>
                </c:pt>
                <c:pt idx="20">
                  <c:v>10065.0</c:v>
                </c:pt>
                <c:pt idx="21">
                  <c:v>14423.0</c:v>
                </c:pt>
                <c:pt idx="22">
                  <c:v>17738.0</c:v>
                </c:pt>
                <c:pt idx="23">
                  <c:v>9106.0</c:v>
                </c:pt>
                <c:pt idx="24">
                  <c:v>11376.0</c:v>
                </c:pt>
                <c:pt idx="25">
                  <c:v>6116.0</c:v>
                </c:pt>
                <c:pt idx="26">
                  <c:v>2888.0</c:v>
                </c:pt>
                <c:pt idx="27">
                  <c:v>3057.0</c:v>
                </c:pt>
                <c:pt idx="28">
                  <c:v>3463.0</c:v>
                </c:pt>
                <c:pt idx="29">
                  <c:v>2789.0</c:v>
                </c:pt>
                <c:pt idx="30">
                  <c:v>4374.0</c:v>
                </c:pt>
                <c:pt idx="31">
                  <c:v>3351.0</c:v>
                </c:pt>
                <c:pt idx="32">
                  <c:v>4316.0</c:v>
                </c:pt>
                <c:pt idx="33">
                  <c:v>4603.0</c:v>
                </c:pt>
                <c:pt idx="34">
                  <c:v>4082.0</c:v>
                </c:pt>
                <c:pt idx="35">
                  <c:v>6393.0</c:v>
                </c:pt>
                <c:pt idx="36">
                  <c:v>4200.0</c:v>
                </c:pt>
                <c:pt idx="37">
                  <c:v>4128.0</c:v>
                </c:pt>
                <c:pt idx="38">
                  <c:v>3282.0</c:v>
                </c:pt>
                <c:pt idx="39">
                  <c:v>2504.0</c:v>
                </c:pt>
                <c:pt idx="40">
                  <c:v>2545.0</c:v>
                </c:pt>
                <c:pt idx="41">
                  <c:v>2581.0</c:v>
                </c:pt>
                <c:pt idx="42">
                  <c:v>4298.0</c:v>
                </c:pt>
                <c:pt idx="43">
                  <c:v>3682.0</c:v>
                </c:pt>
                <c:pt idx="44">
                  <c:v>4439.0</c:v>
                </c:pt>
                <c:pt idx="45">
                  <c:v>3274.0</c:v>
                </c:pt>
                <c:pt idx="46">
                  <c:v>4441.0</c:v>
                </c:pt>
                <c:pt idx="47">
                  <c:v>9967.0</c:v>
                </c:pt>
                <c:pt idx="48">
                  <c:v>5086.0</c:v>
                </c:pt>
                <c:pt idx="49">
                  <c:v>6789.0</c:v>
                </c:pt>
                <c:pt idx="50">
                  <c:v>5985.0</c:v>
                </c:pt>
                <c:pt idx="51">
                  <c:v>4879.0</c:v>
                </c:pt>
                <c:pt idx="52">
                  <c:v>3493.0</c:v>
                </c:pt>
                <c:pt idx="53">
                  <c:v>4978.0</c:v>
                </c:pt>
                <c:pt idx="54">
                  <c:v>4370.0</c:v>
                </c:pt>
                <c:pt idx="55">
                  <c:v>3866.0</c:v>
                </c:pt>
                <c:pt idx="56">
                  <c:v>2975.0</c:v>
                </c:pt>
                <c:pt idx="57">
                  <c:v>4630.0</c:v>
                </c:pt>
                <c:pt idx="58">
                  <c:v>5249.0</c:v>
                </c:pt>
                <c:pt idx="59">
                  <c:v>4032.0</c:v>
                </c:pt>
                <c:pt idx="60">
                  <c:v>3457.0</c:v>
                </c:pt>
                <c:pt idx="61">
                  <c:v>3385.0</c:v>
                </c:pt>
                <c:pt idx="62">
                  <c:v>3498.0</c:v>
                </c:pt>
                <c:pt idx="63">
                  <c:v>2987.0</c:v>
                </c:pt>
                <c:pt idx="64">
                  <c:v>4032.0</c:v>
                </c:pt>
                <c:pt idx="65">
                  <c:v>4922.0</c:v>
                </c:pt>
                <c:pt idx="66">
                  <c:v>3572.0</c:v>
                </c:pt>
                <c:pt idx="67">
                  <c:v>6246.0</c:v>
                </c:pt>
                <c:pt idx="68">
                  <c:v>6032.0</c:v>
                </c:pt>
                <c:pt idx="69">
                  <c:v>3384.0</c:v>
                </c:pt>
                <c:pt idx="70">
                  <c:v>3949.0</c:v>
                </c:pt>
                <c:pt idx="71">
                  <c:v>4217.0</c:v>
                </c:pt>
                <c:pt idx="72">
                  <c:v>9301.0</c:v>
                </c:pt>
                <c:pt idx="73">
                  <c:v>9554.0</c:v>
                </c:pt>
                <c:pt idx="74">
                  <c:v>17091.0</c:v>
                </c:pt>
                <c:pt idx="75">
                  <c:v>12812.0</c:v>
                </c:pt>
                <c:pt idx="76">
                  <c:v>2035.0</c:v>
                </c:pt>
                <c:pt idx="77">
                  <c:v>3392.0</c:v>
                </c:pt>
                <c:pt idx="78">
                  <c:v>4722.0</c:v>
                </c:pt>
                <c:pt idx="79">
                  <c:v>267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309.0</c:v>
                </c:pt>
                <c:pt idx="1">
                  <c:v>3901.0</c:v>
                </c:pt>
                <c:pt idx="2">
                  <c:v>3143.0</c:v>
                </c:pt>
                <c:pt idx="3">
                  <c:v>3900.0</c:v>
                </c:pt>
                <c:pt idx="4">
                  <c:v>3510.0</c:v>
                </c:pt>
                <c:pt idx="5">
                  <c:v>3210.0</c:v>
                </c:pt>
                <c:pt idx="6">
                  <c:v>3825.0</c:v>
                </c:pt>
                <c:pt idx="7">
                  <c:v>3000.0</c:v>
                </c:pt>
                <c:pt idx="8">
                  <c:v>3354.0</c:v>
                </c:pt>
                <c:pt idx="9">
                  <c:v>3585.0</c:v>
                </c:pt>
                <c:pt idx="10">
                  <c:v>5760.0</c:v>
                </c:pt>
                <c:pt idx="11">
                  <c:v>2711.0</c:v>
                </c:pt>
                <c:pt idx="12">
                  <c:v>3541.0</c:v>
                </c:pt>
                <c:pt idx="13">
                  <c:v>4125.0</c:v>
                </c:pt>
                <c:pt idx="14">
                  <c:v>4099.0</c:v>
                </c:pt>
                <c:pt idx="15">
                  <c:v>5299.0</c:v>
                </c:pt>
                <c:pt idx="16">
                  <c:v>4138.0</c:v>
                </c:pt>
                <c:pt idx="17">
                  <c:v>3805.0</c:v>
                </c:pt>
                <c:pt idx="18">
                  <c:v>4821.0</c:v>
                </c:pt>
                <c:pt idx="19">
                  <c:v>7802.0</c:v>
                </c:pt>
                <c:pt idx="20">
                  <c:v>10065.0</c:v>
                </c:pt>
                <c:pt idx="21">
                  <c:v>14423.0</c:v>
                </c:pt>
                <c:pt idx="22">
                  <c:v>17738.0</c:v>
                </c:pt>
                <c:pt idx="23">
                  <c:v>9106.0</c:v>
                </c:pt>
                <c:pt idx="24">
                  <c:v>11376.0</c:v>
                </c:pt>
                <c:pt idx="25">
                  <c:v>6116.0</c:v>
                </c:pt>
                <c:pt idx="26">
                  <c:v>2888.0</c:v>
                </c:pt>
                <c:pt idx="27">
                  <c:v>3057.0</c:v>
                </c:pt>
                <c:pt idx="28">
                  <c:v>3463.0</c:v>
                </c:pt>
                <c:pt idx="29">
                  <c:v>2789.0</c:v>
                </c:pt>
                <c:pt idx="30">
                  <c:v>4374.0</c:v>
                </c:pt>
                <c:pt idx="31">
                  <c:v>3351.0</c:v>
                </c:pt>
                <c:pt idx="32">
                  <c:v>4316.0</c:v>
                </c:pt>
                <c:pt idx="33">
                  <c:v>4603.0</c:v>
                </c:pt>
                <c:pt idx="34">
                  <c:v>4082.0</c:v>
                </c:pt>
                <c:pt idx="35">
                  <c:v>6393.0</c:v>
                </c:pt>
                <c:pt idx="36">
                  <c:v>4200.0</c:v>
                </c:pt>
                <c:pt idx="37">
                  <c:v>4128.0</c:v>
                </c:pt>
                <c:pt idx="38">
                  <c:v>3282.0</c:v>
                </c:pt>
                <c:pt idx="39">
                  <c:v>5156.0</c:v>
                </c:pt>
                <c:pt idx="40">
                  <c:v>5899.0</c:v>
                </c:pt>
                <c:pt idx="41">
                  <c:v>5321.0</c:v>
                </c:pt>
                <c:pt idx="42">
                  <c:v>7522.0</c:v>
                </c:pt>
                <c:pt idx="43">
                  <c:v>4466.0</c:v>
                </c:pt>
                <c:pt idx="44">
                  <c:v>4439.0</c:v>
                </c:pt>
                <c:pt idx="45">
                  <c:v>3274.0</c:v>
                </c:pt>
                <c:pt idx="46">
                  <c:v>4441.0</c:v>
                </c:pt>
                <c:pt idx="47">
                  <c:v>9967.0</c:v>
                </c:pt>
                <c:pt idx="48">
                  <c:v>5086.0</c:v>
                </c:pt>
                <c:pt idx="49">
                  <c:v>6789.0</c:v>
                </c:pt>
                <c:pt idx="50">
                  <c:v>5985.0</c:v>
                </c:pt>
                <c:pt idx="51">
                  <c:v>4879.0</c:v>
                </c:pt>
                <c:pt idx="52">
                  <c:v>3493.0</c:v>
                </c:pt>
                <c:pt idx="53">
                  <c:v>4978.0</c:v>
                </c:pt>
                <c:pt idx="54">
                  <c:v>4370.0</c:v>
                </c:pt>
                <c:pt idx="55">
                  <c:v>3866.0</c:v>
                </c:pt>
                <c:pt idx="56">
                  <c:v>2975.0</c:v>
                </c:pt>
                <c:pt idx="57">
                  <c:v>4630.0</c:v>
                </c:pt>
                <c:pt idx="58">
                  <c:v>5249.0</c:v>
                </c:pt>
                <c:pt idx="59">
                  <c:v>4032.0</c:v>
                </c:pt>
                <c:pt idx="60">
                  <c:v>3457.0</c:v>
                </c:pt>
                <c:pt idx="61">
                  <c:v>3385.0</c:v>
                </c:pt>
                <c:pt idx="62">
                  <c:v>3498.0</c:v>
                </c:pt>
                <c:pt idx="63">
                  <c:v>2987.0</c:v>
                </c:pt>
                <c:pt idx="64">
                  <c:v>4032.0</c:v>
                </c:pt>
                <c:pt idx="65">
                  <c:v>4922.0</c:v>
                </c:pt>
                <c:pt idx="66">
                  <c:v>3572.0</c:v>
                </c:pt>
                <c:pt idx="67">
                  <c:v>6246.0</c:v>
                </c:pt>
                <c:pt idx="68">
                  <c:v>6032.0</c:v>
                </c:pt>
                <c:pt idx="69">
                  <c:v>3384.0</c:v>
                </c:pt>
                <c:pt idx="70">
                  <c:v>3949.0</c:v>
                </c:pt>
                <c:pt idx="71">
                  <c:v>8601.0</c:v>
                </c:pt>
                <c:pt idx="72">
                  <c:v>9301.0</c:v>
                </c:pt>
                <c:pt idx="73">
                  <c:v>9554.0</c:v>
                </c:pt>
                <c:pt idx="74">
                  <c:v>17091.0</c:v>
                </c:pt>
                <c:pt idx="75">
                  <c:v>12812.0</c:v>
                </c:pt>
                <c:pt idx="76">
                  <c:v>2035.0</c:v>
                </c:pt>
                <c:pt idx="77">
                  <c:v>3392.0</c:v>
                </c:pt>
                <c:pt idx="78">
                  <c:v>4722.0</c:v>
                </c:pt>
                <c:pt idx="79">
                  <c:v>267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273.0</c:v>
                </c:pt>
                <c:pt idx="1">
                  <c:v>4225.0</c:v>
                </c:pt>
                <c:pt idx="2">
                  <c:v>4060.0</c:v>
                </c:pt>
                <c:pt idx="3">
                  <c:v>4142.0</c:v>
                </c:pt>
                <c:pt idx="4">
                  <c:v>4130.0</c:v>
                </c:pt>
                <c:pt idx="5">
                  <c:v>4099.0</c:v>
                </c:pt>
                <c:pt idx="6">
                  <c:v>3965.0</c:v>
                </c:pt>
                <c:pt idx="7">
                  <c:v>3329.0</c:v>
                </c:pt>
                <c:pt idx="8">
                  <c:v>3367.0</c:v>
                </c:pt>
                <c:pt idx="9">
                  <c:v>3370.0</c:v>
                </c:pt>
                <c:pt idx="10">
                  <c:v>3782.0</c:v>
                </c:pt>
                <c:pt idx="11">
                  <c:v>3372.0</c:v>
                </c:pt>
                <c:pt idx="12">
                  <c:v>3459.0</c:v>
                </c:pt>
                <c:pt idx="13">
                  <c:v>3839.0</c:v>
                </c:pt>
                <c:pt idx="14">
                  <c:v>3849.0</c:v>
                </c:pt>
                <c:pt idx="15">
                  <c:v>4108.0</c:v>
                </c:pt>
                <c:pt idx="16">
                  <c:v>4226.0</c:v>
                </c:pt>
                <c:pt idx="17">
                  <c:v>3954.0</c:v>
                </c:pt>
                <c:pt idx="18">
                  <c:v>4113.0</c:v>
                </c:pt>
                <c:pt idx="19">
                  <c:v>4871.0</c:v>
                </c:pt>
                <c:pt idx="20">
                  <c:v>5448.0</c:v>
                </c:pt>
                <c:pt idx="21">
                  <c:v>6518.0</c:v>
                </c:pt>
                <c:pt idx="22">
                  <c:v>7527.0</c:v>
                </c:pt>
                <c:pt idx="23">
                  <c:v>7783.0</c:v>
                </c:pt>
                <c:pt idx="24">
                  <c:v>8647.0</c:v>
                </c:pt>
                <c:pt idx="25">
                  <c:v>7918.0</c:v>
                </c:pt>
                <c:pt idx="26">
                  <c:v>7822.0</c:v>
                </c:pt>
                <c:pt idx="27">
                  <c:v>7579.0</c:v>
                </c:pt>
                <c:pt idx="28">
                  <c:v>7916.0</c:v>
                </c:pt>
                <c:pt idx="29">
                  <c:v>7881.0</c:v>
                </c:pt>
                <c:pt idx="30">
                  <c:v>8017.0</c:v>
                </c:pt>
                <c:pt idx="31">
                  <c:v>7519.0</c:v>
                </c:pt>
                <c:pt idx="32">
                  <c:v>7234.0</c:v>
                </c:pt>
                <c:pt idx="33">
                  <c:v>6299.0</c:v>
                </c:pt>
                <c:pt idx="34">
                  <c:v>5164.0</c:v>
                </c:pt>
                <c:pt idx="35">
                  <c:v>4888.0</c:v>
                </c:pt>
                <c:pt idx="36">
                  <c:v>4554.0</c:v>
                </c:pt>
                <c:pt idx="37">
                  <c:v>4260.0</c:v>
                </c:pt>
                <c:pt idx="38">
                  <c:v>4515.0</c:v>
                </c:pt>
                <c:pt idx="39">
                  <c:v>4369.0</c:v>
                </c:pt>
                <c:pt idx="40">
                  <c:v>4554.0</c:v>
                </c:pt>
                <c:pt idx="41">
                  <c:v>4262.0</c:v>
                </c:pt>
                <c:pt idx="42">
                  <c:v>4501.0</c:v>
                </c:pt>
                <c:pt idx="43">
                  <c:v>4189.0</c:v>
                </c:pt>
                <c:pt idx="44">
                  <c:v>4379.0</c:v>
                </c:pt>
                <c:pt idx="45">
                  <c:v>3977.0</c:v>
                </c:pt>
                <c:pt idx="46">
                  <c:v>4314.0</c:v>
                </c:pt>
                <c:pt idx="47">
                  <c:v>4659.0</c:v>
                </c:pt>
                <c:pt idx="48">
                  <c:v>4462.0</c:v>
                </c:pt>
                <c:pt idx="49">
                  <c:v>4790.0</c:v>
                </c:pt>
                <c:pt idx="50">
                  <c:v>4998.0</c:v>
                </c:pt>
                <c:pt idx="51">
                  <c:v>5215.0</c:v>
                </c:pt>
                <c:pt idx="52">
                  <c:v>5142.0</c:v>
                </c:pt>
                <c:pt idx="53">
                  <c:v>5343.0</c:v>
                </c:pt>
                <c:pt idx="54">
                  <c:v>5314.0</c:v>
                </c:pt>
                <c:pt idx="55">
                  <c:v>5424.0</c:v>
                </c:pt>
                <c:pt idx="56">
                  <c:v>5003.0</c:v>
                </c:pt>
                <c:pt idx="57">
                  <c:v>5329.0</c:v>
                </c:pt>
                <c:pt idx="58">
                  <c:v>5265.0</c:v>
                </c:pt>
                <c:pt idx="59">
                  <c:v>5001.0</c:v>
                </c:pt>
                <c:pt idx="60">
                  <c:v>4728.0</c:v>
                </c:pt>
                <c:pt idx="61">
                  <c:v>4243.0</c:v>
                </c:pt>
                <c:pt idx="62">
                  <c:v>4273.0</c:v>
                </c:pt>
                <c:pt idx="63">
                  <c:v>3849.0</c:v>
                </c:pt>
                <c:pt idx="64">
                  <c:v>4094.0</c:v>
                </c:pt>
                <c:pt idx="65">
                  <c:v>4179.0</c:v>
                </c:pt>
                <c:pt idx="66">
                  <c:v>3702.0</c:v>
                </c:pt>
                <c:pt idx="67">
                  <c:v>4211.0</c:v>
                </c:pt>
                <c:pt idx="68">
                  <c:v>4473.0</c:v>
                </c:pt>
                <c:pt idx="69">
                  <c:v>4372.0</c:v>
                </c:pt>
                <c:pt idx="70">
                  <c:v>4409.0</c:v>
                </c:pt>
                <c:pt idx="71">
                  <c:v>4436.0</c:v>
                </c:pt>
                <c:pt idx="72">
                  <c:v>4603.0</c:v>
                </c:pt>
                <c:pt idx="73">
                  <c:v>5592.0</c:v>
                </c:pt>
                <c:pt idx="74">
                  <c:v>6923.0</c:v>
                </c:pt>
                <c:pt idx="75">
                  <c:v>7681.0</c:v>
                </c:pt>
                <c:pt idx="76">
                  <c:v>6654.0</c:v>
                </c:pt>
                <c:pt idx="77">
                  <c:v>6290.0</c:v>
                </c:pt>
                <c:pt idx="78">
                  <c:v>7198.0</c:v>
                </c:pt>
                <c:pt idx="79">
                  <c:v>645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5</c:v>
                </c:pt>
                <c:pt idx="40">
                  <c:v>0.48</c:v>
                </c:pt>
                <c:pt idx="41">
                  <c:v>0.43</c:v>
                </c:pt>
                <c:pt idx="42">
                  <c:v>0.34</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1</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836.0</c:v>
                </c:pt>
                <c:pt idx="40">
                  <c:v>4288.0</c:v>
                </c:pt>
                <c:pt idx="41">
                  <c:v>3061.0</c:v>
                </c:pt>
                <c:pt idx="42">
                  <c:v>3054.0</c:v>
                </c:pt>
                <c:pt idx="43">
                  <c:v>86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536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920.0</c:v>
                </c:pt>
                <c:pt idx="1">
                  <c:v>3403.0</c:v>
                </c:pt>
                <c:pt idx="2">
                  <c:v>3578.0</c:v>
                </c:pt>
                <c:pt idx="3">
                  <c:v>4752.0</c:v>
                </c:pt>
                <c:pt idx="4">
                  <c:v>3356.0</c:v>
                </c:pt>
                <c:pt idx="5">
                  <c:v>3527.0</c:v>
                </c:pt>
                <c:pt idx="6">
                  <c:v>4128.0</c:v>
                </c:pt>
                <c:pt idx="7">
                  <c:v>3004.0</c:v>
                </c:pt>
                <c:pt idx="8">
                  <c:v>3832.0</c:v>
                </c:pt>
                <c:pt idx="9">
                  <c:v>5217.0</c:v>
                </c:pt>
                <c:pt idx="10">
                  <c:v>4821.0</c:v>
                </c:pt>
                <c:pt idx="11">
                  <c:v>3033.0</c:v>
                </c:pt>
                <c:pt idx="12">
                  <c:v>3328.0</c:v>
                </c:pt>
                <c:pt idx="13">
                  <c:v>5346.0</c:v>
                </c:pt>
                <c:pt idx="14">
                  <c:v>4461.0</c:v>
                </c:pt>
                <c:pt idx="15">
                  <c:v>5062.0</c:v>
                </c:pt>
                <c:pt idx="16">
                  <c:v>4281.0</c:v>
                </c:pt>
                <c:pt idx="17">
                  <c:v>5098.0</c:v>
                </c:pt>
                <c:pt idx="18">
                  <c:v>4718.0</c:v>
                </c:pt>
                <c:pt idx="19">
                  <c:v>7862.0</c:v>
                </c:pt>
                <c:pt idx="20">
                  <c:v>9160.0</c:v>
                </c:pt>
                <c:pt idx="21">
                  <c:v>12000.0</c:v>
                </c:pt>
                <c:pt idx="22">
                  <c:v>22121.0</c:v>
                </c:pt>
                <c:pt idx="23">
                  <c:v>15274.0</c:v>
                </c:pt>
                <c:pt idx="24">
                  <c:v>15306.0</c:v>
                </c:pt>
                <c:pt idx="25">
                  <c:v>2911.0</c:v>
                </c:pt>
                <c:pt idx="26">
                  <c:v>3629.0</c:v>
                </c:pt>
                <c:pt idx="27">
                  <c:v>3436.0</c:v>
                </c:pt>
                <c:pt idx="28">
                  <c:v>3383.0</c:v>
                </c:pt>
                <c:pt idx="29">
                  <c:v>4838.0</c:v>
                </c:pt>
                <c:pt idx="30">
                  <c:v>5883.0</c:v>
                </c:pt>
                <c:pt idx="31">
                  <c:v>3835.0</c:v>
                </c:pt>
                <c:pt idx="32">
                  <c:v>4586.0</c:v>
                </c:pt>
                <c:pt idx="33">
                  <c:v>5673.0</c:v>
                </c:pt>
                <c:pt idx="34">
                  <c:v>4441.0</c:v>
                </c:pt>
                <c:pt idx="35">
                  <c:v>4786.0</c:v>
                </c:pt>
                <c:pt idx="36">
                  <c:v>4817.0</c:v>
                </c:pt>
                <c:pt idx="37">
                  <c:v>3882.0</c:v>
                </c:pt>
                <c:pt idx="38">
                  <c:v>3691.0</c:v>
                </c:pt>
                <c:pt idx="39">
                  <c:v>3014.0</c:v>
                </c:pt>
                <c:pt idx="40">
                  <c:v>2513.0</c:v>
                </c:pt>
                <c:pt idx="41">
                  <c:v>2580.0</c:v>
                </c:pt>
                <c:pt idx="42">
                  <c:v>2996.0</c:v>
                </c:pt>
                <c:pt idx="43">
                  <c:v>4170.0</c:v>
                </c:pt>
                <c:pt idx="44">
                  <c:v>3670.0</c:v>
                </c:pt>
                <c:pt idx="45">
                  <c:v>4672.0</c:v>
                </c:pt>
                <c:pt idx="46">
                  <c:v>4191.0</c:v>
                </c:pt>
                <c:pt idx="47">
                  <c:v>6818.0</c:v>
                </c:pt>
                <c:pt idx="48">
                  <c:v>6036.0</c:v>
                </c:pt>
                <c:pt idx="49">
                  <c:v>5493.0</c:v>
                </c:pt>
                <c:pt idx="50">
                  <c:v>5262.0</c:v>
                </c:pt>
                <c:pt idx="51">
                  <c:v>5060.0</c:v>
                </c:pt>
                <c:pt idx="52">
                  <c:v>3961.0</c:v>
                </c:pt>
                <c:pt idx="53">
                  <c:v>3954.0</c:v>
                </c:pt>
                <c:pt idx="54">
                  <c:v>2820.0</c:v>
                </c:pt>
                <c:pt idx="55">
                  <c:v>3249.0</c:v>
                </c:pt>
                <c:pt idx="56">
                  <c:v>3431.0</c:v>
                </c:pt>
                <c:pt idx="57">
                  <c:v>4488.0</c:v>
                </c:pt>
                <c:pt idx="58">
                  <c:v>4774.0</c:v>
                </c:pt>
                <c:pt idx="59">
                  <c:v>3958.0</c:v>
                </c:pt>
                <c:pt idx="60">
                  <c:v>3404.0</c:v>
                </c:pt>
                <c:pt idx="61">
                  <c:v>4643.0</c:v>
                </c:pt>
                <c:pt idx="62">
                  <c:v>4908.0</c:v>
                </c:pt>
                <c:pt idx="63">
                  <c:v>3343.0</c:v>
                </c:pt>
                <c:pt idx="64">
                  <c:v>5910.0</c:v>
                </c:pt>
                <c:pt idx="65">
                  <c:v>6153.0</c:v>
                </c:pt>
                <c:pt idx="66">
                  <c:v>5985.0</c:v>
                </c:pt>
                <c:pt idx="67">
                  <c:v>4969.0</c:v>
                </c:pt>
                <c:pt idx="68">
                  <c:v>6525.0</c:v>
                </c:pt>
                <c:pt idx="69">
                  <c:v>4887.0</c:v>
                </c:pt>
                <c:pt idx="70">
                  <c:v>5445.0</c:v>
                </c:pt>
                <c:pt idx="71">
                  <c:v>5210.0</c:v>
                </c:pt>
                <c:pt idx="72">
                  <c:v>7940.0</c:v>
                </c:pt>
                <c:pt idx="73">
                  <c:v>12154.0</c:v>
                </c:pt>
                <c:pt idx="74">
                  <c:v>19454.0</c:v>
                </c:pt>
                <c:pt idx="75">
                  <c:v>15490.0</c:v>
                </c:pt>
                <c:pt idx="76">
                  <c:v>3715.0</c:v>
                </c:pt>
                <c:pt idx="77">
                  <c:v>4771.0</c:v>
                </c:pt>
                <c:pt idx="78">
                  <c:v>6063.0</c:v>
                </c:pt>
                <c:pt idx="79">
                  <c:v>562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920.0</c:v>
                </c:pt>
                <c:pt idx="1">
                  <c:v>3403.0</c:v>
                </c:pt>
                <c:pt idx="2">
                  <c:v>3578.0</c:v>
                </c:pt>
                <c:pt idx="3">
                  <c:v>4752.0</c:v>
                </c:pt>
                <c:pt idx="4">
                  <c:v>3356.0</c:v>
                </c:pt>
                <c:pt idx="5">
                  <c:v>3527.0</c:v>
                </c:pt>
                <c:pt idx="6">
                  <c:v>4128.0</c:v>
                </c:pt>
                <c:pt idx="7">
                  <c:v>3004.0</c:v>
                </c:pt>
                <c:pt idx="8">
                  <c:v>3832.0</c:v>
                </c:pt>
                <c:pt idx="9">
                  <c:v>5217.0</c:v>
                </c:pt>
                <c:pt idx="10">
                  <c:v>4821.0</c:v>
                </c:pt>
                <c:pt idx="11">
                  <c:v>3033.0</c:v>
                </c:pt>
                <c:pt idx="12">
                  <c:v>3328.0</c:v>
                </c:pt>
                <c:pt idx="13">
                  <c:v>5346.0</c:v>
                </c:pt>
                <c:pt idx="14">
                  <c:v>4461.0</c:v>
                </c:pt>
                <c:pt idx="15">
                  <c:v>5062.0</c:v>
                </c:pt>
                <c:pt idx="16">
                  <c:v>4281.0</c:v>
                </c:pt>
                <c:pt idx="17">
                  <c:v>5098.0</c:v>
                </c:pt>
                <c:pt idx="18">
                  <c:v>4718.0</c:v>
                </c:pt>
                <c:pt idx="19">
                  <c:v>7862.0</c:v>
                </c:pt>
                <c:pt idx="20">
                  <c:v>9160.0</c:v>
                </c:pt>
                <c:pt idx="21">
                  <c:v>12000.0</c:v>
                </c:pt>
                <c:pt idx="22">
                  <c:v>22121.0</c:v>
                </c:pt>
                <c:pt idx="23">
                  <c:v>15274.0</c:v>
                </c:pt>
                <c:pt idx="24">
                  <c:v>15306.0</c:v>
                </c:pt>
                <c:pt idx="25">
                  <c:v>2911.0</c:v>
                </c:pt>
                <c:pt idx="26">
                  <c:v>3629.0</c:v>
                </c:pt>
                <c:pt idx="27">
                  <c:v>3436.0</c:v>
                </c:pt>
                <c:pt idx="28">
                  <c:v>3383.0</c:v>
                </c:pt>
                <c:pt idx="29">
                  <c:v>4838.0</c:v>
                </c:pt>
                <c:pt idx="30">
                  <c:v>5883.0</c:v>
                </c:pt>
                <c:pt idx="31">
                  <c:v>3835.0</c:v>
                </c:pt>
                <c:pt idx="32">
                  <c:v>4586.0</c:v>
                </c:pt>
                <c:pt idx="33">
                  <c:v>5673.0</c:v>
                </c:pt>
                <c:pt idx="34">
                  <c:v>4441.0</c:v>
                </c:pt>
                <c:pt idx="35">
                  <c:v>4786.0</c:v>
                </c:pt>
                <c:pt idx="36">
                  <c:v>4817.0</c:v>
                </c:pt>
                <c:pt idx="37">
                  <c:v>3882.0</c:v>
                </c:pt>
                <c:pt idx="38">
                  <c:v>3691.0</c:v>
                </c:pt>
                <c:pt idx="39">
                  <c:v>5850.0</c:v>
                </c:pt>
                <c:pt idx="40">
                  <c:v>6801.0</c:v>
                </c:pt>
                <c:pt idx="41">
                  <c:v>5641.0</c:v>
                </c:pt>
                <c:pt idx="42">
                  <c:v>6050.0</c:v>
                </c:pt>
                <c:pt idx="43">
                  <c:v>5038.0</c:v>
                </c:pt>
                <c:pt idx="44">
                  <c:v>3670.0</c:v>
                </c:pt>
                <c:pt idx="45">
                  <c:v>4672.0</c:v>
                </c:pt>
                <c:pt idx="46">
                  <c:v>4191.0</c:v>
                </c:pt>
                <c:pt idx="47">
                  <c:v>6818.0</c:v>
                </c:pt>
                <c:pt idx="48">
                  <c:v>6036.0</c:v>
                </c:pt>
                <c:pt idx="49">
                  <c:v>5493.0</c:v>
                </c:pt>
                <c:pt idx="50">
                  <c:v>5262.0</c:v>
                </c:pt>
                <c:pt idx="51">
                  <c:v>5060.0</c:v>
                </c:pt>
                <c:pt idx="52">
                  <c:v>3961.0</c:v>
                </c:pt>
                <c:pt idx="53">
                  <c:v>3954.0</c:v>
                </c:pt>
                <c:pt idx="54">
                  <c:v>2820.0</c:v>
                </c:pt>
                <c:pt idx="55">
                  <c:v>3249.0</c:v>
                </c:pt>
                <c:pt idx="56">
                  <c:v>3431.0</c:v>
                </c:pt>
                <c:pt idx="57">
                  <c:v>4488.0</c:v>
                </c:pt>
                <c:pt idx="58">
                  <c:v>4774.0</c:v>
                </c:pt>
                <c:pt idx="59">
                  <c:v>3958.0</c:v>
                </c:pt>
                <c:pt idx="60">
                  <c:v>3404.0</c:v>
                </c:pt>
                <c:pt idx="61">
                  <c:v>4643.0</c:v>
                </c:pt>
                <c:pt idx="62">
                  <c:v>4908.0</c:v>
                </c:pt>
                <c:pt idx="63">
                  <c:v>3343.0</c:v>
                </c:pt>
                <c:pt idx="64">
                  <c:v>5910.0</c:v>
                </c:pt>
                <c:pt idx="65">
                  <c:v>6153.0</c:v>
                </c:pt>
                <c:pt idx="66">
                  <c:v>5985.0</c:v>
                </c:pt>
                <c:pt idx="67">
                  <c:v>4969.0</c:v>
                </c:pt>
                <c:pt idx="68">
                  <c:v>6525.0</c:v>
                </c:pt>
                <c:pt idx="69">
                  <c:v>4887.0</c:v>
                </c:pt>
                <c:pt idx="70">
                  <c:v>5445.0</c:v>
                </c:pt>
                <c:pt idx="71">
                  <c:v>10574.0</c:v>
                </c:pt>
                <c:pt idx="72">
                  <c:v>7940.0</c:v>
                </c:pt>
                <c:pt idx="73">
                  <c:v>12154.0</c:v>
                </c:pt>
                <c:pt idx="74">
                  <c:v>19454.0</c:v>
                </c:pt>
                <c:pt idx="75">
                  <c:v>15490.0</c:v>
                </c:pt>
                <c:pt idx="76">
                  <c:v>3715.0</c:v>
                </c:pt>
                <c:pt idx="77">
                  <c:v>4771.0</c:v>
                </c:pt>
                <c:pt idx="78">
                  <c:v>6063.0</c:v>
                </c:pt>
                <c:pt idx="79">
                  <c:v>562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600.0</c:v>
                </c:pt>
                <c:pt idx="1">
                  <c:v>4418.0</c:v>
                </c:pt>
                <c:pt idx="2">
                  <c:v>4249.0</c:v>
                </c:pt>
                <c:pt idx="3">
                  <c:v>4774.0</c:v>
                </c:pt>
                <c:pt idx="4">
                  <c:v>4401.0</c:v>
                </c:pt>
                <c:pt idx="5">
                  <c:v>4023.0</c:v>
                </c:pt>
                <c:pt idx="6">
                  <c:v>4375.0</c:v>
                </c:pt>
                <c:pt idx="7">
                  <c:v>3691.0</c:v>
                </c:pt>
                <c:pt idx="8">
                  <c:v>3585.0</c:v>
                </c:pt>
                <c:pt idx="9">
                  <c:v>3915.0</c:v>
                </c:pt>
                <c:pt idx="10">
                  <c:v>3819.0</c:v>
                </c:pt>
                <c:pt idx="11">
                  <c:v>3653.0</c:v>
                </c:pt>
                <c:pt idx="12">
                  <c:v>3757.0</c:v>
                </c:pt>
                <c:pt idx="13">
                  <c:v>4212.0</c:v>
                </c:pt>
                <c:pt idx="14">
                  <c:v>3899.0</c:v>
                </c:pt>
                <c:pt idx="15">
                  <c:v>4439.0</c:v>
                </c:pt>
                <c:pt idx="16">
                  <c:v>4399.0</c:v>
                </c:pt>
                <c:pt idx="17">
                  <c:v>4473.0</c:v>
                </c:pt>
                <c:pt idx="18">
                  <c:v>4716.0</c:v>
                </c:pt>
                <c:pt idx="19">
                  <c:v>5019.0</c:v>
                </c:pt>
                <c:pt idx="20">
                  <c:v>5787.0</c:v>
                </c:pt>
                <c:pt idx="21">
                  <c:v>6119.0</c:v>
                </c:pt>
                <c:pt idx="22">
                  <c:v>7771.0</c:v>
                </c:pt>
                <c:pt idx="23">
                  <c:v>8944.0</c:v>
                </c:pt>
                <c:pt idx="24">
                  <c:v>10187.0</c:v>
                </c:pt>
                <c:pt idx="25">
                  <c:v>9159.0</c:v>
                </c:pt>
                <c:pt idx="26">
                  <c:v>9008.0</c:v>
                </c:pt>
                <c:pt idx="27">
                  <c:v>8571.0</c:v>
                </c:pt>
                <c:pt idx="28">
                  <c:v>8112.0</c:v>
                </c:pt>
                <c:pt idx="29">
                  <c:v>8508.0</c:v>
                </c:pt>
                <c:pt idx="30">
                  <c:v>8633.0</c:v>
                </c:pt>
                <c:pt idx="31">
                  <c:v>8169.0</c:v>
                </c:pt>
                <c:pt idx="32">
                  <c:v>7958.0</c:v>
                </c:pt>
                <c:pt idx="33">
                  <c:v>7406.0</c:v>
                </c:pt>
                <c:pt idx="34">
                  <c:v>6119.0</c:v>
                </c:pt>
                <c:pt idx="35">
                  <c:v>5699.0</c:v>
                </c:pt>
                <c:pt idx="36">
                  <c:v>4667.0</c:v>
                </c:pt>
                <c:pt idx="37">
                  <c:v>5099.0</c:v>
                </c:pt>
                <c:pt idx="38">
                  <c:v>4545.0</c:v>
                </c:pt>
                <c:pt idx="39">
                  <c:v>5033.0</c:v>
                </c:pt>
                <c:pt idx="40">
                  <c:v>5034.0</c:v>
                </c:pt>
                <c:pt idx="41">
                  <c:v>4848.0</c:v>
                </c:pt>
                <c:pt idx="42">
                  <c:v>4499.0</c:v>
                </c:pt>
                <c:pt idx="43">
                  <c:v>4609.0</c:v>
                </c:pt>
                <c:pt idx="44">
                  <c:v>4423.0</c:v>
                </c:pt>
                <c:pt idx="45">
                  <c:v>4375.0</c:v>
                </c:pt>
                <c:pt idx="46">
                  <c:v>4337.0</c:v>
                </c:pt>
                <c:pt idx="47">
                  <c:v>4485.0</c:v>
                </c:pt>
                <c:pt idx="48">
                  <c:v>4560.0</c:v>
                </c:pt>
                <c:pt idx="49">
                  <c:v>4682.0</c:v>
                </c:pt>
                <c:pt idx="50">
                  <c:v>4960.0</c:v>
                </c:pt>
                <c:pt idx="51">
                  <c:v>4941.0</c:v>
                </c:pt>
                <c:pt idx="52">
                  <c:v>4735.0</c:v>
                </c:pt>
                <c:pt idx="53">
                  <c:v>4792.0</c:v>
                </c:pt>
                <c:pt idx="54">
                  <c:v>4946.0</c:v>
                </c:pt>
                <c:pt idx="55">
                  <c:v>5024.0</c:v>
                </c:pt>
                <c:pt idx="56">
                  <c:v>4754.0</c:v>
                </c:pt>
                <c:pt idx="57">
                  <c:v>4931.0</c:v>
                </c:pt>
                <c:pt idx="58">
                  <c:v>4604.0</c:v>
                </c:pt>
                <c:pt idx="59">
                  <c:v>4349.0</c:v>
                </c:pt>
                <c:pt idx="60">
                  <c:v>4059.0</c:v>
                </c:pt>
                <c:pt idx="61">
                  <c:v>4345.0</c:v>
                </c:pt>
                <c:pt idx="62">
                  <c:v>4390.0</c:v>
                </c:pt>
                <c:pt idx="63">
                  <c:v>3775.0</c:v>
                </c:pt>
                <c:pt idx="64">
                  <c:v>4236.0</c:v>
                </c:pt>
                <c:pt idx="65">
                  <c:v>4378.0</c:v>
                </c:pt>
                <c:pt idx="66">
                  <c:v>4866.0</c:v>
                </c:pt>
                <c:pt idx="67">
                  <c:v>4785.0</c:v>
                </c:pt>
                <c:pt idx="68">
                  <c:v>5002.0</c:v>
                </c:pt>
                <c:pt idx="69">
                  <c:v>5462.0</c:v>
                </c:pt>
                <c:pt idx="70">
                  <c:v>5093.0</c:v>
                </c:pt>
                <c:pt idx="71">
                  <c:v>5690.0</c:v>
                </c:pt>
                <c:pt idx="72">
                  <c:v>5768.0</c:v>
                </c:pt>
                <c:pt idx="73">
                  <c:v>6665.0</c:v>
                </c:pt>
                <c:pt idx="74">
                  <c:v>8032.0</c:v>
                </c:pt>
                <c:pt idx="75">
                  <c:v>8846.0</c:v>
                </c:pt>
                <c:pt idx="76">
                  <c:v>7891.0</c:v>
                </c:pt>
                <c:pt idx="77">
                  <c:v>8124.0</c:v>
                </c:pt>
                <c:pt idx="78">
                  <c:v>8164.0</c:v>
                </c:pt>
                <c:pt idx="79">
                  <c:v>757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1</c:v>
                </c:pt>
                <c:pt idx="40">
                  <c:v>0.55</c:v>
                </c:pt>
                <c:pt idx="41">
                  <c:v>0.45</c:v>
                </c:pt>
                <c:pt idx="42">
                  <c:v>0.41</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Laurent Perrier</c:v>
                </c:pt>
                <c:pt idx="3">
                  <c:v>Malard</c:v>
                </c:pt>
                <c:pt idx="4">
                  <c:v>Nicolas</c:v>
                </c:pt>
              </c:strCache>
            </c:strRef>
          </c:cat>
          <c:val>
            <c:numRef>
              <c:f>Sheet1!$B$2:$B$6</c:f>
              <c:numCache>
                <c:formatCode>General</c:formatCode>
                <c:ptCount val="5"/>
                <c:pt idx="0">
                  <c:v>-0.12292706591785219</c:v>
                </c:pt>
                <c:pt idx="1">
                  <c:v>-0.10666322714777476</c:v>
                </c:pt>
                <c:pt idx="2">
                  <c:v>-0.2341786234317509</c:v>
                </c:pt>
                <c:pt idx="3">
                  <c:v>-0.2857877866669978</c:v>
                </c:pt>
                <c:pt idx="4">
                  <c:v>0.1153637094992354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526.0</c:v>
                </c:pt>
                <c:pt idx="40">
                  <c:v>1686.0</c:v>
                </c:pt>
                <c:pt idx="41">
                  <c:v>2328.0</c:v>
                </c:pt>
                <c:pt idx="42">
                  <c:v>2004.0</c:v>
                </c:pt>
                <c:pt idx="43">
                  <c:v>20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722.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082.0</c:v>
                </c:pt>
                <c:pt idx="1">
                  <c:v>5029.0</c:v>
                </c:pt>
                <c:pt idx="2">
                  <c:v>5176.0</c:v>
                </c:pt>
                <c:pt idx="3">
                  <c:v>5214.0</c:v>
                </c:pt>
                <c:pt idx="4">
                  <c:v>4714.0</c:v>
                </c:pt>
                <c:pt idx="5">
                  <c:v>4607.0</c:v>
                </c:pt>
                <c:pt idx="6">
                  <c:v>3864.0</c:v>
                </c:pt>
                <c:pt idx="7">
                  <c:v>3526.0</c:v>
                </c:pt>
                <c:pt idx="8">
                  <c:v>4386.0</c:v>
                </c:pt>
                <c:pt idx="9">
                  <c:v>3264.0</c:v>
                </c:pt>
                <c:pt idx="10">
                  <c:v>3118.0</c:v>
                </c:pt>
                <c:pt idx="11">
                  <c:v>2929.0</c:v>
                </c:pt>
                <c:pt idx="12">
                  <c:v>4143.0</c:v>
                </c:pt>
                <c:pt idx="13">
                  <c:v>2686.0</c:v>
                </c:pt>
                <c:pt idx="14">
                  <c:v>3758.0</c:v>
                </c:pt>
                <c:pt idx="15">
                  <c:v>4072.0</c:v>
                </c:pt>
                <c:pt idx="16">
                  <c:v>3068.0</c:v>
                </c:pt>
                <c:pt idx="17">
                  <c:v>3605.0</c:v>
                </c:pt>
                <c:pt idx="18">
                  <c:v>3920.0</c:v>
                </c:pt>
                <c:pt idx="19">
                  <c:v>8151.0</c:v>
                </c:pt>
                <c:pt idx="20">
                  <c:v>6860.0</c:v>
                </c:pt>
                <c:pt idx="21">
                  <c:v>7622.0</c:v>
                </c:pt>
                <c:pt idx="22">
                  <c:v>15465.0</c:v>
                </c:pt>
                <c:pt idx="23">
                  <c:v>11233.0</c:v>
                </c:pt>
                <c:pt idx="24">
                  <c:v>9644.0</c:v>
                </c:pt>
                <c:pt idx="25">
                  <c:v>4060.0</c:v>
                </c:pt>
                <c:pt idx="26">
                  <c:v>1860.0</c:v>
                </c:pt>
                <c:pt idx="27">
                  <c:v>3017.0</c:v>
                </c:pt>
                <c:pt idx="28">
                  <c:v>2857.0</c:v>
                </c:pt>
                <c:pt idx="29">
                  <c:v>3319.0</c:v>
                </c:pt>
                <c:pt idx="30">
                  <c:v>3763.0</c:v>
                </c:pt>
                <c:pt idx="31">
                  <c:v>2706.0</c:v>
                </c:pt>
                <c:pt idx="32">
                  <c:v>2425.0</c:v>
                </c:pt>
                <c:pt idx="33">
                  <c:v>3535.0</c:v>
                </c:pt>
                <c:pt idx="34">
                  <c:v>2938.0</c:v>
                </c:pt>
                <c:pt idx="35">
                  <c:v>2620.0</c:v>
                </c:pt>
                <c:pt idx="36">
                  <c:v>3663.0</c:v>
                </c:pt>
                <c:pt idx="37">
                  <c:v>2747.0</c:v>
                </c:pt>
                <c:pt idx="38">
                  <c:v>2918.0</c:v>
                </c:pt>
                <c:pt idx="39">
                  <c:v>2048.0</c:v>
                </c:pt>
                <c:pt idx="40">
                  <c:v>1886.0</c:v>
                </c:pt>
                <c:pt idx="41">
                  <c:v>3963.0</c:v>
                </c:pt>
                <c:pt idx="42">
                  <c:v>2567.0</c:v>
                </c:pt>
                <c:pt idx="43">
                  <c:v>2836.0</c:v>
                </c:pt>
                <c:pt idx="44">
                  <c:v>2918.0</c:v>
                </c:pt>
                <c:pt idx="45">
                  <c:v>3250.0</c:v>
                </c:pt>
                <c:pt idx="46">
                  <c:v>3072.0</c:v>
                </c:pt>
                <c:pt idx="47">
                  <c:v>5971.0</c:v>
                </c:pt>
                <c:pt idx="48">
                  <c:v>3607.0</c:v>
                </c:pt>
                <c:pt idx="49">
                  <c:v>4981.0</c:v>
                </c:pt>
                <c:pt idx="50">
                  <c:v>6520.0</c:v>
                </c:pt>
                <c:pt idx="51">
                  <c:v>4101.0</c:v>
                </c:pt>
                <c:pt idx="52">
                  <c:v>4482.0</c:v>
                </c:pt>
                <c:pt idx="53">
                  <c:v>4066.0</c:v>
                </c:pt>
                <c:pt idx="54">
                  <c:v>4438.0</c:v>
                </c:pt>
                <c:pt idx="55">
                  <c:v>4509.0</c:v>
                </c:pt>
                <c:pt idx="56">
                  <c:v>5974.0</c:v>
                </c:pt>
                <c:pt idx="57">
                  <c:v>4318.0</c:v>
                </c:pt>
                <c:pt idx="58">
                  <c:v>4906.0</c:v>
                </c:pt>
                <c:pt idx="59">
                  <c:v>3582.0</c:v>
                </c:pt>
                <c:pt idx="60">
                  <c:v>3695.0</c:v>
                </c:pt>
                <c:pt idx="61">
                  <c:v>3719.0</c:v>
                </c:pt>
                <c:pt idx="62">
                  <c:v>3066.0</c:v>
                </c:pt>
                <c:pt idx="63">
                  <c:v>2771.0</c:v>
                </c:pt>
                <c:pt idx="64">
                  <c:v>3785.0</c:v>
                </c:pt>
                <c:pt idx="65">
                  <c:v>6902.0</c:v>
                </c:pt>
                <c:pt idx="66">
                  <c:v>4079.0</c:v>
                </c:pt>
                <c:pt idx="67">
                  <c:v>5119.0</c:v>
                </c:pt>
                <c:pt idx="68">
                  <c:v>4830.0</c:v>
                </c:pt>
                <c:pt idx="69">
                  <c:v>4069.0</c:v>
                </c:pt>
                <c:pt idx="70">
                  <c:v>3141.0</c:v>
                </c:pt>
                <c:pt idx="71">
                  <c:v>3393.0</c:v>
                </c:pt>
                <c:pt idx="72">
                  <c:v>6101.0</c:v>
                </c:pt>
                <c:pt idx="73">
                  <c:v>5879.0</c:v>
                </c:pt>
                <c:pt idx="74">
                  <c:v>9792.0</c:v>
                </c:pt>
                <c:pt idx="75">
                  <c:v>11414.0</c:v>
                </c:pt>
                <c:pt idx="76">
                  <c:v>2196.0</c:v>
                </c:pt>
                <c:pt idx="77">
                  <c:v>3970.0</c:v>
                </c:pt>
                <c:pt idx="78">
                  <c:v>2296.0</c:v>
                </c:pt>
                <c:pt idx="79">
                  <c:v>2720.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082.0</c:v>
                </c:pt>
                <c:pt idx="1">
                  <c:v>5029.0</c:v>
                </c:pt>
                <c:pt idx="2">
                  <c:v>5176.0</c:v>
                </c:pt>
                <c:pt idx="3">
                  <c:v>5214.0</c:v>
                </c:pt>
                <c:pt idx="4">
                  <c:v>4714.0</c:v>
                </c:pt>
                <c:pt idx="5">
                  <c:v>4607.0</c:v>
                </c:pt>
                <c:pt idx="6">
                  <c:v>3864.0</c:v>
                </c:pt>
                <c:pt idx="7">
                  <c:v>3526.0</c:v>
                </c:pt>
                <c:pt idx="8">
                  <c:v>4386.0</c:v>
                </c:pt>
                <c:pt idx="9">
                  <c:v>3264.0</c:v>
                </c:pt>
                <c:pt idx="10">
                  <c:v>3118.0</c:v>
                </c:pt>
                <c:pt idx="11">
                  <c:v>2929.0</c:v>
                </c:pt>
                <c:pt idx="12">
                  <c:v>4143.0</c:v>
                </c:pt>
                <c:pt idx="13">
                  <c:v>2686.0</c:v>
                </c:pt>
                <c:pt idx="14">
                  <c:v>3758.0</c:v>
                </c:pt>
                <c:pt idx="15">
                  <c:v>4072.0</c:v>
                </c:pt>
                <c:pt idx="16">
                  <c:v>3068.0</c:v>
                </c:pt>
                <c:pt idx="17">
                  <c:v>3605.0</c:v>
                </c:pt>
                <c:pt idx="18">
                  <c:v>3920.0</c:v>
                </c:pt>
                <c:pt idx="19">
                  <c:v>8151.0</c:v>
                </c:pt>
                <c:pt idx="20">
                  <c:v>6860.0</c:v>
                </c:pt>
                <c:pt idx="21">
                  <c:v>7622.0</c:v>
                </c:pt>
                <c:pt idx="22">
                  <c:v>15465.0</c:v>
                </c:pt>
                <c:pt idx="23">
                  <c:v>11233.0</c:v>
                </c:pt>
                <c:pt idx="24">
                  <c:v>9644.0</c:v>
                </c:pt>
                <c:pt idx="25">
                  <c:v>4060.0</c:v>
                </c:pt>
                <c:pt idx="26">
                  <c:v>1860.0</c:v>
                </c:pt>
                <c:pt idx="27">
                  <c:v>3017.0</c:v>
                </c:pt>
                <c:pt idx="28">
                  <c:v>2857.0</c:v>
                </c:pt>
                <c:pt idx="29">
                  <c:v>3319.0</c:v>
                </c:pt>
                <c:pt idx="30">
                  <c:v>3763.0</c:v>
                </c:pt>
                <c:pt idx="31">
                  <c:v>2706.0</c:v>
                </c:pt>
                <c:pt idx="32">
                  <c:v>2425.0</c:v>
                </c:pt>
                <c:pt idx="33">
                  <c:v>3535.0</c:v>
                </c:pt>
                <c:pt idx="34">
                  <c:v>2938.0</c:v>
                </c:pt>
                <c:pt idx="35">
                  <c:v>2620.0</c:v>
                </c:pt>
                <c:pt idx="36">
                  <c:v>3663.0</c:v>
                </c:pt>
                <c:pt idx="37">
                  <c:v>2747.0</c:v>
                </c:pt>
                <c:pt idx="38">
                  <c:v>2918.0</c:v>
                </c:pt>
                <c:pt idx="39">
                  <c:v>3574.0</c:v>
                </c:pt>
                <c:pt idx="40">
                  <c:v>3572.0</c:v>
                </c:pt>
                <c:pt idx="41">
                  <c:v>6291.0</c:v>
                </c:pt>
                <c:pt idx="42">
                  <c:v>4571.0</c:v>
                </c:pt>
                <c:pt idx="43">
                  <c:v>3042.0</c:v>
                </c:pt>
                <c:pt idx="44">
                  <c:v>2918.0</c:v>
                </c:pt>
                <c:pt idx="45">
                  <c:v>3250.0</c:v>
                </c:pt>
                <c:pt idx="46">
                  <c:v>3072.0</c:v>
                </c:pt>
                <c:pt idx="47">
                  <c:v>5971.0</c:v>
                </c:pt>
                <c:pt idx="48">
                  <c:v>3607.0</c:v>
                </c:pt>
                <c:pt idx="49">
                  <c:v>4981.0</c:v>
                </c:pt>
                <c:pt idx="50">
                  <c:v>6520.0</c:v>
                </c:pt>
                <c:pt idx="51">
                  <c:v>4101.0</c:v>
                </c:pt>
                <c:pt idx="52">
                  <c:v>4482.0</c:v>
                </c:pt>
                <c:pt idx="53">
                  <c:v>4066.0</c:v>
                </c:pt>
                <c:pt idx="54">
                  <c:v>4438.0</c:v>
                </c:pt>
                <c:pt idx="55">
                  <c:v>4509.0</c:v>
                </c:pt>
                <c:pt idx="56">
                  <c:v>5974.0</c:v>
                </c:pt>
                <c:pt idx="57">
                  <c:v>4318.0</c:v>
                </c:pt>
                <c:pt idx="58">
                  <c:v>4906.0</c:v>
                </c:pt>
                <c:pt idx="59">
                  <c:v>3582.0</c:v>
                </c:pt>
                <c:pt idx="60">
                  <c:v>3695.0</c:v>
                </c:pt>
                <c:pt idx="61">
                  <c:v>3719.0</c:v>
                </c:pt>
                <c:pt idx="62">
                  <c:v>3066.0</c:v>
                </c:pt>
                <c:pt idx="63">
                  <c:v>2771.0</c:v>
                </c:pt>
                <c:pt idx="64">
                  <c:v>3785.0</c:v>
                </c:pt>
                <c:pt idx="65">
                  <c:v>6902.0</c:v>
                </c:pt>
                <c:pt idx="66">
                  <c:v>4079.0</c:v>
                </c:pt>
                <c:pt idx="67">
                  <c:v>5119.0</c:v>
                </c:pt>
                <c:pt idx="68">
                  <c:v>4830.0</c:v>
                </c:pt>
                <c:pt idx="69">
                  <c:v>4069.0</c:v>
                </c:pt>
                <c:pt idx="70">
                  <c:v>3141.0</c:v>
                </c:pt>
                <c:pt idx="71">
                  <c:v>8115.0</c:v>
                </c:pt>
                <c:pt idx="72">
                  <c:v>6101.0</c:v>
                </c:pt>
                <c:pt idx="73">
                  <c:v>5879.0</c:v>
                </c:pt>
                <c:pt idx="74">
                  <c:v>9792.0</c:v>
                </c:pt>
                <c:pt idx="75">
                  <c:v>11414.0</c:v>
                </c:pt>
                <c:pt idx="76">
                  <c:v>2196.0</c:v>
                </c:pt>
                <c:pt idx="77">
                  <c:v>3970.0</c:v>
                </c:pt>
                <c:pt idx="78">
                  <c:v>2296.0</c:v>
                </c:pt>
                <c:pt idx="79">
                  <c:v>2720.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083.0</c:v>
                </c:pt>
                <c:pt idx="1">
                  <c:v>4300.0</c:v>
                </c:pt>
                <c:pt idx="2">
                  <c:v>4242.0</c:v>
                </c:pt>
                <c:pt idx="3">
                  <c:v>4500.0</c:v>
                </c:pt>
                <c:pt idx="4">
                  <c:v>4346.0</c:v>
                </c:pt>
                <c:pt idx="5">
                  <c:v>4442.0</c:v>
                </c:pt>
                <c:pt idx="6">
                  <c:v>3984.0</c:v>
                </c:pt>
                <c:pt idx="7">
                  <c:v>4106.0</c:v>
                </c:pt>
                <c:pt idx="8">
                  <c:v>4228.0</c:v>
                </c:pt>
                <c:pt idx="9">
                  <c:v>3967.0</c:v>
                </c:pt>
                <c:pt idx="10">
                  <c:v>4063.0</c:v>
                </c:pt>
                <c:pt idx="11">
                  <c:v>4203.0</c:v>
                </c:pt>
                <c:pt idx="12">
                  <c:v>4344.0</c:v>
                </c:pt>
                <c:pt idx="13">
                  <c:v>3716.0</c:v>
                </c:pt>
                <c:pt idx="14">
                  <c:v>3721.0</c:v>
                </c:pt>
                <c:pt idx="15">
                  <c:v>4087.0</c:v>
                </c:pt>
                <c:pt idx="16">
                  <c:v>3685.0</c:v>
                </c:pt>
                <c:pt idx="17">
                  <c:v>3627.0</c:v>
                </c:pt>
                <c:pt idx="18">
                  <c:v>3734.0</c:v>
                </c:pt>
                <c:pt idx="19">
                  <c:v>4686.0</c:v>
                </c:pt>
                <c:pt idx="20">
                  <c:v>4209.0</c:v>
                </c:pt>
                <c:pt idx="21">
                  <c:v>4510.0</c:v>
                </c:pt>
                <c:pt idx="22">
                  <c:v>6649.0</c:v>
                </c:pt>
                <c:pt idx="23">
                  <c:v>7045.0</c:v>
                </c:pt>
                <c:pt idx="24">
                  <c:v>7004.0</c:v>
                </c:pt>
                <c:pt idx="25">
                  <c:v>6672.0</c:v>
                </c:pt>
                <c:pt idx="26">
                  <c:v>6284.0</c:v>
                </c:pt>
                <c:pt idx="27">
                  <c:v>6723.0</c:v>
                </c:pt>
                <c:pt idx="28">
                  <c:v>5965.0</c:v>
                </c:pt>
                <c:pt idx="29">
                  <c:v>6454.0</c:v>
                </c:pt>
                <c:pt idx="30">
                  <c:v>6714.0</c:v>
                </c:pt>
                <c:pt idx="31">
                  <c:v>5927.0</c:v>
                </c:pt>
                <c:pt idx="32">
                  <c:v>5357.0</c:v>
                </c:pt>
                <c:pt idx="33">
                  <c:v>5248.0</c:v>
                </c:pt>
                <c:pt idx="34">
                  <c:v>4502.0</c:v>
                </c:pt>
                <c:pt idx="35">
                  <c:v>3617.0</c:v>
                </c:pt>
                <c:pt idx="36">
                  <c:v>3530.0</c:v>
                </c:pt>
                <c:pt idx="37">
                  <c:v>2998.0</c:v>
                </c:pt>
                <c:pt idx="38">
                  <c:v>3262.0</c:v>
                </c:pt>
                <c:pt idx="39">
                  <c:v>3593.0</c:v>
                </c:pt>
                <c:pt idx="40">
                  <c:v>3866.0</c:v>
                </c:pt>
                <c:pt idx="41">
                  <c:v>3914.0</c:v>
                </c:pt>
                <c:pt idx="42">
                  <c:v>3754.0</c:v>
                </c:pt>
                <c:pt idx="43">
                  <c:v>3066.0</c:v>
                </c:pt>
                <c:pt idx="44">
                  <c:v>3277.0</c:v>
                </c:pt>
                <c:pt idx="45">
                  <c:v>2997.0</c:v>
                </c:pt>
                <c:pt idx="46">
                  <c:v>3139.0</c:v>
                </c:pt>
                <c:pt idx="47">
                  <c:v>3307.0</c:v>
                </c:pt>
                <c:pt idx="48">
                  <c:v>3208.0</c:v>
                </c:pt>
                <c:pt idx="49">
                  <c:v>3706.0</c:v>
                </c:pt>
                <c:pt idx="50">
                  <c:v>4074.0</c:v>
                </c:pt>
                <c:pt idx="51">
                  <c:v>4308.0</c:v>
                </c:pt>
                <c:pt idx="52">
                  <c:v>4360.0</c:v>
                </c:pt>
                <c:pt idx="53">
                  <c:v>4251.0</c:v>
                </c:pt>
                <c:pt idx="54">
                  <c:v>4400.0</c:v>
                </c:pt>
                <c:pt idx="55">
                  <c:v>4695.0</c:v>
                </c:pt>
                <c:pt idx="56">
                  <c:v>5130.0</c:v>
                </c:pt>
                <c:pt idx="57">
                  <c:v>5118.0</c:v>
                </c:pt>
                <c:pt idx="58">
                  <c:v>5093.0</c:v>
                </c:pt>
                <c:pt idx="59">
                  <c:v>5017.0</c:v>
                </c:pt>
                <c:pt idx="60">
                  <c:v>5027.0</c:v>
                </c:pt>
                <c:pt idx="61">
                  <c:v>4605.0</c:v>
                </c:pt>
                <c:pt idx="62">
                  <c:v>4370.0</c:v>
                </c:pt>
                <c:pt idx="63">
                  <c:v>4484.0</c:v>
                </c:pt>
                <c:pt idx="64">
                  <c:v>3970.0</c:v>
                </c:pt>
                <c:pt idx="65">
                  <c:v>4618.0</c:v>
                </c:pt>
                <c:pt idx="66">
                  <c:v>4248.0</c:v>
                </c:pt>
                <c:pt idx="67">
                  <c:v>4621.0</c:v>
                </c:pt>
                <c:pt idx="68">
                  <c:v>4330.0</c:v>
                </c:pt>
                <c:pt idx="69">
                  <c:v>4368.0</c:v>
                </c:pt>
                <c:pt idx="70">
                  <c:v>4093.0</c:v>
                </c:pt>
                <c:pt idx="71">
                  <c:v>4309.0</c:v>
                </c:pt>
                <c:pt idx="72">
                  <c:v>4437.0</c:v>
                </c:pt>
                <c:pt idx="73">
                  <c:v>4650.0</c:v>
                </c:pt>
                <c:pt idx="74">
                  <c:v>5731.0</c:v>
                </c:pt>
                <c:pt idx="75">
                  <c:v>6300.0</c:v>
                </c:pt>
                <c:pt idx="76">
                  <c:v>5586.0</c:v>
                </c:pt>
                <c:pt idx="77">
                  <c:v>5541.0</c:v>
                </c:pt>
                <c:pt idx="78">
                  <c:v>5388.0</c:v>
                </c:pt>
                <c:pt idx="79">
                  <c:v>4836.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5</c:v>
                </c:pt>
                <c:pt idx="40">
                  <c:v>0.38</c:v>
                </c:pt>
                <c:pt idx="41">
                  <c:v>0.29</c:v>
                </c:pt>
                <c:pt idx="42">
                  <c:v>0.35</c:v>
                </c:pt>
                <c:pt idx="43">
                  <c:v>0.0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8</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3347.0</c:v>
                </c:pt>
                <c:pt idx="40">
                  <c:v>21055.0</c:v>
                </c:pt>
                <c:pt idx="41">
                  <c:v>22414.0</c:v>
                </c:pt>
                <c:pt idx="42">
                  <c:v>17731.0</c:v>
                </c:pt>
                <c:pt idx="43">
                  <c:v>515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0545.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1694.0</c:v>
                </c:pt>
                <c:pt idx="1">
                  <c:v>23557.0</c:v>
                </c:pt>
                <c:pt idx="2">
                  <c:v>18266.0</c:v>
                </c:pt>
                <c:pt idx="3">
                  <c:v>18867.0</c:v>
                </c:pt>
                <c:pt idx="4">
                  <c:v>16677.0</c:v>
                </c:pt>
                <c:pt idx="5">
                  <c:v>18633.0</c:v>
                </c:pt>
                <c:pt idx="6">
                  <c:v>24915.0</c:v>
                </c:pt>
                <c:pt idx="7">
                  <c:v>20976.0</c:v>
                </c:pt>
                <c:pt idx="8">
                  <c:v>23457.0</c:v>
                </c:pt>
                <c:pt idx="9">
                  <c:v>24352.0</c:v>
                </c:pt>
                <c:pt idx="10">
                  <c:v>26603.0</c:v>
                </c:pt>
                <c:pt idx="11">
                  <c:v>24319.0</c:v>
                </c:pt>
                <c:pt idx="12">
                  <c:v>32186.0</c:v>
                </c:pt>
                <c:pt idx="13">
                  <c:v>27357.0</c:v>
                </c:pt>
                <c:pt idx="14">
                  <c:v>26284.0</c:v>
                </c:pt>
                <c:pt idx="15">
                  <c:v>25153.0</c:v>
                </c:pt>
                <c:pt idx="16">
                  <c:v>26016.0</c:v>
                </c:pt>
                <c:pt idx="17">
                  <c:v>29943.0</c:v>
                </c:pt>
                <c:pt idx="18">
                  <c:v>32821.0</c:v>
                </c:pt>
                <c:pt idx="19">
                  <c:v>32994.0</c:v>
                </c:pt>
                <c:pt idx="20">
                  <c:v>38117.0</c:v>
                </c:pt>
                <c:pt idx="21">
                  <c:v>44465.0</c:v>
                </c:pt>
                <c:pt idx="22">
                  <c:v>77503.0</c:v>
                </c:pt>
                <c:pt idx="23">
                  <c:v>54590.0</c:v>
                </c:pt>
                <c:pt idx="24">
                  <c:v>58292.0</c:v>
                </c:pt>
                <c:pt idx="25">
                  <c:v>24324.0</c:v>
                </c:pt>
                <c:pt idx="26">
                  <c:v>19664.0</c:v>
                </c:pt>
                <c:pt idx="27">
                  <c:v>22933.0</c:v>
                </c:pt>
                <c:pt idx="28">
                  <c:v>22298.0</c:v>
                </c:pt>
                <c:pt idx="29">
                  <c:v>25590.0</c:v>
                </c:pt>
                <c:pt idx="30">
                  <c:v>29544.0</c:v>
                </c:pt>
                <c:pt idx="31">
                  <c:v>23704.0</c:v>
                </c:pt>
                <c:pt idx="32">
                  <c:v>24243.0</c:v>
                </c:pt>
                <c:pt idx="33">
                  <c:v>25344.0</c:v>
                </c:pt>
                <c:pt idx="34">
                  <c:v>22244.0</c:v>
                </c:pt>
                <c:pt idx="35">
                  <c:v>22950.0</c:v>
                </c:pt>
                <c:pt idx="36">
                  <c:v>27542.0</c:v>
                </c:pt>
                <c:pt idx="37">
                  <c:v>21797.0</c:v>
                </c:pt>
                <c:pt idx="38">
                  <c:v>21743.0</c:v>
                </c:pt>
                <c:pt idx="39">
                  <c:v>19466.0</c:v>
                </c:pt>
                <c:pt idx="40">
                  <c:v>19681.0</c:v>
                </c:pt>
                <c:pt idx="41">
                  <c:v>19544.0</c:v>
                </c:pt>
                <c:pt idx="42">
                  <c:v>17059.0</c:v>
                </c:pt>
                <c:pt idx="43">
                  <c:v>25263.0</c:v>
                </c:pt>
                <c:pt idx="44">
                  <c:v>28560.0</c:v>
                </c:pt>
                <c:pt idx="45">
                  <c:v>25126.0</c:v>
                </c:pt>
                <c:pt idx="46">
                  <c:v>27996.0</c:v>
                </c:pt>
                <c:pt idx="47">
                  <c:v>41739.0</c:v>
                </c:pt>
                <c:pt idx="48">
                  <c:v>30646.0</c:v>
                </c:pt>
                <c:pt idx="49">
                  <c:v>37919.0</c:v>
                </c:pt>
                <c:pt idx="50">
                  <c:v>31288.0</c:v>
                </c:pt>
                <c:pt idx="51">
                  <c:v>25253.0</c:v>
                </c:pt>
                <c:pt idx="52">
                  <c:v>21296.0</c:v>
                </c:pt>
                <c:pt idx="53">
                  <c:v>23728.0</c:v>
                </c:pt>
                <c:pt idx="54">
                  <c:v>18372.0</c:v>
                </c:pt>
                <c:pt idx="55">
                  <c:v>17960.0</c:v>
                </c:pt>
                <c:pt idx="56">
                  <c:v>17896.0</c:v>
                </c:pt>
                <c:pt idx="57">
                  <c:v>23698.0</c:v>
                </c:pt>
                <c:pt idx="58">
                  <c:v>23921.0</c:v>
                </c:pt>
                <c:pt idx="59">
                  <c:v>30264.0</c:v>
                </c:pt>
                <c:pt idx="60">
                  <c:v>26113.0</c:v>
                </c:pt>
                <c:pt idx="61">
                  <c:v>27158.0</c:v>
                </c:pt>
                <c:pt idx="62">
                  <c:v>24554.0</c:v>
                </c:pt>
                <c:pt idx="63">
                  <c:v>25215.0</c:v>
                </c:pt>
                <c:pt idx="64">
                  <c:v>28271.0</c:v>
                </c:pt>
                <c:pt idx="65">
                  <c:v>29791.0</c:v>
                </c:pt>
                <c:pt idx="66">
                  <c:v>30082.0</c:v>
                </c:pt>
                <c:pt idx="67">
                  <c:v>32185.0</c:v>
                </c:pt>
                <c:pt idx="68">
                  <c:v>31701.0</c:v>
                </c:pt>
                <c:pt idx="69">
                  <c:v>28480.0</c:v>
                </c:pt>
                <c:pt idx="70">
                  <c:v>28538.0</c:v>
                </c:pt>
                <c:pt idx="71">
                  <c:v>29599.0</c:v>
                </c:pt>
                <c:pt idx="72">
                  <c:v>34827.0</c:v>
                </c:pt>
                <c:pt idx="73">
                  <c:v>41743.0</c:v>
                </c:pt>
                <c:pt idx="74">
                  <c:v>68410.0</c:v>
                </c:pt>
                <c:pt idx="75">
                  <c:v>50757.0</c:v>
                </c:pt>
                <c:pt idx="76">
                  <c:v>15248.0</c:v>
                </c:pt>
                <c:pt idx="77">
                  <c:v>30383.0</c:v>
                </c:pt>
                <c:pt idx="78">
                  <c:v>26888.0</c:v>
                </c:pt>
                <c:pt idx="79">
                  <c:v>2648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1694.0</c:v>
                </c:pt>
                <c:pt idx="1">
                  <c:v>23557.0</c:v>
                </c:pt>
                <c:pt idx="2">
                  <c:v>18266.0</c:v>
                </c:pt>
                <c:pt idx="3">
                  <c:v>18867.0</c:v>
                </c:pt>
                <c:pt idx="4">
                  <c:v>16677.0</c:v>
                </c:pt>
                <c:pt idx="5">
                  <c:v>18633.0</c:v>
                </c:pt>
                <c:pt idx="6">
                  <c:v>24915.0</c:v>
                </c:pt>
                <c:pt idx="7">
                  <c:v>20976.0</c:v>
                </c:pt>
                <c:pt idx="8">
                  <c:v>23457.0</c:v>
                </c:pt>
                <c:pt idx="9">
                  <c:v>24352.0</c:v>
                </c:pt>
                <c:pt idx="10">
                  <c:v>26603.0</c:v>
                </c:pt>
                <c:pt idx="11">
                  <c:v>24319.0</c:v>
                </c:pt>
                <c:pt idx="12">
                  <c:v>32186.0</c:v>
                </c:pt>
                <c:pt idx="13">
                  <c:v>27357.0</c:v>
                </c:pt>
                <c:pt idx="14">
                  <c:v>26284.0</c:v>
                </c:pt>
                <c:pt idx="15">
                  <c:v>25153.0</c:v>
                </c:pt>
                <c:pt idx="16">
                  <c:v>26016.0</c:v>
                </c:pt>
                <c:pt idx="17">
                  <c:v>29943.0</c:v>
                </c:pt>
                <c:pt idx="18">
                  <c:v>32821.0</c:v>
                </c:pt>
                <c:pt idx="19">
                  <c:v>32994.0</c:v>
                </c:pt>
                <c:pt idx="20">
                  <c:v>38117.0</c:v>
                </c:pt>
                <c:pt idx="21">
                  <c:v>44465.0</c:v>
                </c:pt>
                <c:pt idx="22">
                  <c:v>77503.0</c:v>
                </c:pt>
                <c:pt idx="23">
                  <c:v>54590.0</c:v>
                </c:pt>
                <c:pt idx="24">
                  <c:v>58292.0</c:v>
                </c:pt>
                <c:pt idx="25">
                  <c:v>24324.0</c:v>
                </c:pt>
                <c:pt idx="26">
                  <c:v>19664.0</c:v>
                </c:pt>
                <c:pt idx="27">
                  <c:v>22933.0</c:v>
                </c:pt>
                <c:pt idx="28">
                  <c:v>22298.0</c:v>
                </c:pt>
                <c:pt idx="29">
                  <c:v>25590.0</c:v>
                </c:pt>
                <c:pt idx="30">
                  <c:v>29544.0</c:v>
                </c:pt>
                <c:pt idx="31">
                  <c:v>23704.0</c:v>
                </c:pt>
                <c:pt idx="32">
                  <c:v>24243.0</c:v>
                </c:pt>
                <c:pt idx="33">
                  <c:v>25344.0</c:v>
                </c:pt>
                <c:pt idx="34">
                  <c:v>22244.0</c:v>
                </c:pt>
                <c:pt idx="35">
                  <c:v>22950.0</c:v>
                </c:pt>
                <c:pt idx="36">
                  <c:v>27542.0</c:v>
                </c:pt>
                <c:pt idx="37">
                  <c:v>21797.0</c:v>
                </c:pt>
                <c:pt idx="38">
                  <c:v>21743.0</c:v>
                </c:pt>
                <c:pt idx="39">
                  <c:v>32813.0</c:v>
                </c:pt>
                <c:pt idx="40">
                  <c:v>40736.0</c:v>
                </c:pt>
                <c:pt idx="41">
                  <c:v>41958.0</c:v>
                </c:pt>
                <c:pt idx="42">
                  <c:v>34790.0</c:v>
                </c:pt>
                <c:pt idx="43">
                  <c:v>30414.0</c:v>
                </c:pt>
                <c:pt idx="44">
                  <c:v>28560.0</c:v>
                </c:pt>
                <c:pt idx="45">
                  <c:v>25126.0</c:v>
                </c:pt>
                <c:pt idx="46">
                  <c:v>27996.0</c:v>
                </c:pt>
                <c:pt idx="47">
                  <c:v>41739.0</c:v>
                </c:pt>
                <c:pt idx="48">
                  <c:v>30646.0</c:v>
                </c:pt>
                <c:pt idx="49">
                  <c:v>37919.0</c:v>
                </c:pt>
                <c:pt idx="50">
                  <c:v>31288.0</c:v>
                </c:pt>
                <c:pt idx="51">
                  <c:v>25253.0</c:v>
                </c:pt>
                <c:pt idx="52">
                  <c:v>21296.0</c:v>
                </c:pt>
                <c:pt idx="53">
                  <c:v>23728.0</c:v>
                </c:pt>
                <c:pt idx="54">
                  <c:v>18372.0</c:v>
                </c:pt>
                <c:pt idx="55">
                  <c:v>17960.0</c:v>
                </c:pt>
                <c:pt idx="56">
                  <c:v>17896.0</c:v>
                </c:pt>
                <c:pt idx="57">
                  <c:v>23698.0</c:v>
                </c:pt>
                <c:pt idx="58">
                  <c:v>23921.0</c:v>
                </c:pt>
                <c:pt idx="59">
                  <c:v>30264.0</c:v>
                </c:pt>
                <c:pt idx="60">
                  <c:v>26113.0</c:v>
                </c:pt>
                <c:pt idx="61">
                  <c:v>27158.0</c:v>
                </c:pt>
                <c:pt idx="62">
                  <c:v>24554.0</c:v>
                </c:pt>
                <c:pt idx="63">
                  <c:v>25215.0</c:v>
                </c:pt>
                <c:pt idx="64">
                  <c:v>28271.0</c:v>
                </c:pt>
                <c:pt idx="65">
                  <c:v>29791.0</c:v>
                </c:pt>
                <c:pt idx="66">
                  <c:v>30082.0</c:v>
                </c:pt>
                <c:pt idx="67">
                  <c:v>32185.0</c:v>
                </c:pt>
                <c:pt idx="68">
                  <c:v>31701.0</c:v>
                </c:pt>
                <c:pt idx="69">
                  <c:v>28480.0</c:v>
                </c:pt>
                <c:pt idx="70">
                  <c:v>28538.0</c:v>
                </c:pt>
                <c:pt idx="71">
                  <c:v>60144.0</c:v>
                </c:pt>
                <c:pt idx="72">
                  <c:v>34827.0</c:v>
                </c:pt>
                <c:pt idx="73">
                  <c:v>41743.0</c:v>
                </c:pt>
                <c:pt idx="74">
                  <c:v>68410.0</c:v>
                </c:pt>
                <c:pt idx="75">
                  <c:v>50757.0</c:v>
                </c:pt>
                <c:pt idx="76">
                  <c:v>15248.0</c:v>
                </c:pt>
                <c:pt idx="77">
                  <c:v>30383.0</c:v>
                </c:pt>
                <c:pt idx="78">
                  <c:v>26888.0</c:v>
                </c:pt>
                <c:pt idx="79">
                  <c:v>2648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4788.0</c:v>
                </c:pt>
                <c:pt idx="1">
                  <c:v>25193.0</c:v>
                </c:pt>
                <c:pt idx="2">
                  <c:v>24525.0</c:v>
                </c:pt>
                <c:pt idx="3">
                  <c:v>24194.0</c:v>
                </c:pt>
                <c:pt idx="4">
                  <c:v>23088.0</c:v>
                </c:pt>
                <c:pt idx="5">
                  <c:v>22261.0</c:v>
                </c:pt>
                <c:pt idx="6">
                  <c:v>21918.0</c:v>
                </c:pt>
                <c:pt idx="7">
                  <c:v>21759.0</c:v>
                </c:pt>
                <c:pt idx="8">
                  <c:v>21577.0</c:v>
                </c:pt>
                <c:pt idx="9">
                  <c:v>21544.0</c:v>
                </c:pt>
                <c:pt idx="10">
                  <c:v>21596.0</c:v>
                </c:pt>
                <c:pt idx="11">
                  <c:v>21940.0</c:v>
                </c:pt>
                <c:pt idx="12">
                  <c:v>23062.0</c:v>
                </c:pt>
                <c:pt idx="13">
                  <c:v>24156.0</c:v>
                </c:pt>
                <c:pt idx="14">
                  <c:v>24591.0</c:v>
                </c:pt>
                <c:pt idx="15">
                  <c:v>24767.0</c:v>
                </c:pt>
                <c:pt idx="16">
                  <c:v>26288.0</c:v>
                </c:pt>
                <c:pt idx="17">
                  <c:v>26786.0</c:v>
                </c:pt>
                <c:pt idx="18">
                  <c:v>27643.0</c:v>
                </c:pt>
                <c:pt idx="19">
                  <c:v>28815.0</c:v>
                </c:pt>
                <c:pt idx="20">
                  <c:v>29933.0</c:v>
                </c:pt>
                <c:pt idx="21">
                  <c:v>31489.0</c:v>
                </c:pt>
                <c:pt idx="22">
                  <c:v>35784.0</c:v>
                </c:pt>
                <c:pt idx="23">
                  <c:v>38239.0</c:v>
                </c:pt>
                <c:pt idx="24">
                  <c:v>41970.0</c:v>
                </c:pt>
                <c:pt idx="25">
                  <c:v>41003.0</c:v>
                </c:pt>
                <c:pt idx="26">
                  <c:v>39724.0</c:v>
                </c:pt>
                <c:pt idx="27">
                  <c:v>39941.0</c:v>
                </c:pt>
                <c:pt idx="28">
                  <c:v>39508.0</c:v>
                </c:pt>
                <c:pt idx="29">
                  <c:v>38894.0</c:v>
                </c:pt>
                <c:pt idx="30">
                  <c:v>38553.0</c:v>
                </c:pt>
                <c:pt idx="31">
                  <c:v>37763.0</c:v>
                </c:pt>
                <c:pt idx="32">
                  <c:v>36371.0</c:v>
                </c:pt>
                <c:pt idx="33">
                  <c:v>34614.0</c:v>
                </c:pt>
                <c:pt idx="34">
                  <c:v>29903.0</c:v>
                </c:pt>
                <c:pt idx="35">
                  <c:v>26738.0</c:v>
                </c:pt>
                <c:pt idx="36">
                  <c:v>24900.0</c:v>
                </c:pt>
                <c:pt idx="37">
                  <c:v>24400.0</c:v>
                </c:pt>
                <c:pt idx="38">
                  <c:v>24374.0</c:v>
                </c:pt>
                <c:pt idx="39">
                  <c:v>24692.0</c:v>
                </c:pt>
                <c:pt idx="40">
                  <c:v>24998.0</c:v>
                </c:pt>
                <c:pt idx="41">
                  <c:v>24692.0</c:v>
                </c:pt>
                <c:pt idx="42">
                  <c:v>23613.0</c:v>
                </c:pt>
                <c:pt idx="43">
                  <c:v>23772.0</c:v>
                </c:pt>
                <c:pt idx="44">
                  <c:v>24484.0</c:v>
                </c:pt>
                <c:pt idx="45">
                  <c:v>24185.0</c:v>
                </c:pt>
                <c:pt idx="46">
                  <c:v>24319.0</c:v>
                </c:pt>
                <c:pt idx="47">
                  <c:v>26416.0</c:v>
                </c:pt>
                <c:pt idx="48">
                  <c:v>26882.0</c:v>
                </c:pt>
                <c:pt idx="49">
                  <c:v>28410.0</c:v>
                </c:pt>
                <c:pt idx="50">
                  <c:v>29197.0</c:v>
                </c:pt>
                <c:pt idx="51">
                  <c:v>29625.0</c:v>
                </c:pt>
                <c:pt idx="52">
                  <c:v>29409.0</c:v>
                </c:pt>
                <c:pt idx="53">
                  <c:v>29375.0</c:v>
                </c:pt>
                <c:pt idx="54">
                  <c:v>29350.0</c:v>
                </c:pt>
                <c:pt idx="55">
                  <c:v>28730.0</c:v>
                </c:pt>
                <c:pt idx="56">
                  <c:v>27737.0</c:v>
                </c:pt>
                <c:pt idx="57">
                  <c:v>28192.0</c:v>
                </c:pt>
                <c:pt idx="58">
                  <c:v>26369.0</c:v>
                </c:pt>
                <c:pt idx="59">
                  <c:v>26438.0</c:v>
                </c:pt>
                <c:pt idx="60">
                  <c:v>26112.0</c:v>
                </c:pt>
                <c:pt idx="61">
                  <c:v>24623.0</c:v>
                </c:pt>
                <c:pt idx="62">
                  <c:v>23915.0</c:v>
                </c:pt>
                <c:pt idx="63">
                  <c:v>24137.0</c:v>
                </c:pt>
                <c:pt idx="64">
                  <c:v>24931.0</c:v>
                </c:pt>
                <c:pt idx="65">
                  <c:v>25474.0</c:v>
                </c:pt>
                <c:pt idx="66">
                  <c:v>26760.0</c:v>
                </c:pt>
                <c:pt idx="67">
                  <c:v>28029.0</c:v>
                </c:pt>
                <c:pt idx="68">
                  <c:v>29438.0</c:v>
                </c:pt>
                <c:pt idx="69">
                  <c:v>29349.0</c:v>
                </c:pt>
                <c:pt idx="70">
                  <c:v>29620.0</c:v>
                </c:pt>
                <c:pt idx="71">
                  <c:v>29658.0</c:v>
                </c:pt>
                <c:pt idx="72">
                  <c:v>30059.0</c:v>
                </c:pt>
                <c:pt idx="73">
                  <c:v>31447.0</c:v>
                </c:pt>
                <c:pt idx="74">
                  <c:v>35351.0</c:v>
                </c:pt>
                <c:pt idx="75">
                  <c:v>37550.0</c:v>
                </c:pt>
                <c:pt idx="76">
                  <c:v>35239.0</c:v>
                </c:pt>
                <c:pt idx="77">
                  <c:v>35677.0</c:v>
                </c:pt>
                <c:pt idx="78">
                  <c:v>35462.0</c:v>
                </c:pt>
                <c:pt idx="79">
                  <c:v>34565.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2</c:v>
                </c:pt>
                <c:pt idx="40">
                  <c:v>0.42</c:v>
                </c:pt>
                <c:pt idx="41">
                  <c:v>0.45</c:v>
                </c:pt>
                <c:pt idx="42">
                  <c:v>0.41</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8652.0</c:v>
                </c:pt>
                <c:pt idx="40">
                  <c:v>12266.0</c:v>
                </c:pt>
                <c:pt idx="41">
                  <c:v>11028.0</c:v>
                </c:pt>
                <c:pt idx="42">
                  <c:v>8008.0</c:v>
                </c:pt>
                <c:pt idx="43">
                  <c:v>156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7902.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0780.0</c:v>
                </c:pt>
                <c:pt idx="1">
                  <c:v>11162.0</c:v>
                </c:pt>
                <c:pt idx="2">
                  <c:v>8856.0</c:v>
                </c:pt>
                <c:pt idx="3">
                  <c:v>8932.0</c:v>
                </c:pt>
                <c:pt idx="4">
                  <c:v>8353.0</c:v>
                </c:pt>
                <c:pt idx="5">
                  <c:v>9296.0</c:v>
                </c:pt>
                <c:pt idx="6">
                  <c:v>12225.0</c:v>
                </c:pt>
                <c:pt idx="7">
                  <c:v>14710.0</c:v>
                </c:pt>
                <c:pt idx="8">
                  <c:v>12849.0</c:v>
                </c:pt>
                <c:pt idx="9">
                  <c:v>15373.0</c:v>
                </c:pt>
                <c:pt idx="10">
                  <c:v>13397.0</c:v>
                </c:pt>
                <c:pt idx="11">
                  <c:v>12163.0</c:v>
                </c:pt>
                <c:pt idx="12">
                  <c:v>17040.0</c:v>
                </c:pt>
                <c:pt idx="13">
                  <c:v>15319.0</c:v>
                </c:pt>
                <c:pt idx="14">
                  <c:v>14640.0</c:v>
                </c:pt>
                <c:pt idx="15">
                  <c:v>16494.0</c:v>
                </c:pt>
                <c:pt idx="16">
                  <c:v>14399.0</c:v>
                </c:pt>
                <c:pt idx="17">
                  <c:v>18025.0</c:v>
                </c:pt>
                <c:pt idx="18">
                  <c:v>16490.0</c:v>
                </c:pt>
                <c:pt idx="19">
                  <c:v>23762.0</c:v>
                </c:pt>
                <c:pt idx="20">
                  <c:v>20056.0</c:v>
                </c:pt>
                <c:pt idx="21">
                  <c:v>30221.0</c:v>
                </c:pt>
                <c:pt idx="22">
                  <c:v>46054.0</c:v>
                </c:pt>
                <c:pt idx="23">
                  <c:v>33549.0</c:v>
                </c:pt>
                <c:pt idx="24">
                  <c:v>33874.0</c:v>
                </c:pt>
                <c:pt idx="25">
                  <c:v>11974.0</c:v>
                </c:pt>
                <c:pt idx="26">
                  <c:v>13418.0</c:v>
                </c:pt>
                <c:pt idx="27">
                  <c:v>11991.0</c:v>
                </c:pt>
                <c:pt idx="28">
                  <c:v>12413.0</c:v>
                </c:pt>
                <c:pt idx="29">
                  <c:v>13743.0</c:v>
                </c:pt>
                <c:pt idx="30">
                  <c:v>16152.0</c:v>
                </c:pt>
                <c:pt idx="31">
                  <c:v>12510.0</c:v>
                </c:pt>
                <c:pt idx="32">
                  <c:v>12838.0</c:v>
                </c:pt>
                <c:pt idx="33">
                  <c:v>14678.0</c:v>
                </c:pt>
                <c:pt idx="34">
                  <c:v>13890.0</c:v>
                </c:pt>
                <c:pt idx="35">
                  <c:v>13215.0</c:v>
                </c:pt>
                <c:pt idx="36">
                  <c:v>16945.0</c:v>
                </c:pt>
                <c:pt idx="37">
                  <c:v>14625.0</c:v>
                </c:pt>
                <c:pt idx="38">
                  <c:v>12151.0</c:v>
                </c:pt>
                <c:pt idx="39">
                  <c:v>10937.0</c:v>
                </c:pt>
                <c:pt idx="40">
                  <c:v>9542.0</c:v>
                </c:pt>
                <c:pt idx="41">
                  <c:v>12214.0</c:v>
                </c:pt>
                <c:pt idx="42">
                  <c:v>9102.0</c:v>
                </c:pt>
                <c:pt idx="43">
                  <c:v>14999.0</c:v>
                </c:pt>
                <c:pt idx="44">
                  <c:v>13343.0</c:v>
                </c:pt>
                <c:pt idx="45">
                  <c:v>14860.0</c:v>
                </c:pt>
                <c:pt idx="46">
                  <c:v>15059.0</c:v>
                </c:pt>
                <c:pt idx="47">
                  <c:v>30775.0</c:v>
                </c:pt>
                <c:pt idx="48">
                  <c:v>22295.0</c:v>
                </c:pt>
                <c:pt idx="49">
                  <c:v>20199.0</c:v>
                </c:pt>
                <c:pt idx="50">
                  <c:v>20846.0</c:v>
                </c:pt>
                <c:pt idx="51">
                  <c:v>15582.0</c:v>
                </c:pt>
                <c:pt idx="52">
                  <c:v>12798.0</c:v>
                </c:pt>
                <c:pt idx="53">
                  <c:v>13566.0</c:v>
                </c:pt>
                <c:pt idx="54">
                  <c:v>11314.0</c:v>
                </c:pt>
                <c:pt idx="55">
                  <c:v>9019.0</c:v>
                </c:pt>
                <c:pt idx="56">
                  <c:v>8858.0</c:v>
                </c:pt>
                <c:pt idx="57">
                  <c:v>11399.0</c:v>
                </c:pt>
                <c:pt idx="58">
                  <c:v>14019.0</c:v>
                </c:pt>
                <c:pt idx="59">
                  <c:v>12094.0</c:v>
                </c:pt>
                <c:pt idx="60">
                  <c:v>14489.0</c:v>
                </c:pt>
                <c:pt idx="61">
                  <c:v>13747.0</c:v>
                </c:pt>
                <c:pt idx="62">
                  <c:v>15295.0</c:v>
                </c:pt>
                <c:pt idx="63">
                  <c:v>11875.0</c:v>
                </c:pt>
                <c:pt idx="64">
                  <c:v>15320.0</c:v>
                </c:pt>
                <c:pt idx="65">
                  <c:v>20319.0</c:v>
                </c:pt>
                <c:pt idx="66">
                  <c:v>17455.0</c:v>
                </c:pt>
                <c:pt idx="67">
                  <c:v>19437.0</c:v>
                </c:pt>
                <c:pt idx="68">
                  <c:v>21730.0</c:v>
                </c:pt>
                <c:pt idx="69">
                  <c:v>14486.0</c:v>
                </c:pt>
                <c:pt idx="70">
                  <c:v>15440.0</c:v>
                </c:pt>
                <c:pt idx="71">
                  <c:v>17603.0</c:v>
                </c:pt>
                <c:pt idx="72">
                  <c:v>21947.0</c:v>
                </c:pt>
                <c:pt idx="73">
                  <c:v>22819.0</c:v>
                </c:pt>
                <c:pt idx="74">
                  <c:v>41968.0</c:v>
                </c:pt>
                <c:pt idx="75">
                  <c:v>32882.0</c:v>
                </c:pt>
                <c:pt idx="76">
                  <c:v>6994.0</c:v>
                </c:pt>
                <c:pt idx="77">
                  <c:v>17097.0</c:v>
                </c:pt>
                <c:pt idx="78">
                  <c:v>15648.0</c:v>
                </c:pt>
                <c:pt idx="79">
                  <c:v>15924.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0780.0</c:v>
                </c:pt>
                <c:pt idx="1">
                  <c:v>11162.0</c:v>
                </c:pt>
                <c:pt idx="2">
                  <c:v>8856.0</c:v>
                </c:pt>
                <c:pt idx="3">
                  <c:v>8932.0</c:v>
                </c:pt>
                <c:pt idx="4">
                  <c:v>8353.0</c:v>
                </c:pt>
                <c:pt idx="5">
                  <c:v>9296.0</c:v>
                </c:pt>
                <c:pt idx="6">
                  <c:v>12225.0</c:v>
                </c:pt>
                <c:pt idx="7">
                  <c:v>14710.0</c:v>
                </c:pt>
                <c:pt idx="8">
                  <c:v>12849.0</c:v>
                </c:pt>
                <c:pt idx="9">
                  <c:v>15373.0</c:v>
                </c:pt>
                <c:pt idx="10">
                  <c:v>13397.0</c:v>
                </c:pt>
                <c:pt idx="11">
                  <c:v>12163.0</c:v>
                </c:pt>
                <c:pt idx="12">
                  <c:v>17040.0</c:v>
                </c:pt>
                <c:pt idx="13">
                  <c:v>15319.0</c:v>
                </c:pt>
                <c:pt idx="14">
                  <c:v>14640.0</c:v>
                </c:pt>
                <c:pt idx="15">
                  <c:v>16494.0</c:v>
                </c:pt>
                <c:pt idx="16">
                  <c:v>14399.0</c:v>
                </c:pt>
                <c:pt idx="17">
                  <c:v>18025.0</c:v>
                </c:pt>
                <c:pt idx="18">
                  <c:v>16490.0</c:v>
                </c:pt>
                <c:pt idx="19">
                  <c:v>23762.0</c:v>
                </c:pt>
                <c:pt idx="20">
                  <c:v>20056.0</c:v>
                </c:pt>
                <c:pt idx="21">
                  <c:v>30221.0</c:v>
                </c:pt>
                <c:pt idx="22">
                  <c:v>46054.0</c:v>
                </c:pt>
                <c:pt idx="23">
                  <c:v>33549.0</c:v>
                </c:pt>
                <c:pt idx="24">
                  <c:v>33874.0</c:v>
                </c:pt>
                <c:pt idx="25">
                  <c:v>11974.0</c:v>
                </c:pt>
                <c:pt idx="26">
                  <c:v>13418.0</c:v>
                </c:pt>
                <c:pt idx="27">
                  <c:v>11991.0</c:v>
                </c:pt>
                <c:pt idx="28">
                  <c:v>12413.0</c:v>
                </c:pt>
                <c:pt idx="29">
                  <c:v>13743.0</c:v>
                </c:pt>
                <c:pt idx="30">
                  <c:v>16152.0</c:v>
                </c:pt>
                <c:pt idx="31">
                  <c:v>12510.0</c:v>
                </c:pt>
                <c:pt idx="32">
                  <c:v>12838.0</c:v>
                </c:pt>
                <c:pt idx="33">
                  <c:v>14678.0</c:v>
                </c:pt>
                <c:pt idx="34">
                  <c:v>13890.0</c:v>
                </c:pt>
                <c:pt idx="35">
                  <c:v>13215.0</c:v>
                </c:pt>
                <c:pt idx="36">
                  <c:v>16945.0</c:v>
                </c:pt>
                <c:pt idx="37">
                  <c:v>14625.0</c:v>
                </c:pt>
                <c:pt idx="38">
                  <c:v>12151.0</c:v>
                </c:pt>
                <c:pt idx="39">
                  <c:v>19589.0</c:v>
                </c:pt>
                <c:pt idx="40">
                  <c:v>21808.0</c:v>
                </c:pt>
                <c:pt idx="41">
                  <c:v>23242.0</c:v>
                </c:pt>
                <c:pt idx="42">
                  <c:v>17110.0</c:v>
                </c:pt>
                <c:pt idx="43">
                  <c:v>16565.0</c:v>
                </c:pt>
                <c:pt idx="44">
                  <c:v>13343.0</c:v>
                </c:pt>
                <c:pt idx="45">
                  <c:v>14860.0</c:v>
                </c:pt>
                <c:pt idx="46">
                  <c:v>15059.0</c:v>
                </c:pt>
                <c:pt idx="47">
                  <c:v>30775.0</c:v>
                </c:pt>
                <c:pt idx="48">
                  <c:v>22295.0</c:v>
                </c:pt>
                <c:pt idx="49">
                  <c:v>20199.0</c:v>
                </c:pt>
                <c:pt idx="50">
                  <c:v>20846.0</c:v>
                </c:pt>
                <c:pt idx="51">
                  <c:v>15582.0</c:v>
                </c:pt>
                <c:pt idx="52">
                  <c:v>12798.0</c:v>
                </c:pt>
                <c:pt idx="53">
                  <c:v>13566.0</c:v>
                </c:pt>
                <c:pt idx="54">
                  <c:v>11314.0</c:v>
                </c:pt>
                <c:pt idx="55">
                  <c:v>9019.0</c:v>
                </c:pt>
                <c:pt idx="56">
                  <c:v>8858.0</c:v>
                </c:pt>
                <c:pt idx="57">
                  <c:v>11399.0</c:v>
                </c:pt>
                <c:pt idx="58">
                  <c:v>14019.0</c:v>
                </c:pt>
                <c:pt idx="59">
                  <c:v>12094.0</c:v>
                </c:pt>
                <c:pt idx="60">
                  <c:v>14489.0</c:v>
                </c:pt>
                <c:pt idx="61">
                  <c:v>13747.0</c:v>
                </c:pt>
                <c:pt idx="62">
                  <c:v>15295.0</c:v>
                </c:pt>
                <c:pt idx="63">
                  <c:v>11875.0</c:v>
                </c:pt>
                <c:pt idx="64">
                  <c:v>15320.0</c:v>
                </c:pt>
                <c:pt idx="65">
                  <c:v>20319.0</c:v>
                </c:pt>
                <c:pt idx="66">
                  <c:v>17455.0</c:v>
                </c:pt>
                <c:pt idx="67">
                  <c:v>19437.0</c:v>
                </c:pt>
                <c:pt idx="68">
                  <c:v>21730.0</c:v>
                </c:pt>
                <c:pt idx="69">
                  <c:v>14486.0</c:v>
                </c:pt>
                <c:pt idx="70">
                  <c:v>15440.0</c:v>
                </c:pt>
                <c:pt idx="71">
                  <c:v>35505.0</c:v>
                </c:pt>
                <c:pt idx="72">
                  <c:v>21947.0</c:v>
                </c:pt>
                <c:pt idx="73">
                  <c:v>22819.0</c:v>
                </c:pt>
                <c:pt idx="74">
                  <c:v>41968.0</c:v>
                </c:pt>
                <c:pt idx="75">
                  <c:v>32882.0</c:v>
                </c:pt>
                <c:pt idx="76">
                  <c:v>6994.0</c:v>
                </c:pt>
                <c:pt idx="77">
                  <c:v>17097.0</c:v>
                </c:pt>
                <c:pt idx="78">
                  <c:v>15648.0</c:v>
                </c:pt>
                <c:pt idx="79">
                  <c:v>1592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5042.0</c:v>
                </c:pt>
                <c:pt idx="1">
                  <c:v>14789.0</c:v>
                </c:pt>
                <c:pt idx="2">
                  <c:v>13986.0</c:v>
                </c:pt>
                <c:pt idx="3">
                  <c:v>14018.0</c:v>
                </c:pt>
                <c:pt idx="4">
                  <c:v>13191.0</c:v>
                </c:pt>
                <c:pt idx="5">
                  <c:v>12769.0</c:v>
                </c:pt>
                <c:pt idx="6">
                  <c:v>12833.0</c:v>
                </c:pt>
                <c:pt idx="7">
                  <c:v>12448.0</c:v>
                </c:pt>
                <c:pt idx="8">
                  <c:v>11497.0</c:v>
                </c:pt>
                <c:pt idx="9">
                  <c:v>11449.0</c:v>
                </c:pt>
                <c:pt idx="10">
                  <c:v>11422.0</c:v>
                </c:pt>
                <c:pt idx="11">
                  <c:v>11418.0</c:v>
                </c:pt>
                <c:pt idx="12">
                  <c:v>12603.0</c:v>
                </c:pt>
                <c:pt idx="13">
                  <c:v>12893.0</c:v>
                </c:pt>
                <c:pt idx="14">
                  <c:v>13270.0</c:v>
                </c:pt>
                <c:pt idx="15">
                  <c:v>13883.0</c:v>
                </c:pt>
                <c:pt idx="16">
                  <c:v>14547.0</c:v>
                </c:pt>
                <c:pt idx="17">
                  <c:v>15101.0</c:v>
                </c:pt>
                <c:pt idx="18">
                  <c:v>15571.0</c:v>
                </c:pt>
                <c:pt idx="19">
                  <c:v>17128.0</c:v>
                </c:pt>
                <c:pt idx="20">
                  <c:v>16972.0</c:v>
                </c:pt>
                <c:pt idx="21">
                  <c:v>18291.0</c:v>
                </c:pt>
                <c:pt idx="22">
                  <c:v>21901.0</c:v>
                </c:pt>
                <c:pt idx="23">
                  <c:v>23270.0</c:v>
                </c:pt>
                <c:pt idx="24">
                  <c:v>25450.0</c:v>
                </c:pt>
                <c:pt idx="25">
                  <c:v>23343.0</c:v>
                </c:pt>
                <c:pt idx="26">
                  <c:v>24088.0</c:v>
                </c:pt>
                <c:pt idx="27">
                  <c:v>23656.0</c:v>
                </c:pt>
                <c:pt idx="28">
                  <c:v>23596.0</c:v>
                </c:pt>
                <c:pt idx="29">
                  <c:v>22833.0</c:v>
                </c:pt>
                <c:pt idx="30">
                  <c:v>23085.0</c:v>
                </c:pt>
                <c:pt idx="31">
                  <c:v>21723.0</c:v>
                </c:pt>
                <c:pt idx="32">
                  <c:v>20676.0</c:v>
                </c:pt>
                <c:pt idx="33">
                  <c:v>19846.0</c:v>
                </c:pt>
                <c:pt idx="34">
                  <c:v>17268.0</c:v>
                </c:pt>
                <c:pt idx="35">
                  <c:v>15329.0</c:v>
                </c:pt>
                <c:pt idx="36">
                  <c:v>14595.0</c:v>
                </c:pt>
                <c:pt idx="37">
                  <c:v>14245.0</c:v>
                </c:pt>
                <c:pt idx="38">
                  <c:v>13843.0</c:v>
                </c:pt>
                <c:pt idx="39">
                  <c:v>14396.0</c:v>
                </c:pt>
                <c:pt idx="40">
                  <c:v>14245.0</c:v>
                </c:pt>
                <c:pt idx="41">
                  <c:v>14302.0</c:v>
                </c:pt>
                <c:pt idx="42">
                  <c:v>13666.0</c:v>
                </c:pt>
                <c:pt idx="43">
                  <c:v>14139.0</c:v>
                </c:pt>
                <c:pt idx="44">
                  <c:v>14156.0</c:v>
                </c:pt>
                <c:pt idx="45">
                  <c:v>13736.0</c:v>
                </c:pt>
                <c:pt idx="46">
                  <c:v>14075.0</c:v>
                </c:pt>
                <c:pt idx="47">
                  <c:v>15918.0</c:v>
                </c:pt>
                <c:pt idx="48">
                  <c:v>16324.0</c:v>
                </c:pt>
                <c:pt idx="49">
                  <c:v>16904.0</c:v>
                </c:pt>
                <c:pt idx="50">
                  <c:v>17666.0</c:v>
                </c:pt>
                <c:pt idx="51">
                  <c:v>17943.0</c:v>
                </c:pt>
                <c:pt idx="52">
                  <c:v>17864.0</c:v>
                </c:pt>
                <c:pt idx="53">
                  <c:v>18135.0</c:v>
                </c:pt>
                <c:pt idx="54">
                  <c:v>17220.0</c:v>
                </c:pt>
                <c:pt idx="55">
                  <c:v>17361.0</c:v>
                </c:pt>
                <c:pt idx="56">
                  <c:v>16903.0</c:v>
                </c:pt>
                <c:pt idx="57">
                  <c:v>16973.0</c:v>
                </c:pt>
                <c:pt idx="58">
                  <c:v>16248.0</c:v>
                </c:pt>
                <c:pt idx="59">
                  <c:v>15339.0</c:v>
                </c:pt>
                <c:pt idx="60">
                  <c:v>14618.0</c:v>
                </c:pt>
                <c:pt idx="61">
                  <c:v>13898.0</c:v>
                </c:pt>
                <c:pt idx="62">
                  <c:v>13298.0</c:v>
                </c:pt>
                <c:pt idx="63">
                  <c:v>12834.0</c:v>
                </c:pt>
                <c:pt idx="64">
                  <c:v>13246.0</c:v>
                </c:pt>
                <c:pt idx="65">
                  <c:v>13938.0</c:v>
                </c:pt>
                <c:pt idx="66">
                  <c:v>14280.0</c:v>
                </c:pt>
                <c:pt idx="67">
                  <c:v>15332.0</c:v>
                </c:pt>
                <c:pt idx="68">
                  <c:v>16394.0</c:v>
                </c:pt>
                <c:pt idx="69">
                  <c:v>16610.0</c:v>
                </c:pt>
                <c:pt idx="70">
                  <c:v>16327.0</c:v>
                </c:pt>
                <c:pt idx="71">
                  <c:v>17085.0</c:v>
                </c:pt>
                <c:pt idx="72">
                  <c:v>17865.0</c:v>
                </c:pt>
                <c:pt idx="73">
                  <c:v>18437.0</c:v>
                </c:pt>
                <c:pt idx="74">
                  <c:v>20822.0</c:v>
                </c:pt>
                <c:pt idx="75">
                  <c:v>22531.0</c:v>
                </c:pt>
                <c:pt idx="76">
                  <c:v>20962.0</c:v>
                </c:pt>
                <c:pt idx="77">
                  <c:v>21434.0</c:v>
                </c:pt>
                <c:pt idx="78">
                  <c:v>20660.0</c:v>
                </c:pt>
                <c:pt idx="79">
                  <c:v>20609.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6</c:v>
                </c:pt>
                <c:pt idx="40">
                  <c:v>0.47</c:v>
                </c:pt>
                <c:pt idx="41">
                  <c:v>0.39</c:v>
                </c:pt>
                <c:pt idx="42">
                  <c:v>0.37</c:v>
                </c:pt>
                <c:pt idx="43">
                  <c:v>0.07</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71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5695.0</c:v>
                </c:pt>
                <c:pt idx="40">
                  <c:v>32306.0</c:v>
                </c:pt>
                <c:pt idx="41">
                  <c:v>32628.0</c:v>
                </c:pt>
                <c:pt idx="42">
                  <c:v>31007.0</c:v>
                </c:pt>
                <c:pt idx="43">
                  <c:v>663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6386.0</c:v>
                </c:pt>
                <c:pt idx="1">
                  <c:v>6792.0</c:v>
                </c:pt>
                <c:pt idx="2">
                  <c:v>6229.0</c:v>
                </c:pt>
                <c:pt idx="3">
                  <c:v>5775.0</c:v>
                </c:pt>
                <c:pt idx="4">
                  <c:v>5097.0</c:v>
                </c:pt>
                <c:pt idx="5">
                  <c:v>5523.0</c:v>
                </c:pt>
                <c:pt idx="6">
                  <c:v>7711.0</c:v>
                </c:pt>
                <c:pt idx="7">
                  <c:v>7797.0</c:v>
                </c:pt>
                <c:pt idx="8">
                  <c:v>6006.0</c:v>
                </c:pt>
                <c:pt idx="9">
                  <c:v>6024.0</c:v>
                </c:pt>
                <c:pt idx="10">
                  <c:v>6204.0</c:v>
                </c:pt>
                <c:pt idx="11">
                  <c:v>6868.0</c:v>
                </c:pt>
                <c:pt idx="12">
                  <c:v>10207.0</c:v>
                </c:pt>
                <c:pt idx="13">
                  <c:v>10524.0</c:v>
                </c:pt>
                <c:pt idx="14">
                  <c:v>10443.0</c:v>
                </c:pt>
                <c:pt idx="15">
                  <c:v>10161.0</c:v>
                </c:pt>
                <c:pt idx="16">
                  <c:v>8575.0</c:v>
                </c:pt>
                <c:pt idx="17">
                  <c:v>12378.0</c:v>
                </c:pt>
                <c:pt idx="18">
                  <c:v>10932.0</c:v>
                </c:pt>
                <c:pt idx="19">
                  <c:v>13069.0</c:v>
                </c:pt>
                <c:pt idx="20">
                  <c:v>14677.0</c:v>
                </c:pt>
                <c:pt idx="21">
                  <c:v>24977.0</c:v>
                </c:pt>
                <c:pt idx="22">
                  <c:v>43928.0</c:v>
                </c:pt>
                <c:pt idx="23">
                  <c:v>28617.0</c:v>
                </c:pt>
                <c:pt idx="24">
                  <c:v>30813.0</c:v>
                </c:pt>
                <c:pt idx="25">
                  <c:v>9745.0</c:v>
                </c:pt>
                <c:pt idx="26">
                  <c:v>7486.0</c:v>
                </c:pt>
                <c:pt idx="27">
                  <c:v>7629.0</c:v>
                </c:pt>
                <c:pt idx="28">
                  <c:v>7680.0</c:v>
                </c:pt>
                <c:pt idx="29">
                  <c:v>7770.0</c:v>
                </c:pt>
                <c:pt idx="30">
                  <c:v>10955.0</c:v>
                </c:pt>
                <c:pt idx="31">
                  <c:v>6654.0</c:v>
                </c:pt>
                <c:pt idx="32">
                  <c:v>8596.0</c:v>
                </c:pt>
                <c:pt idx="33">
                  <c:v>8643.0</c:v>
                </c:pt>
                <c:pt idx="34">
                  <c:v>8665.0</c:v>
                </c:pt>
                <c:pt idx="35">
                  <c:v>7320.0</c:v>
                </c:pt>
                <c:pt idx="36">
                  <c:v>10232.0</c:v>
                </c:pt>
                <c:pt idx="37">
                  <c:v>7103.0</c:v>
                </c:pt>
                <c:pt idx="38">
                  <c:v>6849.0</c:v>
                </c:pt>
                <c:pt idx="39">
                  <c:v>1199.0</c:v>
                </c:pt>
                <c:pt idx="40">
                  <c:v>-1.0</c:v>
                </c:pt>
                <c:pt idx="41">
                  <c:v>-2.0</c:v>
                </c:pt>
                <c:pt idx="42">
                  <c:v>0.0</c:v>
                </c:pt>
                <c:pt idx="43">
                  <c:v>9229.0</c:v>
                </c:pt>
                <c:pt idx="44">
                  <c:v>9550.0</c:v>
                </c:pt>
                <c:pt idx="45">
                  <c:v>8904.0</c:v>
                </c:pt>
                <c:pt idx="46">
                  <c:v>13615.0</c:v>
                </c:pt>
                <c:pt idx="47">
                  <c:v>12538.0</c:v>
                </c:pt>
                <c:pt idx="48">
                  <c:v>12876.0</c:v>
                </c:pt>
                <c:pt idx="49">
                  <c:v>10210.0</c:v>
                </c:pt>
                <c:pt idx="50">
                  <c:v>9538.0</c:v>
                </c:pt>
                <c:pt idx="51">
                  <c:v>7498.0</c:v>
                </c:pt>
                <c:pt idx="52">
                  <c:v>8283.0</c:v>
                </c:pt>
                <c:pt idx="53">
                  <c:v>7540.0</c:v>
                </c:pt>
                <c:pt idx="54">
                  <c:v>6867.0</c:v>
                </c:pt>
                <c:pt idx="55">
                  <c:v>7232.0</c:v>
                </c:pt>
                <c:pt idx="56">
                  <c:v>5925.0</c:v>
                </c:pt>
                <c:pt idx="57">
                  <c:v>6972.0</c:v>
                </c:pt>
                <c:pt idx="58">
                  <c:v>7939.0</c:v>
                </c:pt>
                <c:pt idx="59">
                  <c:v>9018.0</c:v>
                </c:pt>
                <c:pt idx="60">
                  <c:v>10948.0</c:v>
                </c:pt>
                <c:pt idx="61">
                  <c:v>7974.0</c:v>
                </c:pt>
                <c:pt idx="62">
                  <c:v>8727.0</c:v>
                </c:pt>
                <c:pt idx="63">
                  <c:v>10861.0</c:v>
                </c:pt>
                <c:pt idx="64">
                  <c:v>10638.0</c:v>
                </c:pt>
                <c:pt idx="65">
                  <c:v>9846.0</c:v>
                </c:pt>
                <c:pt idx="66">
                  <c:v>8797.0</c:v>
                </c:pt>
                <c:pt idx="67">
                  <c:v>8123.0</c:v>
                </c:pt>
                <c:pt idx="68">
                  <c:v>9751.0</c:v>
                </c:pt>
                <c:pt idx="69">
                  <c:v>11666.0</c:v>
                </c:pt>
                <c:pt idx="70">
                  <c:v>9261.0</c:v>
                </c:pt>
                <c:pt idx="71">
                  <c:v>13505.0</c:v>
                </c:pt>
                <c:pt idx="72">
                  <c:v>11813.0</c:v>
                </c:pt>
                <c:pt idx="73">
                  <c:v>14177.0</c:v>
                </c:pt>
                <c:pt idx="74">
                  <c:v>33095.0</c:v>
                </c:pt>
                <c:pt idx="75">
                  <c:v>27266.0</c:v>
                </c:pt>
                <c:pt idx="76">
                  <c:v>4688.0</c:v>
                </c:pt>
                <c:pt idx="77">
                  <c:v>10220.0</c:v>
                </c:pt>
                <c:pt idx="78">
                  <c:v>7932.0</c:v>
                </c:pt>
                <c:pt idx="79">
                  <c:v>779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6386.0</c:v>
                </c:pt>
                <c:pt idx="1">
                  <c:v>6792.0</c:v>
                </c:pt>
                <c:pt idx="2">
                  <c:v>6229.0</c:v>
                </c:pt>
                <c:pt idx="3">
                  <c:v>5775.0</c:v>
                </c:pt>
                <c:pt idx="4">
                  <c:v>5097.0</c:v>
                </c:pt>
                <c:pt idx="5">
                  <c:v>5523.0</c:v>
                </c:pt>
                <c:pt idx="6">
                  <c:v>7711.0</c:v>
                </c:pt>
                <c:pt idx="7">
                  <c:v>7797.0</c:v>
                </c:pt>
                <c:pt idx="8">
                  <c:v>6006.0</c:v>
                </c:pt>
                <c:pt idx="9">
                  <c:v>6024.0</c:v>
                </c:pt>
                <c:pt idx="10">
                  <c:v>6204.0</c:v>
                </c:pt>
                <c:pt idx="11">
                  <c:v>6868.0</c:v>
                </c:pt>
                <c:pt idx="12">
                  <c:v>10207.0</c:v>
                </c:pt>
                <c:pt idx="13">
                  <c:v>10524.0</c:v>
                </c:pt>
                <c:pt idx="14">
                  <c:v>10443.0</c:v>
                </c:pt>
                <c:pt idx="15">
                  <c:v>10161.0</c:v>
                </c:pt>
                <c:pt idx="16">
                  <c:v>8575.0</c:v>
                </c:pt>
                <c:pt idx="17">
                  <c:v>12378.0</c:v>
                </c:pt>
                <c:pt idx="18">
                  <c:v>10932.0</c:v>
                </c:pt>
                <c:pt idx="19">
                  <c:v>13069.0</c:v>
                </c:pt>
                <c:pt idx="20">
                  <c:v>14677.0</c:v>
                </c:pt>
                <c:pt idx="21">
                  <c:v>24977.0</c:v>
                </c:pt>
                <c:pt idx="22">
                  <c:v>43928.0</c:v>
                </c:pt>
                <c:pt idx="23">
                  <c:v>28617.0</c:v>
                </c:pt>
                <c:pt idx="24">
                  <c:v>30813.0</c:v>
                </c:pt>
                <c:pt idx="25">
                  <c:v>9745.0</c:v>
                </c:pt>
                <c:pt idx="26">
                  <c:v>7486.0</c:v>
                </c:pt>
                <c:pt idx="27">
                  <c:v>7629.0</c:v>
                </c:pt>
                <c:pt idx="28">
                  <c:v>7680.0</c:v>
                </c:pt>
                <c:pt idx="29">
                  <c:v>7770.0</c:v>
                </c:pt>
                <c:pt idx="30">
                  <c:v>10955.0</c:v>
                </c:pt>
                <c:pt idx="31">
                  <c:v>6654.0</c:v>
                </c:pt>
                <c:pt idx="32">
                  <c:v>8596.0</c:v>
                </c:pt>
                <c:pt idx="33">
                  <c:v>8643.0</c:v>
                </c:pt>
                <c:pt idx="34">
                  <c:v>8665.0</c:v>
                </c:pt>
                <c:pt idx="35">
                  <c:v>7320.0</c:v>
                </c:pt>
                <c:pt idx="36">
                  <c:v>10232.0</c:v>
                </c:pt>
                <c:pt idx="37">
                  <c:v>7103.0</c:v>
                </c:pt>
                <c:pt idx="38">
                  <c:v>6849.0</c:v>
                </c:pt>
                <c:pt idx="39">
                  <c:v>26894.0</c:v>
                </c:pt>
                <c:pt idx="40">
                  <c:v>32305.0</c:v>
                </c:pt>
                <c:pt idx="41">
                  <c:v>32626.0</c:v>
                </c:pt>
                <c:pt idx="42">
                  <c:v>31007.0</c:v>
                </c:pt>
                <c:pt idx="43">
                  <c:v>15859.0</c:v>
                </c:pt>
                <c:pt idx="44">
                  <c:v>9550.0</c:v>
                </c:pt>
                <c:pt idx="45">
                  <c:v>8904.0</c:v>
                </c:pt>
                <c:pt idx="46">
                  <c:v>13615.0</c:v>
                </c:pt>
                <c:pt idx="47">
                  <c:v>12538.0</c:v>
                </c:pt>
                <c:pt idx="48">
                  <c:v>12876.0</c:v>
                </c:pt>
                <c:pt idx="49">
                  <c:v>10210.0</c:v>
                </c:pt>
                <c:pt idx="50">
                  <c:v>9538.0</c:v>
                </c:pt>
                <c:pt idx="51">
                  <c:v>7498.0</c:v>
                </c:pt>
                <c:pt idx="52">
                  <c:v>8283.0</c:v>
                </c:pt>
                <c:pt idx="53">
                  <c:v>7540.0</c:v>
                </c:pt>
                <c:pt idx="54">
                  <c:v>6867.0</c:v>
                </c:pt>
                <c:pt idx="55">
                  <c:v>7232.0</c:v>
                </c:pt>
                <c:pt idx="56">
                  <c:v>5925.0</c:v>
                </c:pt>
                <c:pt idx="57">
                  <c:v>6972.0</c:v>
                </c:pt>
                <c:pt idx="58">
                  <c:v>7939.0</c:v>
                </c:pt>
                <c:pt idx="59">
                  <c:v>9018.0</c:v>
                </c:pt>
                <c:pt idx="60">
                  <c:v>10948.0</c:v>
                </c:pt>
                <c:pt idx="61">
                  <c:v>7974.0</c:v>
                </c:pt>
                <c:pt idx="62">
                  <c:v>8727.0</c:v>
                </c:pt>
                <c:pt idx="63">
                  <c:v>10861.0</c:v>
                </c:pt>
                <c:pt idx="64">
                  <c:v>10638.0</c:v>
                </c:pt>
                <c:pt idx="65">
                  <c:v>9846.0</c:v>
                </c:pt>
                <c:pt idx="66">
                  <c:v>8797.0</c:v>
                </c:pt>
                <c:pt idx="67">
                  <c:v>8123.0</c:v>
                </c:pt>
                <c:pt idx="68">
                  <c:v>9751.0</c:v>
                </c:pt>
                <c:pt idx="69">
                  <c:v>11666.0</c:v>
                </c:pt>
                <c:pt idx="70">
                  <c:v>9261.0</c:v>
                </c:pt>
                <c:pt idx="71">
                  <c:v>13505.0</c:v>
                </c:pt>
                <c:pt idx="72">
                  <c:v>11813.0</c:v>
                </c:pt>
                <c:pt idx="73">
                  <c:v>14177.0</c:v>
                </c:pt>
                <c:pt idx="74">
                  <c:v>33095.0</c:v>
                </c:pt>
                <c:pt idx="75">
                  <c:v>27266.0</c:v>
                </c:pt>
                <c:pt idx="76">
                  <c:v>4688.0</c:v>
                </c:pt>
                <c:pt idx="77">
                  <c:v>10220.0</c:v>
                </c:pt>
                <c:pt idx="78">
                  <c:v>7932.0</c:v>
                </c:pt>
                <c:pt idx="79">
                  <c:v>779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8430.0</c:v>
                </c:pt>
                <c:pt idx="1">
                  <c:v>8110.0</c:v>
                </c:pt>
                <c:pt idx="2">
                  <c:v>7848.0</c:v>
                </c:pt>
                <c:pt idx="3">
                  <c:v>7844.0</c:v>
                </c:pt>
                <c:pt idx="4">
                  <c:v>7476.0</c:v>
                </c:pt>
                <c:pt idx="5">
                  <c:v>6830.0</c:v>
                </c:pt>
                <c:pt idx="6">
                  <c:v>7116.0</c:v>
                </c:pt>
                <c:pt idx="7">
                  <c:v>7054.0</c:v>
                </c:pt>
                <c:pt idx="8">
                  <c:v>6080.0</c:v>
                </c:pt>
                <c:pt idx="9">
                  <c:v>6546.0</c:v>
                </c:pt>
                <c:pt idx="10">
                  <c:v>6466.0</c:v>
                </c:pt>
                <c:pt idx="11">
                  <c:v>6008.0</c:v>
                </c:pt>
                <c:pt idx="12">
                  <c:v>7174.0</c:v>
                </c:pt>
                <c:pt idx="13">
                  <c:v>7262.0</c:v>
                </c:pt>
                <c:pt idx="14">
                  <c:v>7690.0</c:v>
                </c:pt>
                <c:pt idx="15">
                  <c:v>8072.0</c:v>
                </c:pt>
                <c:pt idx="16">
                  <c:v>8522.0</c:v>
                </c:pt>
                <c:pt idx="17">
                  <c:v>8766.0</c:v>
                </c:pt>
                <c:pt idx="18">
                  <c:v>9380.0</c:v>
                </c:pt>
                <c:pt idx="19">
                  <c:v>10142.0</c:v>
                </c:pt>
                <c:pt idx="20">
                  <c:v>11258.0</c:v>
                </c:pt>
                <c:pt idx="21">
                  <c:v>13064.0</c:v>
                </c:pt>
                <c:pt idx="22">
                  <c:v>16594.0</c:v>
                </c:pt>
                <c:pt idx="23">
                  <c:v>17333.0</c:v>
                </c:pt>
                <c:pt idx="24">
                  <c:v>18843.0</c:v>
                </c:pt>
                <c:pt idx="25">
                  <c:v>17540.0</c:v>
                </c:pt>
                <c:pt idx="26">
                  <c:v>16848.0</c:v>
                </c:pt>
                <c:pt idx="27">
                  <c:v>17610.0</c:v>
                </c:pt>
                <c:pt idx="28">
                  <c:v>16530.0</c:v>
                </c:pt>
                <c:pt idx="29">
                  <c:v>17098.0</c:v>
                </c:pt>
                <c:pt idx="30">
                  <c:v>16626.0</c:v>
                </c:pt>
                <c:pt idx="31">
                  <c:v>15900.0</c:v>
                </c:pt>
                <c:pt idx="32">
                  <c:v>16722.0</c:v>
                </c:pt>
                <c:pt idx="33">
                  <c:v>15414.0</c:v>
                </c:pt>
                <c:pt idx="34">
                  <c:v>12484.0</c:v>
                </c:pt>
                <c:pt idx="35">
                  <c:v>10126.0</c:v>
                </c:pt>
                <c:pt idx="36">
                  <c:v>9642.0</c:v>
                </c:pt>
                <c:pt idx="37">
                  <c:v>8578.0</c:v>
                </c:pt>
                <c:pt idx="38">
                  <c:v>8304.0</c:v>
                </c:pt>
                <c:pt idx="39">
                  <c:v>8658.0</c:v>
                </c:pt>
                <c:pt idx="40">
                  <c:v>9274.0</c:v>
                </c:pt>
                <c:pt idx="41">
                  <c:v>8792.0</c:v>
                </c:pt>
                <c:pt idx="42">
                  <c:v>8480.0</c:v>
                </c:pt>
                <c:pt idx="43">
                  <c:v>8472.0</c:v>
                </c:pt>
                <c:pt idx="44">
                  <c:v>8662.0</c:v>
                </c:pt>
                <c:pt idx="45">
                  <c:v>8552.0</c:v>
                </c:pt>
                <c:pt idx="46">
                  <c:v>9310.0</c:v>
                </c:pt>
                <c:pt idx="47">
                  <c:v>9578.0</c:v>
                </c:pt>
                <c:pt idx="48">
                  <c:v>9676.0</c:v>
                </c:pt>
                <c:pt idx="49">
                  <c:v>9904.0</c:v>
                </c:pt>
                <c:pt idx="50">
                  <c:v>10598.0</c:v>
                </c:pt>
                <c:pt idx="51">
                  <c:v>9678.0</c:v>
                </c:pt>
                <c:pt idx="52">
                  <c:v>9946.0</c:v>
                </c:pt>
                <c:pt idx="53">
                  <c:v>9850.0</c:v>
                </c:pt>
                <c:pt idx="54">
                  <c:v>9276.0</c:v>
                </c:pt>
                <c:pt idx="55">
                  <c:v>9922.0</c:v>
                </c:pt>
                <c:pt idx="56">
                  <c:v>8662.0</c:v>
                </c:pt>
                <c:pt idx="57">
                  <c:v>9124.0</c:v>
                </c:pt>
                <c:pt idx="58">
                  <c:v>8684.0</c:v>
                </c:pt>
                <c:pt idx="59">
                  <c:v>8452.0</c:v>
                </c:pt>
                <c:pt idx="60">
                  <c:v>8504.0</c:v>
                </c:pt>
                <c:pt idx="61">
                  <c:v>7818.0</c:v>
                </c:pt>
                <c:pt idx="62">
                  <c:v>8100.0</c:v>
                </c:pt>
                <c:pt idx="63">
                  <c:v>8008.0</c:v>
                </c:pt>
                <c:pt idx="64">
                  <c:v>8692.0</c:v>
                </c:pt>
                <c:pt idx="65">
                  <c:v>8740.0</c:v>
                </c:pt>
                <c:pt idx="66">
                  <c:v>8402.0</c:v>
                </c:pt>
                <c:pt idx="67">
                  <c:v>8848.0</c:v>
                </c:pt>
                <c:pt idx="68">
                  <c:v>8542.0</c:v>
                </c:pt>
                <c:pt idx="69">
                  <c:v>9856.0</c:v>
                </c:pt>
                <c:pt idx="70">
                  <c:v>9534.0</c:v>
                </c:pt>
                <c:pt idx="71">
                  <c:v>10028.0</c:v>
                </c:pt>
                <c:pt idx="72">
                  <c:v>10150.0</c:v>
                </c:pt>
                <c:pt idx="73">
                  <c:v>11076.0</c:v>
                </c:pt>
                <c:pt idx="74">
                  <c:v>12950.0</c:v>
                </c:pt>
                <c:pt idx="75">
                  <c:v>14754.0</c:v>
                </c:pt>
                <c:pt idx="76">
                  <c:v>13006.0</c:v>
                </c:pt>
                <c:pt idx="77">
                  <c:v>13456.0</c:v>
                </c:pt>
                <c:pt idx="78">
                  <c:v>13358.0</c:v>
                </c:pt>
                <c:pt idx="79">
                  <c:v>13406.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7</c:v>
                </c:pt>
                <c:pt idx="40">
                  <c:v>1.0</c:v>
                </c:pt>
                <c:pt idx="41">
                  <c:v>1.0</c:v>
                </c:pt>
                <c:pt idx="42">
                  <c:v>1.0</c:v>
                </c:pt>
                <c:pt idx="43">
                  <c:v>0.46</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560018191651115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522.0</c:v>
                </c:pt>
                <c:pt idx="40">
                  <c:v>1588.0</c:v>
                </c:pt>
                <c:pt idx="41">
                  <c:v>1742.0</c:v>
                </c:pt>
                <c:pt idx="42">
                  <c:v>1492.0</c:v>
                </c:pt>
                <c:pt idx="43">
                  <c:v>27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688.0</c:v>
                </c:pt>
                <c:pt idx="1">
                  <c:v>163.0</c:v>
                </c:pt>
                <c:pt idx="2">
                  <c:v>287.0</c:v>
                </c:pt>
                <c:pt idx="3">
                  <c:v>301.0</c:v>
                </c:pt>
                <c:pt idx="4">
                  <c:v>282.0</c:v>
                </c:pt>
                <c:pt idx="5">
                  <c:v>416.0</c:v>
                </c:pt>
                <c:pt idx="6">
                  <c:v>464.0</c:v>
                </c:pt>
                <c:pt idx="7">
                  <c:v>636.0</c:v>
                </c:pt>
                <c:pt idx="8">
                  <c:v>359.0</c:v>
                </c:pt>
                <c:pt idx="9">
                  <c:v>526.0</c:v>
                </c:pt>
                <c:pt idx="10">
                  <c:v>961.0</c:v>
                </c:pt>
                <c:pt idx="11">
                  <c:v>961.0</c:v>
                </c:pt>
                <c:pt idx="12">
                  <c:v>415.0</c:v>
                </c:pt>
                <c:pt idx="13">
                  <c:v>798.0</c:v>
                </c:pt>
                <c:pt idx="14">
                  <c:v>1237.0</c:v>
                </c:pt>
                <c:pt idx="15">
                  <c:v>345.0</c:v>
                </c:pt>
                <c:pt idx="16">
                  <c:v>644.0</c:v>
                </c:pt>
                <c:pt idx="17">
                  <c:v>939.0</c:v>
                </c:pt>
                <c:pt idx="18">
                  <c:v>946.0</c:v>
                </c:pt>
                <c:pt idx="19">
                  <c:v>720.0</c:v>
                </c:pt>
                <c:pt idx="20">
                  <c:v>962.0</c:v>
                </c:pt>
                <c:pt idx="21">
                  <c:v>939.0</c:v>
                </c:pt>
                <c:pt idx="22">
                  <c:v>2254.0</c:v>
                </c:pt>
                <c:pt idx="23">
                  <c:v>1175.0</c:v>
                </c:pt>
                <c:pt idx="24">
                  <c:v>1408.0</c:v>
                </c:pt>
                <c:pt idx="25">
                  <c:v>742.0</c:v>
                </c:pt>
                <c:pt idx="26">
                  <c:v>447.0</c:v>
                </c:pt>
                <c:pt idx="27">
                  <c:v>641.0</c:v>
                </c:pt>
                <c:pt idx="28">
                  <c:v>525.0</c:v>
                </c:pt>
                <c:pt idx="29">
                  <c:v>486.0</c:v>
                </c:pt>
                <c:pt idx="30">
                  <c:v>567.0</c:v>
                </c:pt>
                <c:pt idx="31">
                  <c:v>408.0</c:v>
                </c:pt>
                <c:pt idx="32">
                  <c:v>712.0</c:v>
                </c:pt>
                <c:pt idx="33">
                  <c:v>713.0</c:v>
                </c:pt>
                <c:pt idx="34">
                  <c:v>891.0</c:v>
                </c:pt>
                <c:pt idx="35">
                  <c:v>297.0</c:v>
                </c:pt>
                <c:pt idx="36">
                  <c:v>703.0</c:v>
                </c:pt>
                <c:pt idx="37">
                  <c:v>563.0</c:v>
                </c:pt>
                <c:pt idx="38">
                  <c:v>738.0</c:v>
                </c:pt>
                <c:pt idx="39">
                  <c:v>149.0</c:v>
                </c:pt>
                <c:pt idx="40">
                  <c:v>0.0</c:v>
                </c:pt>
                <c:pt idx="41">
                  <c:v>0.0</c:v>
                </c:pt>
                <c:pt idx="42">
                  <c:v>0.0</c:v>
                </c:pt>
                <c:pt idx="43">
                  <c:v>462.0</c:v>
                </c:pt>
                <c:pt idx="44">
                  <c:v>336.0</c:v>
                </c:pt>
                <c:pt idx="45">
                  <c:v>400.0</c:v>
                </c:pt>
                <c:pt idx="46">
                  <c:v>961.0</c:v>
                </c:pt>
                <c:pt idx="47">
                  <c:v>330.0</c:v>
                </c:pt>
                <c:pt idx="48">
                  <c:v>494.0</c:v>
                </c:pt>
                <c:pt idx="49">
                  <c:v>579.0</c:v>
                </c:pt>
                <c:pt idx="50">
                  <c:v>430.0</c:v>
                </c:pt>
                <c:pt idx="51">
                  <c:v>596.0</c:v>
                </c:pt>
                <c:pt idx="52">
                  <c:v>904.0</c:v>
                </c:pt>
                <c:pt idx="53">
                  <c:v>141.0</c:v>
                </c:pt>
                <c:pt idx="54">
                  <c:v>63.0</c:v>
                </c:pt>
                <c:pt idx="55">
                  <c:v>266.0</c:v>
                </c:pt>
                <c:pt idx="56">
                  <c:v>141.0</c:v>
                </c:pt>
                <c:pt idx="57">
                  <c:v>267.0</c:v>
                </c:pt>
                <c:pt idx="58">
                  <c:v>306.0</c:v>
                </c:pt>
                <c:pt idx="59">
                  <c:v>1094.0</c:v>
                </c:pt>
                <c:pt idx="60">
                  <c:v>557.0</c:v>
                </c:pt>
                <c:pt idx="61">
                  <c:v>369.0</c:v>
                </c:pt>
                <c:pt idx="62">
                  <c:v>518.0</c:v>
                </c:pt>
                <c:pt idx="63">
                  <c:v>593.0</c:v>
                </c:pt>
                <c:pt idx="64">
                  <c:v>634.0</c:v>
                </c:pt>
                <c:pt idx="65">
                  <c:v>774.0</c:v>
                </c:pt>
                <c:pt idx="66">
                  <c:v>234.0</c:v>
                </c:pt>
                <c:pt idx="67">
                  <c:v>393.0</c:v>
                </c:pt>
                <c:pt idx="68">
                  <c:v>597.0</c:v>
                </c:pt>
                <c:pt idx="69">
                  <c:v>722.0</c:v>
                </c:pt>
                <c:pt idx="70">
                  <c:v>540.0</c:v>
                </c:pt>
                <c:pt idx="71">
                  <c:v>735.0</c:v>
                </c:pt>
                <c:pt idx="72">
                  <c:v>330.0</c:v>
                </c:pt>
                <c:pt idx="73">
                  <c:v>1221.0</c:v>
                </c:pt>
                <c:pt idx="74">
                  <c:v>1458.0</c:v>
                </c:pt>
                <c:pt idx="75">
                  <c:v>931.0</c:v>
                </c:pt>
                <c:pt idx="76">
                  <c:v>336.0</c:v>
                </c:pt>
                <c:pt idx="77">
                  <c:v>165.0</c:v>
                </c:pt>
                <c:pt idx="78">
                  <c:v>612.0</c:v>
                </c:pt>
                <c:pt idx="79">
                  <c:v>758.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688.0</c:v>
                </c:pt>
                <c:pt idx="1">
                  <c:v>163.0</c:v>
                </c:pt>
                <c:pt idx="2">
                  <c:v>287.0</c:v>
                </c:pt>
                <c:pt idx="3">
                  <c:v>301.0</c:v>
                </c:pt>
                <c:pt idx="4">
                  <c:v>282.0</c:v>
                </c:pt>
                <c:pt idx="5">
                  <c:v>416.0</c:v>
                </c:pt>
                <c:pt idx="6">
                  <c:v>464.0</c:v>
                </c:pt>
                <c:pt idx="7">
                  <c:v>636.0</c:v>
                </c:pt>
                <c:pt idx="8">
                  <c:v>359.0</c:v>
                </c:pt>
                <c:pt idx="9">
                  <c:v>526.0</c:v>
                </c:pt>
                <c:pt idx="10">
                  <c:v>961.0</c:v>
                </c:pt>
                <c:pt idx="11">
                  <c:v>961.0</c:v>
                </c:pt>
                <c:pt idx="12">
                  <c:v>415.0</c:v>
                </c:pt>
                <c:pt idx="13">
                  <c:v>798.0</c:v>
                </c:pt>
                <c:pt idx="14">
                  <c:v>1237.0</c:v>
                </c:pt>
                <c:pt idx="15">
                  <c:v>345.0</c:v>
                </c:pt>
                <c:pt idx="16">
                  <c:v>644.0</c:v>
                </c:pt>
                <c:pt idx="17">
                  <c:v>939.0</c:v>
                </c:pt>
                <c:pt idx="18">
                  <c:v>946.0</c:v>
                </c:pt>
                <c:pt idx="19">
                  <c:v>720.0</c:v>
                </c:pt>
                <c:pt idx="20">
                  <c:v>962.0</c:v>
                </c:pt>
                <c:pt idx="21">
                  <c:v>939.0</c:v>
                </c:pt>
                <c:pt idx="22">
                  <c:v>2254.0</c:v>
                </c:pt>
                <c:pt idx="23">
                  <c:v>1175.0</c:v>
                </c:pt>
                <c:pt idx="24">
                  <c:v>1408.0</c:v>
                </c:pt>
                <c:pt idx="25">
                  <c:v>742.0</c:v>
                </c:pt>
                <c:pt idx="26">
                  <c:v>447.0</c:v>
                </c:pt>
                <c:pt idx="27">
                  <c:v>641.0</c:v>
                </c:pt>
                <c:pt idx="28">
                  <c:v>525.0</c:v>
                </c:pt>
                <c:pt idx="29">
                  <c:v>486.0</c:v>
                </c:pt>
                <c:pt idx="30">
                  <c:v>567.0</c:v>
                </c:pt>
                <c:pt idx="31">
                  <c:v>408.0</c:v>
                </c:pt>
                <c:pt idx="32">
                  <c:v>712.0</c:v>
                </c:pt>
                <c:pt idx="33">
                  <c:v>713.0</c:v>
                </c:pt>
                <c:pt idx="34">
                  <c:v>891.0</c:v>
                </c:pt>
                <c:pt idx="35">
                  <c:v>297.0</c:v>
                </c:pt>
                <c:pt idx="36">
                  <c:v>703.0</c:v>
                </c:pt>
                <c:pt idx="37">
                  <c:v>563.0</c:v>
                </c:pt>
                <c:pt idx="38">
                  <c:v>738.0</c:v>
                </c:pt>
                <c:pt idx="39">
                  <c:v>1671.0</c:v>
                </c:pt>
                <c:pt idx="40">
                  <c:v>1588.0</c:v>
                </c:pt>
                <c:pt idx="41">
                  <c:v>1742.0</c:v>
                </c:pt>
                <c:pt idx="42">
                  <c:v>1492.0</c:v>
                </c:pt>
                <c:pt idx="43">
                  <c:v>738.0</c:v>
                </c:pt>
                <c:pt idx="44">
                  <c:v>336.0</c:v>
                </c:pt>
                <c:pt idx="45">
                  <c:v>400.0</c:v>
                </c:pt>
                <c:pt idx="46">
                  <c:v>961.0</c:v>
                </c:pt>
                <c:pt idx="47">
                  <c:v>330.0</c:v>
                </c:pt>
                <c:pt idx="48">
                  <c:v>494.0</c:v>
                </c:pt>
                <c:pt idx="49">
                  <c:v>579.0</c:v>
                </c:pt>
                <c:pt idx="50">
                  <c:v>430.0</c:v>
                </c:pt>
                <c:pt idx="51">
                  <c:v>596.0</c:v>
                </c:pt>
                <c:pt idx="52">
                  <c:v>904.0</c:v>
                </c:pt>
                <c:pt idx="53">
                  <c:v>141.0</c:v>
                </c:pt>
                <c:pt idx="54">
                  <c:v>63.0</c:v>
                </c:pt>
                <c:pt idx="55">
                  <c:v>266.0</c:v>
                </c:pt>
                <c:pt idx="56">
                  <c:v>141.0</c:v>
                </c:pt>
                <c:pt idx="57">
                  <c:v>267.0</c:v>
                </c:pt>
                <c:pt idx="58">
                  <c:v>306.0</c:v>
                </c:pt>
                <c:pt idx="59">
                  <c:v>1094.0</c:v>
                </c:pt>
                <c:pt idx="60">
                  <c:v>557.0</c:v>
                </c:pt>
                <c:pt idx="61">
                  <c:v>369.0</c:v>
                </c:pt>
                <c:pt idx="62">
                  <c:v>518.0</c:v>
                </c:pt>
                <c:pt idx="63">
                  <c:v>593.0</c:v>
                </c:pt>
                <c:pt idx="64">
                  <c:v>634.0</c:v>
                </c:pt>
                <c:pt idx="65">
                  <c:v>774.0</c:v>
                </c:pt>
                <c:pt idx="66">
                  <c:v>234.0</c:v>
                </c:pt>
                <c:pt idx="67">
                  <c:v>393.0</c:v>
                </c:pt>
                <c:pt idx="68">
                  <c:v>597.0</c:v>
                </c:pt>
                <c:pt idx="69">
                  <c:v>722.0</c:v>
                </c:pt>
                <c:pt idx="70">
                  <c:v>540.0</c:v>
                </c:pt>
                <c:pt idx="71">
                  <c:v>735.0</c:v>
                </c:pt>
                <c:pt idx="72">
                  <c:v>330.0</c:v>
                </c:pt>
                <c:pt idx="73">
                  <c:v>1221.0</c:v>
                </c:pt>
                <c:pt idx="74">
                  <c:v>1458.0</c:v>
                </c:pt>
                <c:pt idx="75">
                  <c:v>931.0</c:v>
                </c:pt>
                <c:pt idx="76">
                  <c:v>336.0</c:v>
                </c:pt>
                <c:pt idx="77">
                  <c:v>165.0</c:v>
                </c:pt>
                <c:pt idx="78">
                  <c:v>612.0</c:v>
                </c:pt>
                <c:pt idx="79">
                  <c:v>758.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602.0</c:v>
                </c:pt>
                <c:pt idx="1">
                  <c:v>526.0</c:v>
                </c:pt>
                <c:pt idx="2">
                  <c:v>484.0</c:v>
                </c:pt>
                <c:pt idx="3">
                  <c:v>388.0</c:v>
                </c:pt>
                <c:pt idx="4">
                  <c:v>570.0</c:v>
                </c:pt>
                <c:pt idx="5">
                  <c:v>398.0</c:v>
                </c:pt>
                <c:pt idx="6">
                  <c:v>398.0</c:v>
                </c:pt>
                <c:pt idx="7">
                  <c:v>656.0</c:v>
                </c:pt>
                <c:pt idx="8">
                  <c:v>354.0</c:v>
                </c:pt>
                <c:pt idx="9">
                  <c:v>612.0</c:v>
                </c:pt>
                <c:pt idx="10">
                  <c:v>570.0</c:v>
                </c:pt>
                <c:pt idx="11">
                  <c:v>440.0</c:v>
                </c:pt>
                <c:pt idx="12">
                  <c:v>526.0</c:v>
                </c:pt>
                <c:pt idx="13">
                  <c:v>484.0</c:v>
                </c:pt>
                <c:pt idx="14">
                  <c:v>742.0</c:v>
                </c:pt>
                <c:pt idx="15">
                  <c:v>570.0</c:v>
                </c:pt>
                <c:pt idx="16">
                  <c:v>680.0</c:v>
                </c:pt>
                <c:pt idx="17">
                  <c:v>636.0</c:v>
                </c:pt>
                <c:pt idx="18">
                  <c:v>852.0</c:v>
                </c:pt>
                <c:pt idx="19">
                  <c:v>722.0</c:v>
                </c:pt>
                <c:pt idx="20">
                  <c:v>938.0</c:v>
                </c:pt>
                <c:pt idx="21">
                  <c:v>808.0</c:v>
                </c:pt>
                <c:pt idx="22">
                  <c:v>1110.0</c:v>
                </c:pt>
                <c:pt idx="23">
                  <c:v>1046.0</c:v>
                </c:pt>
                <c:pt idx="24">
                  <c:v>1120.0</c:v>
                </c:pt>
                <c:pt idx="25">
                  <c:v>1096.0</c:v>
                </c:pt>
                <c:pt idx="26">
                  <c:v>886.0</c:v>
                </c:pt>
                <c:pt idx="27">
                  <c:v>1058.0</c:v>
                </c:pt>
                <c:pt idx="28">
                  <c:v>886.0</c:v>
                </c:pt>
                <c:pt idx="29">
                  <c:v>846.0</c:v>
                </c:pt>
                <c:pt idx="30">
                  <c:v>846.0</c:v>
                </c:pt>
                <c:pt idx="31">
                  <c:v>808.0</c:v>
                </c:pt>
                <c:pt idx="32">
                  <c:v>940.0</c:v>
                </c:pt>
                <c:pt idx="33">
                  <c:v>940.0</c:v>
                </c:pt>
                <c:pt idx="34">
                  <c:v>690.0</c:v>
                </c:pt>
                <c:pt idx="35">
                  <c:v>604.0</c:v>
                </c:pt>
                <c:pt idx="36">
                  <c:v>712.0</c:v>
                </c:pt>
                <c:pt idx="37">
                  <c:v>698.0</c:v>
                </c:pt>
                <c:pt idx="38">
                  <c:v>564.0</c:v>
                </c:pt>
                <c:pt idx="39">
                  <c:v>736.0</c:v>
                </c:pt>
                <c:pt idx="40">
                  <c:v>736.0</c:v>
                </c:pt>
                <c:pt idx="41">
                  <c:v>736.0</c:v>
                </c:pt>
                <c:pt idx="42">
                  <c:v>540.0</c:v>
                </c:pt>
                <c:pt idx="43">
                  <c:v>604.0</c:v>
                </c:pt>
                <c:pt idx="44">
                  <c:v>540.0</c:v>
                </c:pt>
                <c:pt idx="45">
                  <c:v>712.0</c:v>
                </c:pt>
                <c:pt idx="46">
                  <c:v>674.0</c:v>
                </c:pt>
                <c:pt idx="47">
                  <c:v>502.0</c:v>
                </c:pt>
                <c:pt idx="48">
                  <c:v>698.0</c:v>
                </c:pt>
                <c:pt idx="49">
                  <c:v>526.0</c:v>
                </c:pt>
                <c:pt idx="50">
                  <c:v>634.0</c:v>
                </c:pt>
                <c:pt idx="51">
                  <c:v>634.0</c:v>
                </c:pt>
                <c:pt idx="52">
                  <c:v>658.0</c:v>
                </c:pt>
                <c:pt idx="53">
                  <c:v>486.0</c:v>
                </c:pt>
                <c:pt idx="54">
                  <c:v>424.0</c:v>
                </c:pt>
                <c:pt idx="55">
                  <c:v>556.0</c:v>
                </c:pt>
                <c:pt idx="56">
                  <c:v>346.0</c:v>
                </c:pt>
                <c:pt idx="57">
                  <c:v>384.0</c:v>
                </c:pt>
                <c:pt idx="58">
                  <c:v>306.0</c:v>
                </c:pt>
                <c:pt idx="59">
                  <c:v>470.0</c:v>
                </c:pt>
                <c:pt idx="60">
                  <c:v>470.0</c:v>
                </c:pt>
                <c:pt idx="61">
                  <c:v>384.0</c:v>
                </c:pt>
                <c:pt idx="62">
                  <c:v>494.0</c:v>
                </c:pt>
                <c:pt idx="63">
                  <c:v>398.0</c:v>
                </c:pt>
                <c:pt idx="64">
                  <c:v>470.0</c:v>
                </c:pt>
                <c:pt idx="65">
                  <c:v>556.0</c:v>
                </c:pt>
                <c:pt idx="66">
                  <c:v>352.0</c:v>
                </c:pt>
                <c:pt idx="67">
                  <c:v>424.0</c:v>
                </c:pt>
                <c:pt idx="68">
                  <c:v>486.0</c:v>
                </c:pt>
                <c:pt idx="69">
                  <c:v>572.0</c:v>
                </c:pt>
                <c:pt idx="70">
                  <c:v>526.0</c:v>
                </c:pt>
                <c:pt idx="71">
                  <c:v>486.0</c:v>
                </c:pt>
                <c:pt idx="72">
                  <c:v>486.0</c:v>
                </c:pt>
                <c:pt idx="73">
                  <c:v>698.0</c:v>
                </c:pt>
                <c:pt idx="74">
                  <c:v>628.0</c:v>
                </c:pt>
                <c:pt idx="75">
                  <c:v>800.0</c:v>
                </c:pt>
                <c:pt idx="76">
                  <c:v>628.0</c:v>
                </c:pt>
                <c:pt idx="77">
                  <c:v>588.0</c:v>
                </c:pt>
                <c:pt idx="78">
                  <c:v>628.0</c:v>
                </c:pt>
                <c:pt idx="79">
                  <c:v>83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5</c:v>
                </c:pt>
                <c:pt idx="40">
                  <c:v>1.0</c:v>
                </c:pt>
                <c:pt idx="41">
                  <c:v>1.0</c:v>
                </c:pt>
                <c:pt idx="42">
                  <c:v>1.0</c:v>
                </c:pt>
                <c:pt idx="43">
                  <c:v>0.38</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308.0</c:v>
                </c:pt>
                <c:pt idx="40">
                  <c:v>2272.0</c:v>
                </c:pt>
                <c:pt idx="41">
                  <c:v>2248.0</c:v>
                </c:pt>
                <c:pt idx="42">
                  <c:v>5702.0</c:v>
                </c:pt>
                <c:pt idx="43">
                  <c:v>151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483.0</c:v>
                </c:pt>
                <c:pt idx="1">
                  <c:v>722.0</c:v>
                </c:pt>
                <c:pt idx="2">
                  <c:v>1128.0</c:v>
                </c:pt>
                <c:pt idx="3">
                  <c:v>985.0</c:v>
                </c:pt>
                <c:pt idx="4">
                  <c:v>889.0</c:v>
                </c:pt>
                <c:pt idx="5">
                  <c:v>932.0</c:v>
                </c:pt>
                <c:pt idx="6">
                  <c:v>1582.0</c:v>
                </c:pt>
                <c:pt idx="7">
                  <c:v>674.0</c:v>
                </c:pt>
                <c:pt idx="8">
                  <c:v>727.0</c:v>
                </c:pt>
                <c:pt idx="9">
                  <c:v>660.0</c:v>
                </c:pt>
                <c:pt idx="10">
                  <c:v>349.0</c:v>
                </c:pt>
                <c:pt idx="11">
                  <c:v>383.0</c:v>
                </c:pt>
                <c:pt idx="12">
                  <c:v>1143.0</c:v>
                </c:pt>
                <c:pt idx="13">
                  <c:v>1253.0</c:v>
                </c:pt>
                <c:pt idx="14">
                  <c:v>1031.0</c:v>
                </c:pt>
                <c:pt idx="15">
                  <c:v>555.0</c:v>
                </c:pt>
                <c:pt idx="16">
                  <c:v>360.0</c:v>
                </c:pt>
                <c:pt idx="17">
                  <c:v>510.0</c:v>
                </c:pt>
                <c:pt idx="18">
                  <c:v>555.0</c:v>
                </c:pt>
                <c:pt idx="19">
                  <c:v>969.0</c:v>
                </c:pt>
                <c:pt idx="20">
                  <c:v>2162.0</c:v>
                </c:pt>
                <c:pt idx="21">
                  <c:v>2819.0</c:v>
                </c:pt>
                <c:pt idx="22">
                  <c:v>5007.0</c:v>
                </c:pt>
                <c:pt idx="23">
                  <c:v>2840.0</c:v>
                </c:pt>
                <c:pt idx="24">
                  <c:v>2555.0</c:v>
                </c:pt>
                <c:pt idx="25">
                  <c:v>1266.0</c:v>
                </c:pt>
                <c:pt idx="26">
                  <c:v>597.0</c:v>
                </c:pt>
                <c:pt idx="27">
                  <c:v>485.0</c:v>
                </c:pt>
                <c:pt idx="28">
                  <c:v>573.0</c:v>
                </c:pt>
                <c:pt idx="29">
                  <c:v>675.0</c:v>
                </c:pt>
                <c:pt idx="30">
                  <c:v>1551.0</c:v>
                </c:pt>
                <c:pt idx="31">
                  <c:v>354.0</c:v>
                </c:pt>
                <c:pt idx="32">
                  <c:v>252.0</c:v>
                </c:pt>
                <c:pt idx="33">
                  <c:v>614.0</c:v>
                </c:pt>
                <c:pt idx="34">
                  <c:v>446.0</c:v>
                </c:pt>
                <c:pt idx="35">
                  <c:v>758.0</c:v>
                </c:pt>
                <c:pt idx="36">
                  <c:v>962.0</c:v>
                </c:pt>
                <c:pt idx="37">
                  <c:v>828.0</c:v>
                </c:pt>
                <c:pt idx="38">
                  <c:v>768.0</c:v>
                </c:pt>
                <c:pt idx="39">
                  <c:v>78.0</c:v>
                </c:pt>
                <c:pt idx="40">
                  <c:v>0.0</c:v>
                </c:pt>
                <c:pt idx="41">
                  <c:v>0.0</c:v>
                </c:pt>
                <c:pt idx="42">
                  <c:v>0.0</c:v>
                </c:pt>
                <c:pt idx="43">
                  <c:v>812.0</c:v>
                </c:pt>
                <c:pt idx="44">
                  <c:v>1430.0</c:v>
                </c:pt>
                <c:pt idx="45">
                  <c:v>814.0</c:v>
                </c:pt>
                <c:pt idx="46">
                  <c:v>1369.0</c:v>
                </c:pt>
                <c:pt idx="47">
                  <c:v>752.0</c:v>
                </c:pt>
                <c:pt idx="48">
                  <c:v>1026.0</c:v>
                </c:pt>
                <c:pt idx="49">
                  <c:v>1097.0</c:v>
                </c:pt>
                <c:pt idx="50">
                  <c:v>1293.0</c:v>
                </c:pt>
                <c:pt idx="51">
                  <c:v>800.0</c:v>
                </c:pt>
                <c:pt idx="52">
                  <c:v>821.0</c:v>
                </c:pt>
                <c:pt idx="53">
                  <c:v>1097.0</c:v>
                </c:pt>
                <c:pt idx="54">
                  <c:v>993.0</c:v>
                </c:pt>
                <c:pt idx="55">
                  <c:v>1870.0</c:v>
                </c:pt>
                <c:pt idx="56">
                  <c:v>1497.0</c:v>
                </c:pt>
                <c:pt idx="57">
                  <c:v>2088.0</c:v>
                </c:pt>
                <c:pt idx="58">
                  <c:v>767.0</c:v>
                </c:pt>
                <c:pt idx="59">
                  <c:v>845.0</c:v>
                </c:pt>
                <c:pt idx="60">
                  <c:v>525.0</c:v>
                </c:pt>
                <c:pt idx="61">
                  <c:v>1056.0</c:v>
                </c:pt>
                <c:pt idx="62">
                  <c:v>675.0</c:v>
                </c:pt>
                <c:pt idx="63">
                  <c:v>1035.0</c:v>
                </c:pt>
                <c:pt idx="64">
                  <c:v>1426.0</c:v>
                </c:pt>
                <c:pt idx="65">
                  <c:v>684.0</c:v>
                </c:pt>
                <c:pt idx="66">
                  <c:v>972.0</c:v>
                </c:pt>
                <c:pt idx="67">
                  <c:v>659.0</c:v>
                </c:pt>
                <c:pt idx="68">
                  <c:v>635.0</c:v>
                </c:pt>
                <c:pt idx="69">
                  <c:v>1826.0</c:v>
                </c:pt>
                <c:pt idx="70">
                  <c:v>666.0</c:v>
                </c:pt>
                <c:pt idx="71">
                  <c:v>1494.0</c:v>
                </c:pt>
                <c:pt idx="72">
                  <c:v>1901.0</c:v>
                </c:pt>
                <c:pt idx="73">
                  <c:v>1744.0</c:v>
                </c:pt>
                <c:pt idx="74">
                  <c:v>3652.0</c:v>
                </c:pt>
                <c:pt idx="75">
                  <c:v>2059.0</c:v>
                </c:pt>
                <c:pt idx="76">
                  <c:v>1001.0</c:v>
                </c:pt>
                <c:pt idx="77">
                  <c:v>1548.0</c:v>
                </c:pt>
                <c:pt idx="78">
                  <c:v>1073.0</c:v>
                </c:pt>
                <c:pt idx="79">
                  <c:v>84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483.0</c:v>
                </c:pt>
                <c:pt idx="1">
                  <c:v>722.0</c:v>
                </c:pt>
                <c:pt idx="2">
                  <c:v>1128.0</c:v>
                </c:pt>
                <c:pt idx="3">
                  <c:v>985.0</c:v>
                </c:pt>
                <c:pt idx="4">
                  <c:v>889.0</c:v>
                </c:pt>
                <c:pt idx="5">
                  <c:v>932.0</c:v>
                </c:pt>
                <c:pt idx="6">
                  <c:v>1582.0</c:v>
                </c:pt>
                <c:pt idx="7">
                  <c:v>674.0</c:v>
                </c:pt>
                <c:pt idx="8">
                  <c:v>727.0</c:v>
                </c:pt>
                <c:pt idx="9">
                  <c:v>660.0</c:v>
                </c:pt>
                <c:pt idx="10">
                  <c:v>349.0</c:v>
                </c:pt>
                <c:pt idx="11">
                  <c:v>383.0</c:v>
                </c:pt>
                <c:pt idx="12">
                  <c:v>1143.0</c:v>
                </c:pt>
                <c:pt idx="13">
                  <c:v>1253.0</c:v>
                </c:pt>
                <c:pt idx="14">
                  <c:v>1031.0</c:v>
                </c:pt>
                <c:pt idx="15">
                  <c:v>555.0</c:v>
                </c:pt>
                <c:pt idx="16">
                  <c:v>360.0</c:v>
                </c:pt>
                <c:pt idx="17">
                  <c:v>510.0</c:v>
                </c:pt>
                <c:pt idx="18">
                  <c:v>555.0</c:v>
                </c:pt>
                <c:pt idx="19">
                  <c:v>969.0</c:v>
                </c:pt>
                <c:pt idx="20">
                  <c:v>2162.0</c:v>
                </c:pt>
                <c:pt idx="21">
                  <c:v>2819.0</c:v>
                </c:pt>
                <c:pt idx="22">
                  <c:v>5007.0</c:v>
                </c:pt>
                <c:pt idx="23">
                  <c:v>2840.0</c:v>
                </c:pt>
                <c:pt idx="24">
                  <c:v>2555.0</c:v>
                </c:pt>
                <c:pt idx="25">
                  <c:v>1266.0</c:v>
                </c:pt>
                <c:pt idx="26">
                  <c:v>597.0</c:v>
                </c:pt>
                <c:pt idx="27">
                  <c:v>485.0</c:v>
                </c:pt>
                <c:pt idx="28">
                  <c:v>573.0</c:v>
                </c:pt>
                <c:pt idx="29">
                  <c:v>675.0</c:v>
                </c:pt>
                <c:pt idx="30">
                  <c:v>1551.0</c:v>
                </c:pt>
                <c:pt idx="31">
                  <c:v>354.0</c:v>
                </c:pt>
                <c:pt idx="32">
                  <c:v>252.0</c:v>
                </c:pt>
                <c:pt idx="33">
                  <c:v>614.0</c:v>
                </c:pt>
                <c:pt idx="34">
                  <c:v>446.0</c:v>
                </c:pt>
                <c:pt idx="35">
                  <c:v>758.0</c:v>
                </c:pt>
                <c:pt idx="36">
                  <c:v>962.0</c:v>
                </c:pt>
                <c:pt idx="37">
                  <c:v>828.0</c:v>
                </c:pt>
                <c:pt idx="38">
                  <c:v>768.0</c:v>
                </c:pt>
                <c:pt idx="39">
                  <c:v>2386.0</c:v>
                </c:pt>
                <c:pt idx="40">
                  <c:v>2272.0</c:v>
                </c:pt>
                <c:pt idx="41">
                  <c:v>2248.0</c:v>
                </c:pt>
                <c:pt idx="42">
                  <c:v>5702.0</c:v>
                </c:pt>
                <c:pt idx="43">
                  <c:v>2324.0</c:v>
                </c:pt>
                <c:pt idx="44">
                  <c:v>1430.0</c:v>
                </c:pt>
                <c:pt idx="45">
                  <c:v>814.0</c:v>
                </c:pt>
                <c:pt idx="46">
                  <c:v>1369.0</c:v>
                </c:pt>
                <c:pt idx="47">
                  <c:v>752.0</c:v>
                </c:pt>
                <c:pt idx="48">
                  <c:v>1026.0</c:v>
                </c:pt>
                <c:pt idx="49">
                  <c:v>1097.0</c:v>
                </c:pt>
                <c:pt idx="50">
                  <c:v>1293.0</c:v>
                </c:pt>
                <c:pt idx="51">
                  <c:v>800.0</c:v>
                </c:pt>
                <c:pt idx="52">
                  <c:v>821.0</c:v>
                </c:pt>
                <c:pt idx="53">
                  <c:v>1097.0</c:v>
                </c:pt>
                <c:pt idx="54">
                  <c:v>993.0</c:v>
                </c:pt>
                <c:pt idx="55">
                  <c:v>1870.0</c:v>
                </c:pt>
                <c:pt idx="56">
                  <c:v>1497.0</c:v>
                </c:pt>
                <c:pt idx="57">
                  <c:v>2088.0</c:v>
                </c:pt>
                <c:pt idx="58">
                  <c:v>767.0</c:v>
                </c:pt>
                <c:pt idx="59">
                  <c:v>845.0</c:v>
                </c:pt>
                <c:pt idx="60">
                  <c:v>525.0</c:v>
                </c:pt>
                <c:pt idx="61">
                  <c:v>1056.0</c:v>
                </c:pt>
                <c:pt idx="62">
                  <c:v>675.0</c:v>
                </c:pt>
                <c:pt idx="63">
                  <c:v>1035.0</c:v>
                </c:pt>
                <c:pt idx="64">
                  <c:v>1426.0</c:v>
                </c:pt>
                <c:pt idx="65">
                  <c:v>684.0</c:v>
                </c:pt>
                <c:pt idx="66">
                  <c:v>972.0</c:v>
                </c:pt>
                <c:pt idx="67">
                  <c:v>659.0</c:v>
                </c:pt>
                <c:pt idx="68">
                  <c:v>635.0</c:v>
                </c:pt>
                <c:pt idx="69">
                  <c:v>1826.0</c:v>
                </c:pt>
                <c:pt idx="70">
                  <c:v>666.0</c:v>
                </c:pt>
                <c:pt idx="71">
                  <c:v>1494.0</c:v>
                </c:pt>
                <c:pt idx="72">
                  <c:v>1901.0</c:v>
                </c:pt>
                <c:pt idx="73">
                  <c:v>1744.0</c:v>
                </c:pt>
                <c:pt idx="74">
                  <c:v>3652.0</c:v>
                </c:pt>
                <c:pt idx="75">
                  <c:v>2059.0</c:v>
                </c:pt>
                <c:pt idx="76">
                  <c:v>1001.0</c:v>
                </c:pt>
                <c:pt idx="77">
                  <c:v>1548.0</c:v>
                </c:pt>
                <c:pt idx="78">
                  <c:v>1073.0</c:v>
                </c:pt>
                <c:pt idx="79">
                  <c:v>84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766.0</c:v>
                </c:pt>
                <c:pt idx="1">
                  <c:v>722.0</c:v>
                </c:pt>
                <c:pt idx="2">
                  <c:v>594.0</c:v>
                </c:pt>
                <c:pt idx="3">
                  <c:v>896.0</c:v>
                </c:pt>
                <c:pt idx="4">
                  <c:v>938.0</c:v>
                </c:pt>
                <c:pt idx="5">
                  <c:v>808.0</c:v>
                </c:pt>
                <c:pt idx="6">
                  <c:v>1024.0</c:v>
                </c:pt>
                <c:pt idx="7">
                  <c:v>722.0</c:v>
                </c:pt>
                <c:pt idx="8">
                  <c:v>852.0</c:v>
                </c:pt>
                <c:pt idx="9">
                  <c:v>894.0</c:v>
                </c:pt>
                <c:pt idx="10">
                  <c:v>766.0</c:v>
                </c:pt>
                <c:pt idx="11">
                  <c:v>766.0</c:v>
                </c:pt>
                <c:pt idx="12">
                  <c:v>894.0</c:v>
                </c:pt>
                <c:pt idx="13">
                  <c:v>938.0</c:v>
                </c:pt>
                <c:pt idx="14">
                  <c:v>938.0</c:v>
                </c:pt>
                <c:pt idx="15">
                  <c:v>698.0</c:v>
                </c:pt>
                <c:pt idx="16">
                  <c:v>698.0</c:v>
                </c:pt>
                <c:pt idx="17">
                  <c:v>656.0</c:v>
                </c:pt>
                <c:pt idx="18">
                  <c:v>612.0</c:v>
                </c:pt>
                <c:pt idx="19">
                  <c:v>656.0</c:v>
                </c:pt>
                <c:pt idx="20">
                  <c:v>1000.0</c:v>
                </c:pt>
                <c:pt idx="21">
                  <c:v>1216.0</c:v>
                </c:pt>
                <c:pt idx="22">
                  <c:v>1560.0</c:v>
                </c:pt>
                <c:pt idx="23">
                  <c:v>1720.0</c:v>
                </c:pt>
                <c:pt idx="24">
                  <c:v>1720.0</c:v>
                </c:pt>
                <c:pt idx="25">
                  <c:v>1588.0</c:v>
                </c:pt>
                <c:pt idx="26">
                  <c:v>1678.0</c:v>
                </c:pt>
                <c:pt idx="27">
                  <c:v>1720.0</c:v>
                </c:pt>
                <c:pt idx="28">
                  <c:v>1572.0</c:v>
                </c:pt>
                <c:pt idx="29">
                  <c:v>1702.0</c:v>
                </c:pt>
                <c:pt idx="30">
                  <c:v>1674.0</c:v>
                </c:pt>
                <c:pt idx="31">
                  <c:v>1636.0</c:v>
                </c:pt>
                <c:pt idx="32">
                  <c:v>1480.0</c:v>
                </c:pt>
                <c:pt idx="33">
                  <c:v>1456.0</c:v>
                </c:pt>
                <c:pt idx="34">
                  <c:v>1230.0</c:v>
                </c:pt>
                <c:pt idx="35">
                  <c:v>940.0</c:v>
                </c:pt>
                <c:pt idx="36">
                  <c:v>752.0</c:v>
                </c:pt>
                <c:pt idx="37">
                  <c:v>714.0</c:v>
                </c:pt>
                <c:pt idx="38">
                  <c:v>706.0</c:v>
                </c:pt>
                <c:pt idx="39">
                  <c:v>752.0</c:v>
                </c:pt>
                <c:pt idx="40">
                  <c:v>916.0</c:v>
                </c:pt>
                <c:pt idx="41">
                  <c:v>916.0</c:v>
                </c:pt>
                <c:pt idx="42">
                  <c:v>736.0</c:v>
                </c:pt>
                <c:pt idx="43">
                  <c:v>666.0</c:v>
                </c:pt>
                <c:pt idx="44">
                  <c:v>768.0</c:v>
                </c:pt>
                <c:pt idx="45">
                  <c:v>806.0</c:v>
                </c:pt>
                <c:pt idx="46">
                  <c:v>846.0</c:v>
                </c:pt>
                <c:pt idx="47">
                  <c:v>932.0</c:v>
                </c:pt>
                <c:pt idx="48">
                  <c:v>916.0</c:v>
                </c:pt>
                <c:pt idx="49">
                  <c:v>956.0</c:v>
                </c:pt>
                <c:pt idx="50">
                  <c:v>956.0</c:v>
                </c:pt>
                <c:pt idx="51">
                  <c:v>956.0</c:v>
                </c:pt>
                <c:pt idx="52">
                  <c:v>956.0</c:v>
                </c:pt>
                <c:pt idx="53">
                  <c:v>956.0</c:v>
                </c:pt>
                <c:pt idx="54">
                  <c:v>822.0</c:v>
                </c:pt>
                <c:pt idx="55">
                  <c:v>1222.0</c:v>
                </c:pt>
                <c:pt idx="56">
                  <c:v>886.0</c:v>
                </c:pt>
                <c:pt idx="57">
                  <c:v>1362.0</c:v>
                </c:pt>
                <c:pt idx="58">
                  <c:v>1246.0</c:v>
                </c:pt>
                <c:pt idx="59">
                  <c:v>1246.0</c:v>
                </c:pt>
                <c:pt idx="60">
                  <c:v>964.0</c:v>
                </c:pt>
                <c:pt idx="61">
                  <c:v>1222.0</c:v>
                </c:pt>
                <c:pt idx="62">
                  <c:v>924.0</c:v>
                </c:pt>
                <c:pt idx="63">
                  <c:v>1222.0</c:v>
                </c:pt>
                <c:pt idx="64">
                  <c:v>1246.0</c:v>
                </c:pt>
                <c:pt idx="65">
                  <c:v>988.0</c:v>
                </c:pt>
                <c:pt idx="66">
                  <c:v>988.0</c:v>
                </c:pt>
                <c:pt idx="67">
                  <c:v>1168.0</c:v>
                </c:pt>
                <c:pt idx="68">
                  <c:v>1018.0</c:v>
                </c:pt>
                <c:pt idx="69">
                  <c:v>1018.0</c:v>
                </c:pt>
                <c:pt idx="70">
                  <c:v>846.0</c:v>
                </c:pt>
                <c:pt idx="71">
                  <c:v>886.0</c:v>
                </c:pt>
                <c:pt idx="72">
                  <c:v>1136.0</c:v>
                </c:pt>
                <c:pt idx="73">
                  <c:v>1238.0</c:v>
                </c:pt>
                <c:pt idx="74">
                  <c:v>1432.0</c:v>
                </c:pt>
                <c:pt idx="75">
                  <c:v>1534.0</c:v>
                </c:pt>
                <c:pt idx="76">
                  <c:v>1496.0</c:v>
                </c:pt>
                <c:pt idx="77">
                  <c:v>1534.0</c:v>
                </c:pt>
                <c:pt idx="78">
                  <c:v>1534.0</c:v>
                </c:pt>
                <c:pt idx="79">
                  <c:v>153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8</c:v>
                </c:pt>
                <c:pt idx="40">
                  <c:v>1.0</c:v>
                </c:pt>
                <c:pt idx="41">
                  <c:v>1.0</c:v>
                </c:pt>
                <c:pt idx="42">
                  <c:v>1.0</c:v>
                </c:pt>
                <c:pt idx="43">
                  <c:v>0.69</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860.0</c:v>
                </c:pt>
                <c:pt idx="40">
                  <c:v>1636.0</c:v>
                </c:pt>
                <c:pt idx="41">
                  <c:v>1126.0</c:v>
                </c:pt>
                <c:pt idx="42">
                  <c:v>1300.0</c:v>
                </c:pt>
                <c:pt idx="43">
                  <c:v>27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49.0</c:v>
                </c:pt>
                <c:pt idx="1">
                  <c:v>521.0</c:v>
                </c:pt>
                <c:pt idx="2">
                  <c:v>545.0</c:v>
                </c:pt>
                <c:pt idx="3">
                  <c:v>703.0</c:v>
                </c:pt>
                <c:pt idx="4">
                  <c:v>512.0</c:v>
                </c:pt>
                <c:pt idx="5">
                  <c:v>158.0</c:v>
                </c:pt>
                <c:pt idx="6">
                  <c:v>263.0</c:v>
                </c:pt>
                <c:pt idx="7">
                  <c:v>153.0</c:v>
                </c:pt>
                <c:pt idx="8">
                  <c:v>392.0</c:v>
                </c:pt>
                <c:pt idx="9">
                  <c:v>478.0</c:v>
                </c:pt>
                <c:pt idx="10">
                  <c:v>134.0</c:v>
                </c:pt>
                <c:pt idx="11">
                  <c:v>244.0</c:v>
                </c:pt>
                <c:pt idx="12">
                  <c:v>325.0</c:v>
                </c:pt>
                <c:pt idx="13">
                  <c:v>126.0</c:v>
                </c:pt>
                <c:pt idx="14">
                  <c:v>486.0</c:v>
                </c:pt>
                <c:pt idx="15">
                  <c:v>587.0</c:v>
                </c:pt>
                <c:pt idx="16">
                  <c:v>403.0</c:v>
                </c:pt>
                <c:pt idx="17">
                  <c:v>438.0</c:v>
                </c:pt>
                <c:pt idx="18">
                  <c:v>237.0</c:v>
                </c:pt>
                <c:pt idx="19">
                  <c:v>495.0</c:v>
                </c:pt>
                <c:pt idx="20">
                  <c:v>610.0</c:v>
                </c:pt>
                <c:pt idx="21">
                  <c:v>1704.0</c:v>
                </c:pt>
                <c:pt idx="22">
                  <c:v>2126.0</c:v>
                </c:pt>
                <c:pt idx="23">
                  <c:v>2470.0</c:v>
                </c:pt>
                <c:pt idx="24">
                  <c:v>2095.0</c:v>
                </c:pt>
                <c:pt idx="25">
                  <c:v>329.0</c:v>
                </c:pt>
                <c:pt idx="26">
                  <c:v>297.0</c:v>
                </c:pt>
                <c:pt idx="27">
                  <c:v>620.0</c:v>
                </c:pt>
                <c:pt idx="28">
                  <c:v>339.0</c:v>
                </c:pt>
                <c:pt idx="29">
                  <c:v>667.0</c:v>
                </c:pt>
                <c:pt idx="30">
                  <c:v>612.0</c:v>
                </c:pt>
                <c:pt idx="31">
                  <c:v>219.0</c:v>
                </c:pt>
                <c:pt idx="32">
                  <c:v>640.0</c:v>
                </c:pt>
                <c:pt idx="33">
                  <c:v>329.0</c:v>
                </c:pt>
                <c:pt idx="34">
                  <c:v>751.0</c:v>
                </c:pt>
                <c:pt idx="35">
                  <c:v>290.0</c:v>
                </c:pt>
                <c:pt idx="36">
                  <c:v>704.0</c:v>
                </c:pt>
                <c:pt idx="37">
                  <c:v>368.0</c:v>
                </c:pt>
                <c:pt idx="38">
                  <c:v>360.0</c:v>
                </c:pt>
                <c:pt idx="39">
                  <c:v>24.0</c:v>
                </c:pt>
                <c:pt idx="40">
                  <c:v>0.0</c:v>
                </c:pt>
                <c:pt idx="41">
                  <c:v>0.0</c:v>
                </c:pt>
                <c:pt idx="42">
                  <c:v>0.0</c:v>
                </c:pt>
                <c:pt idx="43">
                  <c:v>672.0</c:v>
                </c:pt>
                <c:pt idx="44">
                  <c:v>383.0</c:v>
                </c:pt>
                <c:pt idx="45">
                  <c:v>610.0</c:v>
                </c:pt>
                <c:pt idx="46">
                  <c:v>267.0</c:v>
                </c:pt>
                <c:pt idx="47">
                  <c:v>743.0</c:v>
                </c:pt>
                <c:pt idx="48">
                  <c:v>579.0</c:v>
                </c:pt>
                <c:pt idx="49">
                  <c:v>549.0</c:v>
                </c:pt>
                <c:pt idx="50">
                  <c:v>383.0</c:v>
                </c:pt>
                <c:pt idx="51">
                  <c:v>369.0</c:v>
                </c:pt>
                <c:pt idx="52">
                  <c:v>165.0</c:v>
                </c:pt>
                <c:pt idx="53">
                  <c:v>367.0</c:v>
                </c:pt>
                <c:pt idx="54">
                  <c:v>141.0</c:v>
                </c:pt>
                <c:pt idx="55">
                  <c:v>235.0</c:v>
                </c:pt>
                <c:pt idx="56">
                  <c:v>321.0</c:v>
                </c:pt>
                <c:pt idx="57">
                  <c:v>547.0</c:v>
                </c:pt>
                <c:pt idx="58">
                  <c:v>492.0</c:v>
                </c:pt>
                <c:pt idx="59">
                  <c:v>345.0</c:v>
                </c:pt>
                <c:pt idx="60">
                  <c:v>282.0</c:v>
                </c:pt>
                <c:pt idx="61">
                  <c:v>503.0</c:v>
                </c:pt>
                <c:pt idx="62">
                  <c:v>383.0</c:v>
                </c:pt>
                <c:pt idx="63">
                  <c:v>501.0</c:v>
                </c:pt>
                <c:pt idx="64">
                  <c:v>495.0</c:v>
                </c:pt>
                <c:pt idx="65">
                  <c:v>476.0</c:v>
                </c:pt>
                <c:pt idx="66">
                  <c:v>526.0</c:v>
                </c:pt>
                <c:pt idx="67">
                  <c:v>189.0</c:v>
                </c:pt>
                <c:pt idx="68">
                  <c:v>609.0</c:v>
                </c:pt>
                <c:pt idx="69">
                  <c:v>407.0</c:v>
                </c:pt>
                <c:pt idx="70">
                  <c:v>336.0</c:v>
                </c:pt>
                <c:pt idx="71">
                  <c:v>484.0</c:v>
                </c:pt>
                <c:pt idx="72">
                  <c:v>470.0</c:v>
                </c:pt>
                <c:pt idx="73">
                  <c:v>798.0</c:v>
                </c:pt>
                <c:pt idx="74">
                  <c:v>1708.0</c:v>
                </c:pt>
                <c:pt idx="75">
                  <c:v>1864.0</c:v>
                </c:pt>
                <c:pt idx="76">
                  <c:v>351.0</c:v>
                </c:pt>
                <c:pt idx="77">
                  <c:v>344.0</c:v>
                </c:pt>
                <c:pt idx="78">
                  <c:v>673.0</c:v>
                </c:pt>
                <c:pt idx="79">
                  <c:v>603.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49.0</c:v>
                </c:pt>
                <c:pt idx="1">
                  <c:v>521.0</c:v>
                </c:pt>
                <c:pt idx="2">
                  <c:v>545.0</c:v>
                </c:pt>
                <c:pt idx="3">
                  <c:v>703.0</c:v>
                </c:pt>
                <c:pt idx="4">
                  <c:v>512.0</c:v>
                </c:pt>
                <c:pt idx="5">
                  <c:v>158.0</c:v>
                </c:pt>
                <c:pt idx="6">
                  <c:v>263.0</c:v>
                </c:pt>
                <c:pt idx="7">
                  <c:v>153.0</c:v>
                </c:pt>
                <c:pt idx="8">
                  <c:v>392.0</c:v>
                </c:pt>
                <c:pt idx="9">
                  <c:v>478.0</c:v>
                </c:pt>
                <c:pt idx="10">
                  <c:v>134.0</c:v>
                </c:pt>
                <c:pt idx="11">
                  <c:v>244.0</c:v>
                </c:pt>
                <c:pt idx="12">
                  <c:v>325.0</c:v>
                </c:pt>
                <c:pt idx="13">
                  <c:v>126.0</c:v>
                </c:pt>
                <c:pt idx="14">
                  <c:v>486.0</c:v>
                </c:pt>
                <c:pt idx="15">
                  <c:v>587.0</c:v>
                </c:pt>
                <c:pt idx="16">
                  <c:v>403.0</c:v>
                </c:pt>
                <c:pt idx="17">
                  <c:v>438.0</c:v>
                </c:pt>
                <c:pt idx="18">
                  <c:v>237.0</c:v>
                </c:pt>
                <c:pt idx="19">
                  <c:v>495.0</c:v>
                </c:pt>
                <c:pt idx="20">
                  <c:v>610.0</c:v>
                </c:pt>
                <c:pt idx="21">
                  <c:v>1704.0</c:v>
                </c:pt>
                <c:pt idx="22">
                  <c:v>2126.0</c:v>
                </c:pt>
                <c:pt idx="23">
                  <c:v>2470.0</c:v>
                </c:pt>
                <c:pt idx="24">
                  <c:v>2095.0</c:v>
                </c:pt>
                <c:pt idx="25">
                  <c:v>329.0</c:v>
                </c:pt>
                <c:pt idx="26">
                  <c:v>297.0</c:v>
                </c:pt>
                <c:pt idx="27">
                  <c:v>620.0</c:v>
                </c:pt>
                <c:pt idx="28">
                  <c:v>339.0</c:v>
                </c:pt>
                <c:pt idx="29">
                  <c:v>667.0</c:v>
                </c:pt>
                <c:pt idx="30">
                  <c:v>612.0</c:v>
                </c:pt>
                <c:pt idx="31">
                  <c:v>219.0</c:v>
                </c:pt>
                <c:pt idx="32">
                  <c:v>640.0</c:v>
                </c:pt>
                <c:pt idx="33">
                  <c:v>329.0</c:v>
                </c:pt>
                <c:pt idx="34">
                  <c:v>751.0</c:v>
                </c:pt>
                <c:pt idx="35">
                  <c:v>290.0</c:v>
                </c:pt>
                <c:pt idx="36">
                  <c:v>704.0</c:v>
                </c:pt>
                <c:pt idx="37">
                  <c:v>368.0</c:v>
                </c:pt>
                <c:pt idx="38">
                  <c:v>360.0</c:v>
                </c:pt>
                <c:pt idx="39">
                  <c:v>884.0</c:v>
                </c:pt>
                <c:pt idx="40">
                  <c:v>1636.0</c:v>
                </c:pt>
                <c:pt idx="41">
                  <c:v>1126.0</c:v>
                </c:pt>
                <c:pt idx="42">
                  <c:v>1300.0</c:v>
                </c:pt>
                <c:pt idx="43">
                  <c:v>948.0</c:v>
                </c:pt>
                <c:pt idx="44">
                  <c:v>383.0</c:v>
                </c:pt>
                <c:pt idx="45">
                  <c:v>610.0</c:v>
                </c:pt>
                <c:pt idx="46">
                  <c:v>267.0</c:v>
                </c:pt>
                <c:pt idx="47">
                  <c:v>743.0</c:v>
                </c:pt>
                <c:pt idx="48">
                  <c:v>579.0</c:v>
                </c:pt>
                <c:pt idx="49">
                  <c:v>549.0</c:v>
                </c:pt>
                <c:pt idx="50">
                  <c:v>383.0</c:v>
                </c:pt>
                <c:pt idx="51">
                  <c:v>369.0</c:v>
                </c:pt>
                <c:pt idx="52">
                  <c:v>165.0</c:v>
                </c:pt>
                <c:pt idx="53">
                  <c:v>367.0</c:v>
                </c:pt>
                <c:pt idx="54">
                  <c:v>141.0</c:v>
                </c:pt>
                <c:pt idx="55">
                  <c:v>235.0</c:v>
                </c:pt>
                <c:pt idx="56">
                  <c:v>321.0</c:v>
                </c:pt>
                <c:pt idx="57">
                  <c:v>547.0</c:v>
                </c:pt>
                <c:pt idx="58">
                  <c:v>492.0</c:v>
                </c:pt>
                <c:pt idx="59">
                  <c:v>345.0</c:v>
                </c:pt>
                <c:pt idx="60">
                  <c:v>282.0</c:v>
                </c:pt>
                <c:pt idx="61">
                  <c:v>503.0</c:v>
                </c:pt>
                <c:pt idx="62">
                  <c:v>383.0</c:v>
                </c:pt>
                <c:pt idx="63">
                  <c:v>501.0</c:v>
                </c:pt>
                <c:pt idx="64">
                  <c:v>495.0</c:v>
                </c:pt>
                <c:pt idx="65">
                  <c:v>476.0</c:v>
                </c:pt>
                <c:pt idx="66">
                  <c:v>526.0</c:v>
                </c:pt>
                <c:pt idx="67">
                  <c:v>189.0</c:v>
                </c:pt>
                <c:pt idx="68">
                  <c:v>609.0</c:v>
                </c:pt>
                <c:pt idx="69">
                  <c:v>407.0</c:v>
                </c:pt>
                <c:pt idx="70">
                  <c:v>336.0</c:v>
                </c:pt>
                <c:pt idx="71">
                  <c:v>484.0</c:v>
                </c:pt>
                <c:pt idx="72">
                  <c:v>470.0</c:v>
                </c:pt>
                <c:pt idx="73">
                  <c:v>798.0</c:v>
                </c:pt>
                <c:pt idx="74">
                  <c:v>1708.0</c:v>
                </c:pt>
                <c:pt idx="75">
                  <c:v>1864.0</c:v>
                </c:pt>
                <c:pt idx="76">
                  <c:v>351.0</c:v>
                </c:pt>
                <c:pt idx="77">
                  <c:v>344.0</c:v>
                </c:pt>
                <c:pt idx="78">
                  <c:v>673.0</c:v>
                </c:pt>
                <c:pt idx="79">
                  <c:v>603.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330.0</c:v>
                </c:pt>
                <c:pt idx="1">
                  <c:v>502.0</c:v>
                </c:pt>
                <c:pt idx="2">
                  <c:v>416.0</c:v>
                </c:pt>
                <c:pt idx="3">
                  <c:v>460.0</c:v>
                </c:pt>
                <c:pt idx="4">
                  <c:v>398.0</c:v>
                </c:pt>
                <c:pt idx="5">
                  <c:v>312.0</c:v>
                </c:pt>
                <c:pt idx="6">
                  <c:v>288.0</c:v>
                </c:pt>
                <c:pt idx="7">
                  <c:v>288.0</c:v>
                </c:pt>
                <c:pt idx="8">
                  <c:v>374.0</c:v>
                </c:pt>
                <c:pt idx="9">
                  <c:v>460.0</c:v>
                </c:pt>
                <c:pt idx="10">
                  <c:v>288.0</c:v>
                </c:pt>
                <c:pt idx="11">
                  <c:v>374.0</c:v>
                </c:pt>
                <c:pt idx="12">
                  <c:v>374.0</c:v>
                </c:pt>
                <c:pt idx="13">
                  <c:v>288.0</c:v>
                </c:pt>
                <c:pt idx="14">
                  <c:v>288.0</c:v>
                </c:pt>
                <c:pt idx="15">
                  <c:v>546.0</c:v>
                </c:pt>
                <c:pt idx="16">
                  <c:v>522.0</c:v>
                </c:pt>
                <c:pt idx="17">
                  <c:v>306.0</c:v>
                </c:pt>
                <c:pt idx="18">
                  <c:v>264.0</c:v>
                </c:pt>
                <c:pt idx="19">
                  <c:v>416.0</c:v>
                </c:pt>
                <c:pt idx="20">
                  <c:v>502.0</c:v>
                </c:pt>
                <c:pt idx="21">
                  <c:v>674.0</c:v>
                </c:pt>
                <c:pt idx="22">
                  <c:v>828.0</c:v>
                </c:pt>
                <c:pt idx="23">
                  <c:v>1040.0</c:v>
                </c:pt>
                <c:pt idx="24">
                  <c:v>1132.0</c:v>
                </c:pt>
                <c:pt idx="25">
                  <c:v>1088.0</c:v>
                </c:pt>
                <c:pt idx="26">
                  <c:v>744.0</c:v>
                </c:pt>
                <c:pt idx="27">
                  <c:v>1088.0</c:v>
                </c:pt>
                <c:pt idx="28">
                  <c:v>768.0</c:v>
                </c:pt>
                <c:pt idx="29">
                  <c:v>1026.0</c:v>
                </c:pt>
                <c:pt idx="30">
                  <c:v>768.0</c:v>
                </c:pt>
                <c:pt idx="31">
                  <c:v>768.0</c:v>
                </c:pt>
                <c:pt idx="32">
                  <c:v>882.0</c:v>
                </c:pt>
                <c:pt idx="33">
                  <c:v>948.0</c:v>
                </c:pt>
                <c:pt idx="34">
                  <c:v>956.0</c:v>
                </c:pt>
                <c:pt idx="35">
                  <c:v>730.0</c:v>
                </c:pt>
                <c:pt idx="36">
                  <c:v>690.0</c:v>
                </c:pt>
                <c:pt idx="37">
                  <c:v>720.0</c:v>
                </c:pt>
                <c:pt idx="38">
                  <c:v>604.0</c:v>
                </c:pt>
                <c:pt idx="39">
                  <c:v>518.0</c:v>
                </c:pt>
                <c:pt idx="40">
                  <c:v>558.0</c:v>
                </c:pt>
                <c:pt idx="41">
                  <c:v>518.0</c:v>
                </c:pt>
                <c:pt idx="42">
                  <c:v>494.0</c:v>
                </c:pt>
                <c:pt idx="43">
                  <c:v>494.0</c:v>
                </c:pt>
                <c:pt idx="44">
                  <c:v>494.0</c:v>
                </c:pt>
                <c:pt idx="45">
                  <c:v>572.0</c:v>
                </c:pt>
                <c:pt idx="46">
                  <c:v>322.0</c:v>
                </c:pt>
                <c:pt idx="47">
                  <c:v>532.0</c:v>
                </c:pt>
                <c:pt idx="48">
                  <c:v>360.0</c:v>
                </c:pt>
                <c:pt idx="49">
                  <c:v>556.0</c:v>
                </c:pt>
                <c:pt idx="50">
                  <c:v>596.0</c:v>
                </c:pt>
                <c:pt idx="51">
                  <c:v>424.0</c:v>
                </c:pt>
                <c:pt idx="52">
                  <c:v>384.0</c:v>
                </c:pt>
                <c:pt idx="53">
                  <c:v>484.0</c:v>
                </c:pt>
                <c:pt idx="54">
                  <c:v>360.0</c:v>
                </c:pt>
                <c:pt idx="55">
                  <c:v>494.0</c:v>
                </c:pt>
                <c:pt idx="56">
                  <c:v>322.0</c:v>
                </c:pt>
                <c:pt idx="57">
                  <c:v>572.0</c:v>
                </c:pt>
                <c:pt idx="58">
                  <c:v>446.0</c:v>
                </c:pt>
                <c:pt idx="59">
                  <c:v>282.0</c:v>
                </c:pt>
                <c:pt idx="60">
                  <c:v>244.0</c:v>
                </c:pt>
                <c:pt idx="61">
                  <c:v>532.0</c:v>
                </c:pt>
                <c:pt idx="62">
                  <c:v>454.0</c:v>
                </c:pt>
                <c:pt idx="63">
                  <c:v>282.0</c:v>
                </c:pt>
                <c:pt idx="64">
                  <c:v>478.0</c:v>
                </c:pt>
                <c:pt idx="65">
                  <c:v>406.0</c:v>
                </c:pt>
                <c:pt idx="66">
                  <c:v>478.0</c:v>
                </c:pt>
                <c:pt idx="67">
                  <c:v>346.0</c:v>
                </c:pt>
                <c:pt idx="68">
                  <c:v>424.0</c:v>
                </c:pt>
                <c:pt idx="69">
                  <c:v>518.0</c:v>
                </c:pt>
                <c:pt idx="70">
                  <c:v>346.0</c:v>
                </c:pt>
                <c:pt idx="71">
                  <c:v>446.0</c:v>
                </c:pt>
                <c:pt idx="72">
                  <c:v>556.0</c:v>
                </c:pt>
                <c:pt idx="73">
                  <c:v>556.0</c:v>
                </c:pt>
                <c:pt idx="74">
                  <c:v>658.0</c:v>
                </c:pt>
                <c:pt idx="75">
                  <c:v>776.0</c:v>
                </c:pt>
                <c:pt idx="76">
                  <c:v>468.0</c:v>
                </c:pt>
                <c:pt idx="77">
                  <c:v>698.0</c:v>
                </c:pt>
                <c:pt idx="78">
                  <c:v>776.0</c:v>
                </c:pt>
                <c:pt idx="79">
                  <c:v>54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0</c:v>
                </c:pt>
                <c:pt idx="40">
                  <c:v>1.0</c:v>
                </c:pt>
                <c:pt idx="41">
                  <c:v>1.0</c:v>
                </c:pt>
                <c:pt idx="42">
                  <c:v>1.0</c:v>
                </c:pt>
                <c:pt idx="43">
                  <c:v>0.3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673.0</c:v>
                </c:pt>
                <c:pt idx="40">
                  <c:v>9238.0</c:v>
                </c:pt>
                <c:pt idx="41">
                  <c:v>10703.0</c:v>
                </c:pt>
                <c:pt idx="42">
                  <c:v>9228.0</c:v>
                </c:pt>
                <c:pt idx="43">
                  <c:v>82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959.0</c:v>
                </c:pt>
                <c:pt idx="1">
                  <c:v>1717.0</c:v>
                </c:pt>
                <c:pt idx="2">
                  <c:v>2318.0</c:v>
                </c:pt>
                <c:pt idx="3">
                  <c:v>1592.0</c:v>
                </c:pt>
                <c:pt idx="4">
                  <c:v>1525.0</c:v>
                </c:pt>
                <c:pt idx="5">
                  <c:v>1521.0</c:v>
                </c:pt>
                <c:pt idx="6">
                  <c:v>1420.0</c:v>
                </c:pt>
                <c:pt idx="7">
                  <c:v>1219.0</c:v>
                </c:pt>
                <c:pt idx="8">
                  <c:v>1368.0</c:v>
                </c:pt>
                <c:pt idx="9">
                  <c:v>1253.0</c:v>
                </c:pt>
                <c:pt idx="10">
                  <c:v>1734.0</c:v>
                </c:pt>
                <c:pt idx="11">
                  <c:v>2282.0</c:v>
                </c:pt>
                <c:pt idx="12">
                  <c:v>3276.0</c:v>
                </c:pt>
                <c:pt idx="13">
                  <c:v>2366.0</c:v>
                </c:pt>
                <c:pt idx="14">
                  <c:v>2368.0</c:v>
                </c:pt>
                <c:pt idx="15">
                  <c:v>2184.0</c:v>
                </c:pt>
                <c:pt idx="16">
                  <c:v>2287.0</c:v>
                </c:pt>
                <c:pt idx="17">
                  <c:v>3188.0</c:v>
                </c:pt>
                <c:pt idx="18">
                  <c:v>2551.0</c:v>
                </c:pt>
                <c:pt idx="19">
                  <c:v>3574.0</c:v>
                </c:pt>
                <c:pt idx="20">
                  <c:v>3102.0</c:v>
                </c:pt>
                <c:pt idx="21">
                  <c:v>5766.0</c:v>
                </c:pt>
                <c:pt idx="22">
                  <c:v>9319.0</c:v>
                </c:pt>
                <c:pt idx="23">
                  <c:v>6563.0</c:v>
                </c:pt>
                <c:pt idx="24">
                  <c:v>6891.0</c:v>
                </c:pt>
                <c:pt idx="25">
                  <c:v>1878.0</c:v>
                </c:pt>
                <c:pt idx="26">
                  <c:v>1473.0</c:v>
                </c:pt>
                <c:pt idx="27">
                  <c:v>1881.0</c:v>
                </c:pt>
                <c:pt idx="28">
                  <c:v>1651.0</c:v>
                </c:pt>
                <c:pt idx="29">
                  <c:v>2215.0</c:v>
                </c:pt>
                <c:pt idx="30">
                  <c:v>2624.0</c:v>
                </c:pt>
                <c:pt idx="31">
                  <c:v>1690.0</c:v>
                </c:pt>
                <c:pt idx="32">
                  <c:v>2193.0</c:v>
                </c:pt>
                <c:pt idx="33">
                  <c:v>2549.0</c:v>
                </c:pt>
                <c:pt idx="34">
                  <c:v>2651.0</c:v>
                </c:pt>
                <c:pt idx="35">
                  <c:v>2010.0</c:v>
                </c:pt>
                <c:pt idx="36">
                  <c:v>2977.0</c:v>
                </c:pt>
                <c:pt idx="37">
                  <c:v>2133.0</c:v>
                </c:pt>
                <c:pt idx="38">
                  <c:v>1386.0</c:v>
                </c:pt>
                <c:pt idx="39">
                  <c:v>330.0</c:v>
                </c:pt>
                <c:pt idx="40">
                  <c:v>-1.0</c:v>
                </c:pt>
                <c:pt idx="41">
                  <c:v>1.0</c:v>
                </c:pt>
                <c:pt idx="42">
                  <c:v>1.0</c:v>
                </c:pt>
                <c:pt idx="43">
                  <c:v>2177.0</c:v>
                </c:pt>
                <c:pt idx="44">
                  <c:v>3812.0</c:v>
                </c:pt>
                <c:pt idx="45">
                  <c:v>2169.0</c:v>
                </c:pt>
                <c:pt idx="46">
                  <c:v>5799.0</c:v>
                </c:pt>
                <c:pt idx="47">
                  <c:v>2656.0</c:v>
                </c:pt>
                <c:pt idx="48">
                  <c:v>3779.0</c:v>
                </c:pt>
                <c:pt idx="49">
                  <c:v>2736.0</c:v>
                </c:pt>
                <c:pt idx="50">
                  <c:v>2702.0</c:v>
                </c:pt>
                <c:pt idx="51">
                  <c:v>2036.0</c:v>
                </c:pt>
                <c:pt idx="52">
                  <c:v>2241.0</c:v>
                </c:pt>
                <c:pt idx="53">
                  <c:v>2282.0</c:v>
                </c:pt>
                <c:pt idx="54">
                  <c:v>1470.0</c:v>
                </c:pt>
                <c:pt idx="55">
                  <c:v>1179.0</c:v>
                </c:pt>
                <c:pt idx="56">
                  <c:v>1708.0</c:v>
                </c:pt>
                <c:pt idx="57">
                  <c:v>1817.0</c:v>
                </c:pt>
                <c:pt idx="58">
                  <c:v>1741.0</c:v>
                </c:pt>
                <c:pt idx="59">
                  <c:v>3010.0</c:v>
                </c:pt>
                <c:pt idx="60">
                  <c:v>2348.0</c:v>
                </c:pt>
                <c:pt idx="61">
                  <c:v>1994.0</c:v>
                </c:pt>
                <c:pt idx="62">
                  <c:v>2209.0</c:v>
                </c:pt>
                <c:pt idx="63">
                  <c:v>3555.0</c:v>
                </c:pt>
                <c:pt idx="64">
                  <c:v>3111.0</c:v>
                </c:pt>
                <c:pt idx="65">
                  <c:v>2033.0</c:v>
                </c:pt>
                <c:pt idx="66">
                  <c:v>2573.0</c:v>
                </c:pt>
                <c:pt idx="67">
                  <c:v>1944.0</c:v>
                </c:pt>
                <c:pt idx="68">
                  <c:v>2497.0</c:v>
                </c:pt>
                <c:pt idx="69">
                  <c:v>2150.0</c:v>
                </c:pt>
                <c:pt idx="70">
                  <c:v>2503.0</c:v>
                </c:pt>
                <c:pt idx="71">
                  <c:v>4185.0</c:v>
                </c:pt>
                <c:pt idx="72">
                  <c:v>2569.0</c:v>
                </c:pt>
                <c:pt idx="73">
                  <c:v>3922.0</c:v>
                </c:pt>
                <c:pt idx="74">
                  <c:v>10483.0</c:v>
                </c:pt>
                <c:pt idx="75">
                  <c:v>6424.0</c:v>
                </c:pt>
                <c:pt idx="76">
                  <c:v>1671.0</c:v>
                </c:pt>
                <c:pt idx="77">
                  <c:v>2847.0</c:v>
                </c:pt>
                <c:pt idx="78">
                  <c:v>1975.0</c:v>
                </c:pt>
                <c:pt idx="79">
                  <c:v>2489.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959.0</c:v>
                </c:pt>
                <c:pt idx="1">
                  <c:v>1717.0</c:v>
                </c:pt>
                <c:pt idx="2">
                  <c:v>2318.0</c:v>
                </c:pt>
                <c:pt idx="3">
                  <c:v>1592.0</c:v>
                </c:pt>
                <c:pt idx="4">
                  <c:v>1525.0</c:v>
                </c:pt>
                <c:pt idx="5">
                  <c:v>1521.0</c:v>
                </c:pt>
                <c:pt idx="6">
                  <c:v>1420.0</c:v>
                </c:pt>
                <c:pt idx="7">
                  <c:v>1219.0</c:v>
                </c:pt>
                <c:pt idx="8">
                  <c:v>1368.0</c:v>
                </c:pt>
                <c:pt idx="9">
                  <c:v>1253.0</c:v>
                </c:pt>
                <c:pt idx="10">
                  <c:v>1734.0</c:v>
                </c:pt>
                <c:pt idx="11">
                  <c:v>2282.0</c:v>
                </c:pt>
                <c:pt idx="12">
                  <c:v>3276.0</c:v>
                </c:pt>
                <c:pt idx="13">
                  <c:v>2366.0</c:v>
                </c:pt>
                <c:pt idx="14">
                  <c:v>2368.0</c:v>
                </c:pt>
                <c:pt idx="15">
                  <c:v>2184.0</c:v>
                </c:pt>
                <c:pt idx="16">
                  <c:v>2287.0</c:v>
                </c:pt>
                <c:pt idx="17">
                  <c:v>3188.0</c:v>
                </c:pt>
                <c:pt idx="18">
                  <c:v>2551.0</c:v>
                </c:pt>
                <c:pt idx="19">
                  <c:v>3574.0</c:v>
                </c:pt>
                <c:pt idx="20">
                  <c:v>3102.0</c:v>
                </c:pt>
                <c:pt idx="21">
                  <c:v>5766.0</c:v>
                </c:pt>
                <c:pt idx="22">
                  <c:v>9319.0</c:v>
                </c:pt>
                <c:pt idx="23">
                  <c:v>6563.0</c:v>
                </c:pt>
                <c:pt idx="24">
                  <c:v>6891.0</c:v>
                </c:pt>
                <c:pt idx="25">
                  <c:v>1878.0</c:v>
                </c:pt>
                <c:pt idx="26">
                  <c:v>1473.0</c:v>
                </c:pt>
                <c:pt idx="27">
                  <c:v>1881.0</c:v>
                </c:pt>
                <c:pt idx="28">
                  <c:v>1651.0</c:v>
                </c:pt>
                <c:pt idx="29">
                  <c:v>2215.0</c:v>
                </c:pt>
                <c:pt idx="30">
                  <c:v>2624.0</c:v>
                </c:pt>
                <c:pt idx="31">
                  <c:v>1690.0</c:v>
                </c:pt>
                <c:pt idx="32">
                  <c:v>2193.0</c:v>
                </c:pt>
                <c:pt idx="33">
                  <c:v>2549.0</c:v>
                </c:pt>
                <c:pt idx="34">
                  <c:v>2651.0</c:v>
                </c:pt>
                <c:pt idx="35">
                  <c:v>2010.0</c:v>
                </c:pt>
                <c:pt idx="36">
                  <c:v>2977.0</c:v>
                </c:pt>
                <c:pt idx="37">
                  <c:v>2133.0</c:v>
                </c:pt>
                <c:pt idx="38">
                  <c:v>1386.0</c:v>
                </c:pt>
                <c:pt idx="39">
                  <c:v>7003.0</c:v>
                </c:pt>
                <c:pt idx="40">
                  <c:v>9237.0</c:v>
                </c:pt>
                <c:pt idx="41">
                  <c:v>10704.0</c:v>
                </c:pt>
                <c:pt idx="42">
                  <c:v>9229.0</c:v>
                </c:pt>
                <c:pt idx="43">
                  <c:v>2999.0</c:v>
                </c:pt>
                <c:pt idx="44">
                  <c:v>3812.0</c:v>
                </c:pt>
                <c:pt idx="45">
                  <c:v>2169.0</c:v>
                </c:pt>
                <c:pt idx="46">
                  <c:v>5799.0</c:v>
                </c:pt>
                <c:pt idx="47">
                  <c:v>2656.0</c:v>
                </c:pt>
                <c:pt idx="48">
                  <c:v>3779.0</c:v>
                </c:pt>
                <c:pt idx="49">
                  <c:v>2736.0</c:v>
                </c:pt>
                <c:pt idx="50">
                  <c:v>2702.0</c:v>
                </c:pt>
                <c:pt idx="51">
                  <c:v>2036.0</c:v>
                </c:pt>
                <c:pt idx="52">
                  <c:v>2241.0</c:v>
                </c:pt>
                <c:pt idx="53">
                  <c:v>2282.0</c:v>
                </c:pt>
                <c:pt idx="54">
                  <c:v>1470.0</c:v>
                </c:pt>
                <c:pt idx="55">
                  <c:v>1179.0</c:v>
                </c:pt>
                <c:pt idx="56">
                  <c:v>1708.0</c:v>
                </c:pt>
                <c:pt idx="57">
                  <c:v>1817.0</c:v>
                </c:pt>
                <c:pt idx="58">
                  <c:v>1741.0</c:v>
                </c:pt>
                <c:pt idx="59">
                  <c:v>3010.0</c:v>
                </c:pt>
                <c:pt idx="60">
                  <c:v>2348.0</c:v>
                </c:pt>
                <c:pt idx="61">
                  <c:v>1994.0</c:v>
                </c:pt>
                <c:pt idx="62">
                  <c:v>2209.0</c:v>
                </c:pt>
                <c:pt idx="63">
                  <c:v>3555.0</c:v>
                </c:pt>
                <c:pt idx="64">
                  <c:v>3111.0</c:v>
                </c:pt>
                <c:pt idx="65">
                  <c:v>2033.0</c:v>
                </c:pt>
                <c:pt idx="66">
                  <c:v>2573.0</c:v>
                </c:pt>
                <c:pt idx="67">
                  <c:v>1944.0</c:v>
                </c:pt>
                <c:pt idx="68">
                  <c:v>2497.0</c:v>
                </c:pt>
                <c:pt idx="69">
                  <c:v>2150.0</c:v>
                </c:pt>
                <c:pt idx="70">
                  <c:v>2503.0</c:v>
                </c:pt>
                <c:pt idx="71">
                  <c:v>4185.0</c:v>
                </c:pt>
                <c:pt idx="72">
                  <c:v>2569.0</c:v>
                </c:pt>
                <c:pt idx="73">
                  <c:v>3922.0</c:v>
                </c:pt>
                <c:pt idx="74">
                  <c:v>10483.0</c:v>
                </c:pt>
                <c:pt idx="75">
                  <c:v>6424.0</c:v>
                </c:pt>
                <c:pt idx="76">
                  <c:v>1671.0</c:v>
                </c:pt>
                <c:pt idx="77">
                  <c:v>2847.0</c:v>
                </c:pt>
                <c:pt idx="78">
                  <c:v>1975.0</c:v>
                </c:pt>
                <c:pt idx="79">
                  <c:v>2489.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042.0</c:v>
                </c:pt>
                <c:pt idx="1">
                  <c:v>1914.0</c:v>
                </c:pt>
                <c:pt idx="2">
                  <c:v>1956.0</c:v>
                </c:pt>
                <c:pt idx="3">
                  <c:v>1956.0</c:v>
                </c:pt>
                <c:pt idx="4">
                  <c:v>1784.0</c:v>
                </c:pt>
                <c:pt idx="5">
                  <c:v>1956.0</c:v>
                </c:pt>
                <c:pt idx="6">
                  <c:v>1396.0</c:v>
                </c:pt>
                <c:pt idx="7">
                  <c:v>1570.0</c:v>
                </c:pt>
                <c:pt idx="8">
                  <c:v>1784.0</c:v>
                </c:pt>
                <c:pt idx="9">
                  <c:v>1484.0</c:v>
                </c:pt>
                <c:pt idx="10">
                  <c:v>1742.0</c:v>
                </c:pt>
                <c:pt idx="11">
                  <c:v>1526.0</c:v>
                </c:pt>
                <c:pt idx="12">
                  <c:v>1722.0</c:v>
                </c:pt>
                <c:pt idx="13">
                  <c:v>2066.0</c:v>
                </c:pt>
                <c:pt idx="14">
                  <c:v>2090.0</c:v>
                </c:pt>
                <c:pt idx="15">
                  <c:v>1876.0</c:v>
                </c:pt>
                <c:pt idx="16">
                  <c:v>2244.0</c:v>
                </c:pt>
                <c:pt idx="17">
                  <c:v>2310.0</c:v>
                </c:pt>
                <c:pt idx="18">
                  <c:v>2440.0</c:v>
                </c:pt>
                <c:pt idx="19">
                  <c:v>2654.0</c:v>
                </c:pt>
                <c:pt idx="20">
                  <c:v>2784.0</c:v>
                </c:pt>
                <c:pt idx="21">
                  <c:v>3189.0</c:v>
                </c:pt>
                <c:pt idx="22">
                  <c:v>3815.0</c:v>
                </c:pt>
                <c:pt idx="23">
                  <c:v>3937.0</c:v>
                </c:pt>
                <c:pt idx="24">
                  <c:v>4198.0</c:v>
                </c:pt>
                <c:pt idx="25">
                  <c:v>4156.0</c:v>
                </c:pt>
                <c:pt idx="26">
                  <c:v>3796.0</c:v>
                </c:pt>
                <c:pt idx="27">
                  <c:v>4140.0</c:v>
                </c:pt>
                <c:pt idx="28">
                  <c:v>3984.0</c:v>
                </c:pt>
                <c:pt idx="29">
                  <c:v>3906.0</c:v>
                </c:pt>
                <c:pt idx="30">
                  <c:v>3914.0</c:v>
                </c:pt>
                <c:pt idx="31">
                  <c:v>3836.0</c:v>
                </c:pt>
                <c:pt idx="32">
                  <c:v>3720.0</c:v>
                </c:pt>
                <c:pt idx="33">
                  <c:v>3500.0</c:v>
                </c:pt>
                <c:pt idx="34">
                  <c:v>2930.0</c:v>
                </c:pt>
                <c:pt idx="35">
                  <c:v>2232.0</c:v>
                </c:pt>
                <c:pt idx="36">
                  <c:v>2294.0</c:v>
                </c:pt>
                <c:pt idx="37">
                  <c:v>2248.0</c:v>
                </c:pt>
                <c:pt idx="38">
                  <c:v>2184.0</c:v>
                </c:pt>
                <c:pt idx="39">
                  <c:v>2264.0</c:v>
                </c:pt>
                <c:pt idx="40">
                  <c:v>2380.0</c:v>
                </c:pt>
                <c:pt idx="41">
                  <c:v>2318.0</c:v>
                </c:pt>
                <c:pt idx="42">
                  <c:v>2230.0</c:v>
                </c:pt>
                <c:pt idx="43">
                  <c:v>2284.0</c:v>
                </c:pt>
                <c:pt idx="44">
                  <c:v>2526.0</c:v>
                </c:pt>
                <c:pt idx="45">
                  <c:v>2488.0</c:v>
                </c:pt>
                <c:pt idx="46">
                  <c:v>2722.0</c:v>
                </c:pt>
                <c:pt idx="47">
                  <c:v>2746.0</c:v>
                </c:pt>
                <c:pt idx="48">
                  <c:v>2784.0</c:v>
                </c:pt>
                <c:pt idx="49">
                  <c:v>2934.0</c:v>
                </c:pt>
                <c:pt idx="50">
                  <c:v>2972.0</c:v>
                </c:pt>
                <c:pt idx="51">
                  <c:v>2972.0</c:v>
                </c:pt>
                <c:pt idx="52">
                  <c:v>2996.0</c:v>
                </c:pt>
                <c:pt idx="53">
                  <c:v>2996.0</c:v>
                </c:pt>
                <c:pt idx="54">
                  <c:v>2958.0</c:v>
                </c:pt>
                <c:pt idx="55">
                  <c:v>2762.0</c:v>
                </c:pt>
                <c:pt idx="56">
                  <c:v>2262.0</c:v>
                </c:pt>
                <c:pt idx="57">
                  <c:v>2568.0</c:v>
                </c:pt>
                <c:pt idx="58">
                  <c:v>2232.0</c:v>
                </c:pt>
                <c:pt idx="59">
                  <c:v>2310.0</c:v>
                </c:pt>
                <c:pt idx="60">
                  <c:v>2106.0</c:v>
                </c:pt>
                <c:pt idx="61">
                  <c:v>2028.0</c:v>
                </c:pt>
                <c:pt idx="62">
                  <c:v>2068.0</c:v>
                </c:pt>
                <c:pt idx="63">
                  <c:v>2160.0</c:v>
                </c:pt>
                <c:pt idx="64">
                  <c:v>2264.0</c:v>
                </c:pt>
                <c:pt idx="65">
                  <c:v>2170.0</c:v>
                </c:pt>
                <c:pt idx="66">
                  <c:v>2286.0</c:v>
                </c:pt>
                <c:pt idx="67">
                  <c:v>2326.0</c:v>
                </c:pt>
                <c:pt idx="68">
                  <c:v>2364.0</c:v>
                </c:pt>
                <c:pt idx="69">
                  <c:v>2404.0</c:v>
                </c:pt>
                <c:pt idx="70">
                  <c:v>2482.0</c:v>
                </c:pt>
                <c:pt idx="71">
                  <c:v>2584.0</c:v>
                </c:pt>
                <c:pt idx="72">
                  <c:v>2598.0</c:v>
                </c:pt>
                <c:pt idx="73">
                  <c:v>2754.0</c:v>
                </c:pt>
                <c:pt idx="74">
                  <c:v>3426.0</c:v>
                </c:pt>
                <c:pt idx="75">
                  <c:v>3716.0</c:v>
                </c:pt>
                <c:pt idx="76">
                  <c:v>3012.0</c:v>
                </c:pt>
                <c:pt idx="77">
                  <c:v>3654.0</c:v>
                </c:pt>
                <c:pt idx="78">
                  <c:v>3576.0</c:v>
                </c:pt>
                <c:pt idx="79">
                  <c:v>370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6</c:v>
                </c:pt>
                <c:pt idx="40">
                  <c:v>1.0</c:v>
                </c:pt>
                <c:pt idx="41">
                  <c:v>1.0</c:v>
                </c:pt>
                <c:pt idx="42">
                  <c:v>1.0</c:v>
                </c:pt>
                <c:pt idx="43">
                  <c:v>0.33</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5050.0</c:v>
                </c:pt>
                <c:pt idx="40">
                  <c:v>4606.0</c:v>
                </c:pt>
                <c:pt idx="41">
                  <c:v>5676.0</c:v>
                </c:pt>
                <c:pt idx="42">
                  <c:v>5380.0</c:v>
                </c:pt>
                <c:pt idx="43">
                  <c:v>296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282.0</c:v>
                </c:pt>
                <c:pt idx="1">
                  <c:v>2028.0</c:v>
                </c:pt>
                <c:pt idx="2">
                  <c:v>875.0</c:v>
                </c:pt>
                <c:pt idx="3">
                  <c:v>1339.0</c:v>
                </c:pt>
                <c:pt idx="4">
                  <c:v>607.0</c:v>
                </c:pt>
                <c:pt idx="5">
                  <c:v>703.0</c:v>
                </c:pt>
                <c:pt idx="6">
                  <c:v>1757.0</c:v>
                </c:pt>
                <c:pt idx="7">
                  <c:v>1262.0</c:v>
                </c:pt>
                <c:pt idx="8">
                  <c:v>1210.0</c:v>
                </c:pt>
                <c:pt idx="9">
                  <c:v>1375.0</c:v>
                </c:pt>
                <c:pt idx="10">
                  <c:v>1043.0</c:v>
                </c:pt>
                <c:pt idx="11">
                  <c:v>722.0</c:v>
                </c:pt>
                <c:pt idx="12">
                  <c:v>2026.0</c:v>
                </c:pt>
                <c:pt idx="13">
                  <c:v>1833.0</c:v>
                </c:pt>
                <c:pt idx="14">
                  <c:v>1610.0</c:v>
                </c:pt>
                <c:pt idx="15">
                  <c:v>2095.0</c:v>
                </c:pt>
                <c:pt idx="16">
                  <c:v>1608.0</c:v>
                </c:pt>
                <c:pt idx="17">
                  <c:v>1895.0</c:v>
                </c:pt>
                <c:pt idx="18">
                  <c:v>2575.0</c:v>
                </c:pt>
                <c:pt idx="19">
                  <c:v>2148.0</c:v>
                </c:pt>
                <c:pt idx="20">
                  <c:v>3330.0</c:v>
                </c:pt>
                <c:pt idx="21">
                  <c:v>3843.0</c:v>
                </c:pt>
                <c:pt idx="22">
                  <c:v>8619.0</c:v>
                </c:pt>
                <c:pt idx="23">
                  <c:v>5588.0</c:v>
                </c:pt>
                <c:pt idx="24">
                  <c:v>5152.0</c:v>
                </c:pt>
                <c:pt idx="25">
                  <c:v>3242.0</c:v>
                </c:pt>
                <c:pt idx="26">
                  <c:v>1416.0</c:v>
                </c:pt>
                <c:pt idx="27">
                  <c:v>1246.0</c:v>
                </c:pt>
                <c:pt idx="28">
                  <c:v>1518.0</c:v>
                </c:pt>
                <c:pt idx="29">
                  <c:v>954.0</c:v>
                </c:pt>
                <c:pt idx="30">
                  <c:v>1789.0</c:v>
                </c:pt>
                <c:pt idx="31">
                  <c:v>1523.0</c:v>
                </c:pt>
                <c:pt idx="32">
                  <c:v>1497.0</c:v>
                </c:pt>
                <c:pt idx="33">
                  <c:v>800.0</c:v>
                </c:pt>
                <c:pt idx="34">
                  <c:v>1174.0</c:v>
                </c:pt>
                <c:pt idx="35">
                  <c:v>1624.0</c:v>
                </c:pt>
                <c:pt idx="36">
                  <c:v>1422.0</c:v>
                </c:pt>
                <c:pt idx="37">
                  <c:v>1109.0</c:v>
                </c:pt>
                <c:pt idx="38">
                  <c:v>2145.0</c:v>
                </c:pt>
                <c:pt idx="39">
                  <c:v>194.0</c:v>
                </c:pt>
                <c:pt idx="40">
                  <c:v>108.0</c:v>
                </c:pt>
                <c:pt idx="41">
                  <c:v>0.0</c:v>
                </c:pt>
                <c:pt idx="42">
                  <c:v>0.0</c:v>
                </c:pt>
                <c:pt idx="43">
                  <c:v>1859.0</c:v>
                </c:pt>
                <c:pt idx="44">
                  <c:v>1481.0</c:v>
                </c:pt>
                <c:pt idx="45">
                  <c:v>1901.0</c:v>
                </c:pt>
                <c:pt idx="46">
                  <c:v>1861.0</c:v>
                </c:pt>
                <c:pt idx="47">
                  <c:v>2285.0</c:v>
                </c:pt>
                <c:pt idx="48">
                  <c:v>2086.0</c:v>
                </c:pt>
                <c:pt idx="49">
                  <c:v>2257.0</c:v>
                </c:pt>
                <c:pt idx="50">
                  <c:v>2124.0</c:v>
                </c:pt>
                <c:pt idx="51">
                  <c:v>1250.0</c:v>
                </c:pt>
                <c:pt idx="52">
                  <c:v>1175.0</c:v>
                </c:pt>
                <c:pt idx="53">
                  <c:v>1726.0</c:v>
                </c:pt>
                <c:pt idx="54">
                  <c:v>1607.0</c:v>
                </c:pt>
                <c:pt idx="55">
                  <c:v>1366.0</c:v>
                </c:pt>
                <c:pt idx="56">
                  <c:v>1118.0</c:v>
                </c:pt>
                <c:pt idx="57">
                  <c:v>1550.0</c:v>
                </c:pt>
                <c:pt idx="58">
                  <c:v>1300.0</c:v>
                </c:pt>
                <c:pt idx="59">
                  <c:v>1517.0</c:v>
                </c:pt>
                <c:pt idx="60">
                  <c:v>3478.0</c:v>
                </c:pt>
                <c:pt idx="61">
                  <c:v>1555.0</c:v>
                </c:pt>
                <c:pt idx="62">
                  <c:v>1371.0</c:v>
                </c:pt>
                <c:pt idx="63">
                  <c:v>2103.0</c:v>
                </c:pt>
                <c:pt idx="64">
                  <c:v>1537.0</c:v>
                </c:pt>
                <c:pt idx="65">
                  <c:v>2225.0</c:v>
                </c:pt>
                <c:pt idx="66">
                  <c:v>1612.0</c:v>
                </c:pt>
                <c:pt idx="67">
                  <c:v>1072.0</c:v>
                </c:pt>
                <c:pt idx="68">
                  <c:v>1230.0</c:v>
                </c:pt>
                <c:pt idx="69">
                  <c:v>1666.0</c:v>
                </c:pt>
                <c:pt idx="70">
                  <c:v>1540.0</c:v>
                </c:pt>
                <c:pt idx="71">
                  <c:v>1758.0</c:v>
                </c:pt>
                <c:pt idx="72">
                  <c:v>1913.0</c:v>
                </c:pt>
                <c:pt idx="73">
                  <c:v>2999.0</c:v>
                </c:pt>
                <c:pt idx="74">
                  <c:v>3823.0</c:v>
                </c:pt>
                <c:pt idx="75">
                  <c:v>4881.0</c:v>
                </c:pt>
                <c:pt idx="76">
                  <c:v>462.0</c:v>
                </c:pt>
                <c:pt idx="77">
                  <c:v>1281.0</c:v>
                </c:pt>
                <c:pt idx="78">
                  <c:v>1174.0</c:v>
                </c:pt>
                <c:pt idx="79">
                  <c:v>1060.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282.0</c:v>
                </c:pt>
                <c:pt idx="1">
                  <c:v>2028.0</c:v>
                </c:pt>
                <c:pt idx="2">
                  <c:v>875.0</c:v>
                </c:pt>
                <c:pt idx="3">
                  <c:v>1339.0</c:v>
                </c:pt>
                <c:pt idx="4">
                  <c:v>607.0</c:v>
                </c:pt>
                <c:pt idx="5">
                  <c:v>703.0</c:v>
                </c:pt>
                <c:pt idx="6">
                  <c:v>1757.0</c:v>
                </c:pt>
                <c:pt idx="7">
                  <c:v>1262.0</c:v>
                </c:pt>
                <c:pt idx="8">
                  <c:v>1210.0</c:v>
                </c:pt>
                <c:pt idx="9">
                  <c:v>1375.0</c:v>
                </c:pt>
                <c:pt idx="10">
                  <c:v>1043.0</c:v>
                </c:pt>
                <c:pt idx="11">
                  <c:v>722.0</c:v>
                </c:pt>
                <c:pt idx="12">
                  <c:v>2026.0</c:v>
                </c:pt>
                <c:pt idx="13">
                  <c:v>1833.0</c:v>
                </c:pt>
                <c:pt idx="14">
                  <c:v>1610.0</c:v>
                </c:pt>
                <c:pt idx="15">
                  <c:v>2095.0</c:v>
                </c:pt>
                <c:pt idx="16">
                  <c:v>1608.0</c:v>
                </c:pt>
                <c:pt idx="17">
                  <c:v>1895.0</c:v>
                </c:pt>
                <c:pt idx="18">
                  <c:v>2575.0</c:v>
                </c:pt>
                <c:pt idx="19">
                  <c:v>2148.0</c:v>
                </c:pt>
                <c:pt idx="20">
                  <c:v>3330.0</c:v>
                </c:pt>
                <c:pt idx="21">
                  <c:v>3843.0</c:v>
                </c:pt>
                <c:pt idx="22">
                  <c:v>8619.0</c:v>
                </c:pt>
                <c:pt idx="23">
                  <c:v>5588.0</c:v>
                </c:pt>
                <c:pt idx="24">
                  <c:v>5152.0</c:v>
                </c:pt>
                <c:pt idx="25">
                  <c:v>3242.0</c:v>
                </c:pt>
                <c:pt idx="26">
                  <c:v>1416.0</c:v>
                </c:pt>
                <c:pt idx="27">
                  <c:v>1246.0</c:v>
                </c:pt>
                <c:pt idx="28">
                  <c:v>1518.0</c:v>
                </c:pt>
                <c:pt idx="29">
                  <c:v>954.0</c:v>
                </c:pt>
                <c:pt idx="30">
                  <c:v>1789.0</c:v>
                </c:pt>
                <c:pt idx="31">
                  <c:v>1523.0</c:v>
                </c:pt>
                <c:pt idx="32">
                  <c:v>1497.0</c:v>
                </c:pt>
                <c:pt idx="33">
                  <c:v>800.0</c:v>
                </c:pt>
                <c:pt idx="34">
                  <c:v>1174.0</c:v>
                </c:pt>
                <c:pt idx="35">
                  <c:v>1624.0</c:v>
                </c:pt>
                <c:pt idx="36">
                  <c:v>1422.0</c:v>
                </c:pt>
                <c:pt idx="37">
                  <c:v>1109.0</c:v>
                </c:pt>
                <c:pt idx="38">
                  <c:v>2145.0</c:v>
                </c:pt>
                <c:pt idx="39">
                  <c:v>5244.0</c:v>
                </c:pt>
                <c:pt idx="40">
                  <c:v>4714.0</c:v>
                </c:pt>
                <c:pt idx="41">
                  <c:v>5676.0</c:v>
                </c:pt>
                <c:pt idx="42">
                  <c:v>5380.0</c:v>
                </c:pt>
                <c:pt idx="43">
                  <c:v>4819.0</c:v>
                </c:pt>
                <c:pt idx="44">
                  <c:v>1481.0</c:v>
                </c:pt>
                <c:pt idx="45">
                  <c:v>1901.0</c:v>
                </c:pt>
                <c:pt idx="46">
                  <c:v>1861.0</c:v>
                </c:pt>
                <c:pt idx="47">
                  <c:v>2285.0</c:v>
                </c:pt>
                <c:pt idx="48">
                  <c:v>2086.0</c:v>
                </c:pt>
                <c:pt idx="49">
                  <c:v>2257.0</c:v>
                </c:pt>
                <c:pt idx="50">
                  <c:v>2124.0</c:v>
                </c:pt>
                <c:pt idx="51">
                  <c:v>1250.0</c:v>
                </c:pt>
                <c:pt idx="52">
                  <c:v>1175.0</c:v>
                </c:pt>
                <c:pt idx="53">
                  <c:v>1726.0</c:v>
                </c:pt>
                <c:pt idx="54">
                  <c:v>1607.0</c:v>
                </c:pt>
                <c:pt idx="55">
                  <c:v>1366.0</c:v>
                </c:pt>
                <c:pt idx="56">
                  <c:v>1118.0</c:v>
                </c:pt>
                <c:pt idx="57">
                  <c:v>1550.0</c:v>
                </c:pt>
                <c:pt idx="58">
                  <c:v>1300.0</c:v>
                </c:pt>
                <c:pt idx="59">
                  <c:v>1517.0</c:v>
                </c:pt>
                <c:pt idx="60">
                  <c:v>3478.0</c:v>
                </c:pt>
                <c:pt idx="61">
                  <c:v>1555.0</c:v>
                </c:pt>
                <c:pt idx="62">
                  <c:v>1371.0</c:v>
                </c:pt>
                <c:pt idx="63">
                  <c:v>2103.0</c:v>
                </c:pt>
                <c:pt idx="64">
                  <c:v>1537.0</c:v>
                </c:pt>
                <c:pt idx="65">
                  <c:v>2225.0</c:v>
                </c:pt>
                <c:pt idx="66">
                  <c:v>1612.0</c:v>
                </c:pt>
                <c:pt idx="67">
                  <c:v>1072.0</c:v>
                </c:pt>
                <c:pt idx="68">
                  <c:v>1230.0</c:v>
                </c:pt>
                <c:pt idx="69">
                  <c:v>1666.0</c:v>
                </c:pt>
                <c:pt idx="70">
                  <c:v>1540.0</c:v>
                </c:pt>
                <c:pt idx="71">
                  <c:v>1758.0</c:v>
                </c:pt>
                <c:pt idx="72">
                  <c:v>1913.0</c:v>
                </c:pt>
                <c:pt idx="73">
                  <c:v>2999.0</c:v>
                </c:pt>
                <c:pt idx="74">
                  <c:v>3823.0</c:v>
                </c:pt>
                <c:pt idx="75">
                  <c:v>4881.0</c:v>
                </c:pt>
                <c:pt idx="76">
                  <c:v>462.0</c:v>
                </c:pt>
                <c:pt idx="77">
                  <c:v>1281.0</c:v>
                </c:pt>
                <c:pt idx="78">
                  <c:v>1174.0</c:v>
                </c:pt>
                <c:pt idx="79">
                  <c:v>1060.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676.0</c:v>
                </c:pt>
                <c:pt idx="1">
                  <c:v>1694.0</c:v>
                </c:pt>
                <c:pt idx="2">
                  <c:v>1458.0</c:v>
                </c:pt>
                <c:pt idx="3">
                  <c:v>1650.0</c:v>
                </c:pt>
                <c:pt idx="4">
                  <c:v>1350.0</c:v>
                </c:pt>
                <c:pt idx="5">
                  <c:v>1110.0</c:v>
                </c:pt>
                <c:pt idx="6">
                  <c:v>1478.0</c:v>
                </c:pt>
                <c:pt idx="7">
                  <c:v>1240.0</c:v>
                </c:pt>
                <c:pt idx="8">
                  <c:v>962.0</c:v>
                </c:pt>
                <c:pt idx="9">
                  <c:v>1220.0</c:v>
                </c:pt>
                <c:pt idx="10">
                  <c:v>1478.0</c:v>
                </c:pt>
                <c:pt idx="11">
                  <c:v>1048.0</c:v>
                </c:pt>
                <c:pt idx="12">
                  <c:v>1436.0</c:v>
                </c:pt>
                <c:pt idx="13">
                  <c:v>1264.0</c:v>
                </c:pt>
                <c:pt idx="14">
                  <c:v>1306.0</c:v>
                </c:pt>
                <c:pt idx="15">
                  <c:v>1350.0</c:v>
                </c:pt>
                <c:pt idx="16">
                  <c:v>1650.0</c:v>
                </c:pt>
                <c:pt idx="17">
                  <c:v>1736.0</c:v>
                </c:pt>
                <c:pt idx="18">
                  <c:v>1822.0</c:v>
                </c:pt>
                <c:pt idx="19">
                  <c:v>1738.0</c:v>
                </c:pt>
                <c:pt idx="20">
                  <c:v>2124.0</c:v>
                </c:pt>
                <c:pt idx="21">
                  <c:v>2038.0</c:v>
                </c:pt>
                <c:pt idx="22">
                  <c:v>3012.0</c:v>
                </c:pt>
                <c:pt idx="23">
                  <c:v>3195.0</c:v>
                </c:pt>
                <c:pt idx="24">
                  <c:v>3402.0</c:v>
                </c:pt>
                <c:pt idx="25">
                  <c:v>3342.0</c:v>
                </c:pt>
                <c:pt idx="26">
                  <c:v>2912.0</c:v>
                </c:pt>
                <c:pt idx="27">
                  <c:v>3224.0</c:v>
                </c:pt>
                <c:pt idx="28">
                  <c:v>2760.0</c:v>
                </c:pt>
                <c:pt idx="29">
                  <c:v>2794.0</c:v>
                </c:pt>
                <c:pt idx="30">
                  <c:v>3098.0</c:v>
                </c:pt>
                <c:pt idx="31">
                  <c:v>3074.0</c:v>
                </c:pt>
                <c:pt idx="32">
                  <c:v>3410.0</c:v>
                </c:pt>
                <c:pt idx="33">
                  <c:v>2662.0</c:v>
                </c:pt>
                <c:pt idx="34">
                  <c:v>2498.0</c:v>
                </c:pt>
                <c:pt idx="35">
                  <c:v>2472.0</c:v>
                </c:pt>
                <c:pt idx="36">
                  <c:v>1758.0</c:v>
                </c:pt>
                <c:pt idx="37">
                  <c:v>1602.0</c:v>
                </c:pt>
                <c:pt idx="38">
                  <c:v>1712.0</c:v>
                </c:pt>
                <c:pt idx="39">
                  <c:v>1634.0</c:v>
                </c:pt>
                <c:pt idx="40">
                  <c:v>1634.0</c:v>
                </c:pt>
                <c:pt idx="41">
                  <c:v>1262.0</c:v>
                </c:pt>
                <c:pt idx="42">
                  <c:v>1276.0</c:v>
                </c:pt>
                <c:pt idx="43">
                  <c:v>1376.0</c:v>
                </c:pt>
                <c:pt idx="44">
                  <c:v>1492.0</c:v>
                </c:pt>
                <c:pt idx="45">
                  <c:v>1418.0</c:v>
                </c:pt>
                <c:pt idx="46">
                  <c:v>1418.0</c:v>
                </c:pt>
                <c:pt idx="47">
                  <c:v>1642.0</c:v>
                </c:pt>
                <c:pt idx="48">
                  <c:v>1758.0</c:v>
                </c:pt>
                <c:pt idx="49">
                  <c:v>1860.0</c:v>
                </c:pt>
                <c:pt idx="50">
                  <c:v>1922.0</c:v>
                </c:pt>
                <c:pt idx="51">
                  <c:v>1806.0</c:v>
                </c:pt>
                <c:pt idx="52">
                  <c:v>1590.0</c:v>
                </c:pt>
                <c:pt idx="53">
                  <c:v>1844.0</c:v>
                </c:pt>
                <c:pt idx="54">
                  <c:v>1774.0</c:v>
                </c:pt>
                <c:pt idx="55">
                  <c:v>1744.0</c:v>
                </c:pt>
                <c:pt idx="56">
                  <c:v>1666.0</c:v>
                </c:pt>
                <c:pt idx="57">
                  <c:v>1636.0</c:v>
                </c:pt>
                <c:pt idx="58">
                  <c:v>1518.0</c:v>
                </c:pt>
                <c:pt idx="59">
                  <c:v>1620.0</c:v>
                </c:pt>
                <c:pt idx="60">
                  <c:v>1550.0</c:v>
                </c:pt>
                <c:pt idx="61">
                  <c:v>1736.0</c:v>
                </c:pt>
                <c:pt idx="62">
                  <c:v>1472.0</c:v>
                </c:pt>
                <c:pt idx="63">
                  <c:v>1632.0</c:v>
                </c:pt>
                <c:pt idx="64">
                  <c:v>1588.0</c:v>
                </c:pt>
                <c:pt idx="65">
                  <c:v>1906.0</c:v>
                </c:pt>
                <c:pt idx="66">
                  <c:v>1690.0</c:v>
                </c:pt>
                <c:pt idx="67">
                  <c:v>1690.0</c:v>
                </c:pt>
                <c:pt idx="68">
                  <c:v>1734.0</c:v>
                </c:pt>
                <c:pt idx="69">
                  <c:v>1652.0</c:v>
                </c:pt>
                <c:pt idx="70">
                  <c:v>1730.0</c:v>
                </c:pt>
                <c:pt idx="71">
                  <c:v>1906.0</c:v>
                </c:pt>
                <c:pt idx="72">
                  <c:v>1658.0</c:v>
                </c:pt>
                <c:pt idx="73">
                  <c:v>1876.0</c:v>
                </c:pt>
                <c:pt idx="74">
                  <c:v>1954.0</c:v>
                </c:pt>
                <c:pt idx="75">
                  <c:v>2260.0</c:v>
                </c:pt>
                <c:pt idx="76">
                  <c:v>1830.0</c:v>
                </c:pt>
                <c:pt idx="77">
                  <c:v>1860.0</c:v>
                </c:pt>
                <c:pt idx="78">
                  <c:v>2088.0</c:v>
                </c:pt>
                <c:pt idx="79">
                  <c:v>175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7</c:v>
                </c:pt>
                <c:pt idx="40">
                  <c:v>0.99</c:v>
                </c:pt>
                <c:pt idx="41">
                  <c:v>1.0</c:v>
                </c:pt>
                <c:pt idx="42">
                  <c:v>1.0</c:v>
                </c:pt>
                <c:pt idx="43">
                  <c:v>0.67</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Laurent Perrier</c:v>
                </c:pt>
                <c:pt idx="2">
                  <c:v>Heidsieck &amp; Co Monopole</c:v>
                </c:pt>
                <c:pt idx="3">
                  <c:v>Taittinger</c:v>
                </c:pt>
                <c:pt idx="4">
                  <c:v>Nicolas</c:v>
                </c:pt>
              </c:strCache>
            </c:strRef>
          </c:cat>
          <c:val>
            <c:numRef>
              <c:f>Sheet1!$B$2:$B$6</c:f>
              <c:numCache>
                <c:formatCode>General</c:formatCode>
                <c:ptCount val="5"/>
                <c:pt idx="0">
                  <c:v>3.556</c:v>
                </c:pt>
                <c:pt idx="1">
                  <c:v>-0.07299999999999995</c:v>
                </c:pt>
                <c:pt idx="2">
                  <c:v>-0.031000000000000028</c:v>
                </c:pt>
                <c:pt idx="3">
                  <c:v>0.04800000000000004</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160.0</c:v>
                </c:pt>
                <c:pt idx="40">
                  <c:v>3104.0</c:v>
                </c:pt>
                <c:pt idx="41">
                  <c:v>3332.0</c:v>
                </c:pt>
                <c:pt idx="42">
                  <c:v>3007.0</c:v>
                </c:pt>
                <c:pt idx="43">
                  <c:v>79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819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6071.0</c:v>
                </c:pt>
                <c:pt idx="1">
                  <c:v>14657.0</c:v>
                </c:pt>
                <c:pt idx="2">
                  <c:v>11153.0</c:v>
                </c:pt>
                <c:pt idx="3">
                  <c:v>8430.0</c:v>
                </c:pt>
                <c:pt idx="4">
                  <c:v>8552.0</c:v>
                </c:pt>
                <c:pt idx="5">
                  <c:v>10862.0</c:v>
                </c:pt>
                <c:pt idx="6">
                  <c:v>14378.0</c:v>
                </c:pt>
                <c:pt idx="7">
                  <c:v>15968.0</c:v>
                </c:pt>
                <c:pt idx="8">
                  <c:v>14810.0</c:v>
                </c:pt>
                <c:pt idx="9">
                  <c:v>15806.0</c:v>
                </c:pt>
                <c:pt idx="10">
                  <c:v>19509.0</c:v>
                </c:pt>
                <c:pt idx="11">
                  <c:v>13748.0</c:v>
                </c:pt>
                <c:pt idx="12">
                  <c:v>18329.0</c:v>
                </c:pt>
                <c:pt idx="13">
                  <c:v>16441.0</c:v>
                </c:pt>
                <c:pt idx="14">
                  <c:v>23555.0</c:v>
                </c:pt>
                <c:pt idx="15">
                  <c:v>19543.0</c:v>
                </c:pt>
                <c:pt idx="16">
                  <c:v>18806.0</c:v>
                </c:pt>
                <c:pt idx="17">
                  <c:v>19183.0</c:v>
                </c:pt>
                <c:pt idx="18">
                  <c:v>18107.0</c:v>
                </c:pt>
                <c:pt idx="19">
                  <c:v>25908.0</c:v>
                </c:pt>
                <c:pt idx="20">
                  <c:v>25932.0</c:v>
                </c:pt>
                <c:pt idx="21">
                  <c:v>33785.0</c:v>
                </c:pt>
                <c:pt idx="22">
                  <c:v>60606.0</c:v>
                </c:pt>
                <c:pt idx="23">
                  <c:v>41220.0</c:v>
                </c:pt>
                <c:pt idx="24">
                  <c:v>39792.0</c:v>
                </c:pt>
                <c:pt idx="25">
                  <c:v>12325.0</c:v>
                </c:pt>
                <c:pt idx="26">
                  <c:v>11115.0</c:v>
                </c:pt>
                <c:pt idx="27">
                  <c:v>14575.0</c:v>
                </c:pt>
                <c:pt idx="28">
                  <c:v>11316.0</c:v>
                </c:pt>
                <c:pt idx="29">
                  <c:v>14314.0</c:v>
                </c:pt>
                <c:pt idx="30">
                  <c:v>16239.0</c:v>
                </c:pt>
                <c:pt idx="31">
                  <c:v>13414.0</c:v>
                </c:pt>
                <c:pt idx="32">
                  <c:v>14197.0</c:v>
                </c:pt>
                <c:pt idx="33">
                  <c:v>15081.0</c:v>
                </c:pt>
                <c:pt idx="34">
                  <c:v>14233.0</c:v>
                </c:pt>
                <c:pt idx="35">
                  <c:v>14032.0</c:v>
                </c:pt>
                <c:pt idx="36">
                  <c:v>17820.0</c:v>
                </c:pt>
                <c:pt idx="37">
                  <c:v>14776.0</c:v>
                </c:pt>
                <c:pt idx="38">
                  <c:v>16058.0</c:v>
                </c:pt>
                <c:pt idx="39">
                  <c:v>13706.0</c:v>
                </c:pt>
                <c:pt idx="40">
                  <c:v>14339.0</c:v>
                </c:pt>
                <c:pt idx="41">
                  <c:v>15778.0</c:v>
                </c:pt>
                <c:pt idx="42">
                  <c:v>11703.0</c:v>
                </c:pt>
                <c:pt idx="43">
                  <c:v>14298.0</c:v>
                </c:pt>
                <c:pt idx="44">
                  <c:v>19239.0</c:v>
                </c:pt>
                <c:pt idx="45">
                  <c:v>16031.0</c:v>
                </c:pt>
                <c:pt idx="46">
                  <c:v>17342.0</c:v>
                </c:pt>
                <c:pt idx="47">
                  <c:v>34943.0</c:v>
                </c:pt>
                <c:pt idx="48">
                  <c:v>23841.0</c:v>
                </c:pt>
                <c:pt idx="49">
                  <c:v>25790.0</c:v>
                </c:pt>
                <c:pt idx="50">
                  <c:v>22133.0</c:v>
                </c:pt>
                <c:pt idx="51">
                  <c:v>17141.0</c:v>
                </c:pt>
                <c:pt idx="52">
                  <c:v>16535.0</c:v>
                </c:pt>
                <c:pt idx="53">
                  <c:v>15224.0</c:v>
                </c:pt>
                <c:pt idx="54">
                  <c:v>14794.0</c:v>
                </c:pt>
                <c:pt idx="55">
                  <c:v>11143.0</c:v>
                </c:pt>
                <c:pt idx="56">
                  <c:v>10575.0</c:v>
                </c:pt>
                <c:pt idx="57">
                  <c:v>11474.0</c:v>
                </c:pt>
                <c:pt idx="58">
                  <c:v>17190.0</c:v>
                </c:pt>
                <c:pt idx="59">
                  <c:v>14286.0</c:v>
                </c:pt>
                <c:pt idx="60">
                  <c:v>16134.0</c:v>
                </c:pt>
                <c:pt idx="61">
                  <c:v>17642.0</c:v>
                </c:pt>
                <c:pt idx="62">
                  <c:v>17127.0</c:v>
                </c:pt>
                <c:pt idx="63">
                  <c:v>13644.0</c:v>
                </c:pt>
                <c:pt idx="64">
                  <c:v>17484.0</c:v>
                </c:pt>
                <c:pt idx="65">
                  <c:v>20350.0</c:v>
                </c:pt>
                <c:pt idx="66">
                  <c:v>22859.0</c:v>
                </c:pt>
                <c:pt idx="67">
                  <c:v>23881.0</c:v>
                </c:pt>
                <c:pt idx="68">
                  <c:v>25654.0</c:v>
                </c:pt>
                <c:pt idx="69">
                  <c:v>19432.0</c:v>
                </c:pt>
                <c:pt idx="70">
                  <c:v>19496.0</c:v>
                </c:pt>
                <c:pt idx="71">
                  <c:v>20318.0</c:v>
                </c:pt>
                <c:pt idx="72">
                  <c:v>24438.0</c:v>
                </c:pt>
                <c:pt idx="73">
                  <c:v>29205.0</c:v>
                </c:pt>
                <c:pt idx="74">
                  <c:v>52616.0</c:v>
                </c:pt>
                <c:pt idx="75">
                  <c:v>40257.0</c:v>
                </c:pt>
                <c:pt idx="76">
                  <c:v>11050.0</c:v>
                </c:pt>
                <c:pt idx="77">
                  <c:v>16988.0</c:v>
                </c:pt>
                <c:pt idx="78">
                  <c:v>17091.0</c:v>
                </c:pt>
                <c:pt idx="79">
                  <c:v>18378.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6071.0</c:v>
                </c:pt>
                <c:pt idx="1">
                  <c:v>14657.0</c:v>
                </c:pt>
                <c:pt idx="2">
                  <c:v>11153.0</c:v>
                </c:pt>
                <c:pt idx="3">
                  <c:v>8430.0</c:v>
                </c:pt>
                <c:pt idx="4">
                  <c:v>8552.0</c:v>
                </c:pt>
                <c:pt idx="5">
                  <c:v>10862.0</c:v>
                </c:pt>
                <c:pt idx="6">
                  <c:v>14378.0</c:v>
                </c:pt>
                <c:pt idx="7">
                  <c:v>15968.0</c:v>
                </c:pt>
                <c:pt idx="8">
                  <c:v>14810.0</c:v>
                </c:pt>
                <c:pt idx="9">
                  <c:v>15806.0</c:v>
                </c:pt>
                <c:pt idx="10">
                  <c:v>19509.0</c:v>
                </c:pt>
                <c:pt idx="11">
                  <c:v>13748.0</c:v>
                </c:pt>
                <c:pt idx="12">
                  <c:v>18329.0</c:v>
                </c:pt>
                <c:pt idx="13">
                  <c:v>16441.0</c:v>
                </c:pt>
                <c:pt idx="14">
                  <c:v>23555.0</c:v>
                </c:pt>
                <c:pt idx="15">
                  <c:v>19543.0</c:v>
                </c:pt>
                <c:pt idx="16">
                  <c:v>18806.0</c:v>
                </c:pt>
                <c:pt idx="17">
                  <c:v>19183.0</c:v>
                </c:pt>
                <c:pt idx="18">
                  <c:v>18107.0</c:v>
                </c:pt>
                <c:pt idx="19">
                  <c:v>25908.0</c:v>
                </c:pt>
                <c:pt idx="20">
                  <c:v>25932.0</c:v>
                </c:pt>
                <c:pt idx="21">
                  <c:v>33785.0</c:v>
                </c:pt>
                <c:pt idx="22">
                  <c:v>60606.0</c:v>
                </c:pt>
                <c:pt idx="23">
                  <c:v>41220.0</c:v>
                </c:pt>
                <c:pt idx="24">
                  <c:v>39792.0</c:v>
                </c:pt>
                <c:pt idx="25">
                  <c:v>12325.0</c:v>
                </c:pt>
                <c:pt idx="26">
                  <c:v>11115.0</c:v>
                </c:pt>
                <c:pt idx="27">
                  <c:v>14575.0</c:v>
                </c:pt>
                <c:pt idx="28">
                  <c:v>11316.0</c:v>
                </c:pt>
                <c:pt idx="29">
                  <c:v>14314.0</c:v>
                </c:pt>
                <c:pt idx="30">
                  <c:v>16239.0</c:v>
                </c:pt>
                <c:pt idx="31">
                  <c:v>13414.0</c:v>
                </c:pt>
                <c:pt idx="32">
                  <c:v>14197.0</c:v>
                </c:pt>
                <c:pt idx="33">
                  <c:v>15081.0</c:v>
                </c:pt>
                <c:pt idx="34">
                  <c:v>14233.0</c:v>
                </c:pt>
                <c:pt idx="35">
                  <c:v>14032.0</c:v>
                </c:pt>
                <c:pt idx="36">
                  <c:v>17820.0</c:v>
                </c:pt>
                <c:pt idx="37">
                  <c:v>14776.0</c:v>
                </c:pt>
                <c:pt idx="38">
                  <c:v>16058.0</c:v>
                </c:pt>
                <c:pt idx="39">
                  <c:v>16866.0</c:v>
                </c:pt>
                <c:pt idx="40">
                  <c:v>17443.0</c:v>
                </c:pt>
                <c:pt idx="41">
                  <c:v>19110.0</c:v>
                </c:pt>
                <c:pt idx="42">
                  <c:v>14710.0</c:v>
                </c:pt>
                <c:pt idx="43">
                  <c:v>15088.0</c:v>
                </c:pt>
                <c:pt idx="44">
                  <c:v>19239.0</c:v>
                </c:pt>
                <c:pt idx="45">
                  <c:v>16031.0</c:v>
                </c:pt>
                <c:pt idx="46">
                  <c:v>17342.0</c:v>
                </c:pt>
                <c:pt idx="47">
                  <c:v>34943.0</c:v>
                </c:pt>
                <c:pt idx="48">
                  <c:v>23841.0</c:v>
                </c:pt>
                <c:pt idx="49">
                  <c:v>25790.0</c:v>
                </c:pt>
                <c:pt idx="50">
                  <c:v>22133.0</c:v>
                </c:pt>
                <c:pt idx="51">
                  <c:v>17141.0</c:v>
                </c:pt>
                <c:pt idx="52">
                  <c:v>16535.0</c:v>
                </c:pt>
                <c:pt idx="53">
                  <c:v>15224.0</c:v>
                </c:pt>
                <c:pt idx="54">
                  <c:v>14794.0</c:v>
                </c:pt>
                <c:pt idx="55">
                  <c:v>11143.0</c:v>
                </c:pt>
                <c:pt idx="56">
                  <c:v>10575.0</c:v>
                </c:pt>
                <c:pt idx="57">
                  <c:v>11474.0</c:v>
                </c:pt>
                <c:pt idx="58">
                  <c:v>17190.0</c:v>
                </c:pt>
                <c:pt idx="59">
                  <c:v>14286.0</c:v>
                </c:pt>
                <c:pt idx="60">
                  <c:v>16134.0</c:v>
                </c:pt>
                <c:pt idx="61">
                  <c:v>17642.0</c:v>
                </c:pt>
                <c:pt idx="62">
                  <c:v>17127.0</c:v>
                </c:pt>
                <c:pt idx="63">
                  <c:v>13644.0</c:v>
                </c:pt>
                <c:pt idx="64">
                  <c:v>17484.0</c:v>
                </c:pt>
                <c:pt idx="65">
                  <c:v>20350.0</c:v>
                </c:pt>
                <c:pt idx="66">
                  <c:v>22859.0</c:v>
                </c:pt>
                <c:pt idx="67">
                  <c:v>23881.0</c:v>
                </c:pt>
                <c:pt idx="68">
                  <c:v>25654.0</c:v>
                </c:pt>
                <c:pt idx="69">
                  <c:v>19432.0</c:v>
                </c:pt>
                <c:pt idx="70">
                  <c:v>19496.0</c:v>
                </c:pt>
                <c:pt idx="71">
                  <c:v>48517.0</c:v>
                </c:pt>
                <c:pt idx="72">
                  <c:v>24438.0</c:v>
                </c:pt>
                <c:pt idx="73">
                  <c:v>29205.0</c:v>
                </c:pt>
                <c:pt idx="74">
                  <c:v>52616.0</c:v>
                </c:pt>
                <c:pt idx="75">
                  <c:v>40257.0</c:v>
                </c:pt>
                <c:pt idx="76">
                  <c:v>11050.0</c:v>
                </c:pt>
                <c:pt idx="77">
                  <c:v>16988.0</c:v>
                </c:pt>
                <c:pt idx="78">
                  <c:v>17091.0</c:v>
                </c:pt>
                <c:pt idx="79">
                  <c:v>18378.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9030.0</c:v>
                </c:pt>
                <c:pt idx="1">
                  <c:v>18795.0</c:v>
                </c:pt>
                <c:pt idx="2">
                  <c:v>17850.0</c:v>
                </c:pt>
                <c:pt idx="3">
                  <c:v>17348.0</c:v>
                </c:pt>
                <c:pt idx="4">
                  <c:v>16438.0</c:v>
                </c:pt>
                <c:pt idx="5">
                  <c:v>15474.0</c:v>
                </c:pt>
                <c:pt idx="6">
                  <c:v>15097.0</c:v>
                </c:pt>
                <c:pt idx="7">
                  <c:v>14813.0</c:v>
                </c:pt>
                <c:pt idx="8">
                  <c:v>14538.0</c:v>
                </c:pt>
                <c:pt idx="9">
                  <c:v>13672.0</c:v>
                </c:pt>
                <c:pt idx="10">
                  <c:v>13748.0</c:v>
                </c:pt>
                <c:pt idx="11">
                  <c:v>13765.0</c:v>
                </c:pt>
                <c:pt idx="12">
                  <c:v>14092.0</c:v>
                </c:pt>
                <c:pt idx="13">
                  <c:v>14496.0</c:v>
                </c:pt>
                <c:pt idx="14">
                  <c:v>15231.0</c:v>
                </c:pt>
                <c:pt idx="15">
                  <c:v>16379.0</c:v>
                </c:pt>
                <c:pt idx="16">
                  <c:v>17237.0</c:v>
                </c:pt>
                <c:pt idx="17">
                  <c:v>17936.0</c:v>
                </c:pt>
                <c:pt idx="18">
                  <c:v>18308.0</c:v>
                </c:pt>
                <c:pt idx="19">
                  <c:v>19148.0</c:v>
                </c:pt>
                <c:pt idx="20">
                  <c:v>20222.0</c:v>
                </c:pt>
                <c:pt idx="21">
                  <c:v>21737.0</c:v>
                </c:pt>
                <c:pt idx="22">
                  <c:v>25248.0</c:v>
                </c:pt>
                <c:pt idx="23">
                  <c:v>27443.0</c:v>
                </c:pt>
                <c:pt idx="24">
                  <c:v>30328.0</c:v>
                </c:pt>
                <c:pt idx="25">
                  <c:v>29830.0</c:v>
                </c:pt>
                <c:pt idx="26">
                  <c:v>28232.0</c:v>
                </c:pt>
                <c:pt idx="27">
                  <c:v>27971.0</c:v>
                </c:pt>
                <c:pt idx="28">
                  <c:v>27673.0</c:v>
                </c:pt>
                <c:pt idx="29">
                  <c:v>26325.0</c:v>
                </c:pt>
                <c:pt idx="30">
                  <c:v>26563.0</c:v>
                </c:pt>
                <c:pt idx="31">
                  <c:v>24780.0</c:v>
                </c:pt>
                <c:pt idx="32">
                  <c:v>24434.0</c:v>
                </c:pt>
                <c:pt idx="33">
                  <c:v>22530.0</c:v>
                </c:pt>
                <c:pt idx="34">
                  <c:v>18870.0</c:v>
                </c:pt>
                <c:pt idx="35">
                  <c:v>16336.0</c:v>
                </c:pt>
                <c:pt idx="36">
                  <c:v>14823.0</c:v>
                </c:pt>
                <c:pt idx="37">
                  <c:v>14733.0</c:v>
                </c:pt>
                <c:pt idx="38">
                  <c:v>15009.0</c:v>
                </c:pt>
                <c:pt idx="39">
                  <c:v>15041.0</c:v>
                </c:pt>
                <c:pt idx="40">
                  <c:v>15417.0</c:v>
                </c:pt>
                <c:pt idx="41">
                  <c:v>15398.0</c:v>
                </c:pt>
                <c:pt idx="42">
                  <c:v>14996.0</c:v>
                </c:pt>
                <c:pt idx="43">
                  <c:v>15041.0</c:v>
                </c:pt>
                <c:pt idx="44">
                  <c:v>15435.0</c:v>
                </c:pt>
                <c:pt idx="45">
                  <c:v>15330.0</c:v>
                </c:pt>
                <c:pt idx="46">
                  <c:v>15775.0</c:v>
                </c:pt>
                <c:pt idx="47">
                  <c:v>17794.0</c:v>
                </c:pt>
                <c:pt idx="48">
                  <c:v>18253.0</c:v>
                </c:pt>
                <c:pt idx="49">
                  <c:v>19499.0</c:v>
                </c:pt>
                <c:pt idx="50">
                  <c:v>20222.0</c:v>
                </c:pt>
                <c:pt idx="51">
                  <c:v>20436.0</c:v>
                </c:pt>
                <c:pt idx="52">
                  <c:v>20609.0</c:v>
                </c:pt>
                <c:pt idx="53">
                  <c:v>20698.0</c:v>
                </c:pt>
                <c:pt idx="54">
                  <c:v>21008.0</c:v>
                </c:pt>
                <c:pt idx="55">
                  <c:v>20785.0</c:v>
                </c:pt>
                <c:pt idx="56">
                  <c:v>19887.0</c:v>
                </c:pt>
                <c:pt idx="57">
                  <c:v>19519.0</c:v>
                </c:pt>
                <c:pt idx="58">
                  <c:v>18664.0</c:v>
                </c:pt>
                <c:pt idx="59">
                  <c:v>17732.0</c:v>
                </c:pt>
                <c:pt idx="60">
                  <c:v>16995.0</c:v>
                </c:pt>
                <c:pt idx="61">
                  <c:v>16029.0</c:v>
                </c:pt>
                <c:pt idx="62">
                  <c:v>15542.0</c:v>
                </c:pt>
                <c:pt idx="63">
                  <c:v>15330.0</c:v>
                </c:pt>
                <c:pt idx="64">
                  <c:v>15221.0</c:v>
                </c:pt>
                <c:pt idx="65">
                  <c:v>15767.0</c:v>
                </c:pt>
                <c:pt idx="66">
                  <c:v>16617.0</c:v>
                </c:pt>
                <c:pt idx="67">
                  <c:v>17798.0</c:v>
                </c:pt>
                <c:pt idx="68">
                  <c:v>18936.0</c:v>
                </c:pt>
                <c:pt idx="69">
                  <c:v>19575.0</c:v>
                </c:pt>
                <c:pt idx="70">
                  <c:v>19641.0</c:v>
                </c:pt>
                <c:pt idx="71">
                  <c:v>20380.0</c:v>
                </c:pt>
                <c:pt idx="72">
                  <c:v>21043.0</c:v>
                </c:pt>
                <c:pt idx="73">
                  <c:v>21995.0</c:v>
                </c:pt>
                <c:pt idx="74">
                  <c:v>24990.0</c:v>
                </c:pt>
                <c:pt idx="75">
                  <c:v>27179.0</c:v>
                </c:pt>
                <c:pt idx="76">
                  <c:v>26621.0</c:v>
                </c:pt>
                <c:pt idx="77">
                  <c:v>26253.0</c:v>
                </c:pt>
                <c:pt idx="78">
                  <c:v>25567.0</c:v>
                </c:pt>
                <c:pt idx="79">
                  <c:v>24841.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14</c:v>
                </c:pt>
                <c:pt idx="40">
                  <c:v>0.13</c:v>
                </c:pt>
                <c:pt idx="41">
                  <c:v>0.13</c:v>
                </c:pt>
                <c:pt idx="42">
                  <c:v>0.15</c:v>
                </c:pt>
                <c:pt idx="43">
                  <c:v>0.0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4</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844.0</c:v>
                </c:pt>
                <c:pt idx="40">
                  <c:v>744.0</c:v>
                </c:pt>
                <c:pt idx="41">
                  <c:v>828.0</c:v>
                </c:pt>
                <c:pt idx="42">
                  <c:v>810.0</c:v>
                </c:pt>
                <c:pt idx="43">
                  <c:v>6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91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086.0</c:v>
                </c:pt>
                <c:pt idx="1">
                  <c:v>2458.0</c:v>
                </c:pt>
                <c:pt idx="2">
                  <c:v>2153.0</c:v>
                </c:pt>
                <c:pt idx="3">
                  <c:v>2625.0</c:v>
                </c:pt>
                <c:pt idx="4">
                  <c:v>2203.0</c:v>
                </c:pt>
                <c:pt idx="5">
                  <c:v>2382.0</c:v>
                </c:pt>
                <c:pt idx="6">
                  <c:v>2834.0</c:v>
                </c:pt>
                <c:pt idx="7">
                  <c:v>2473.0</c:v>
                </c:pt>
                <c:pt idx="8">
                  <c:v>2856.0</c:v>
                </c:pt>
                <c:pt idx="9">
                  <c:v>3006.0</c:v>
                </c:pt>
                <c:pt idx="10">
                  <c:v>4856.0</c:v>
                </c:pt>
                <c:pt idx="11">
                  <c:v>2350.0</c:v>
                </c:pt>
                <c:pt idx="12">
                  <c:v>2795.0</c:v>
                </c:pt>
                <c:pt idx="13">
                  <c:v>3380.0</c:v>
                </c:pt>
                <c:pt idx="14">
                  <c:v>2488.0</c:v>
                </c:pt>
                <c:pt idx="15">
                  <c:v>4360.0</c:v>
                </c:pt>
                <c:pt idx="16">
                  <c:v>3411.0</c:v>
                </c:pt>
                <c:pt idx="17">
                  <c:v>3054.0</c:v>
                </c:pt>
                <c:pt idx="18">
                  <c:v>4153.0</c:v>
                </c:pt>
                <c:pt idx="19">
                  <c:v>6396.0</c:v>
                </c:pt>
                <c:pt idx="20">
                  <c:v>9096.0</c:v>
                </c:pt>
                <c:pt idx="21">
                  <c:v>8895.0</c:v>
                </c:pt>
                <c:pt idx="22">
                  <c:v>13236.0</c:v>
                </c:pt>
                <c:pt idx="23">
                  <c:v>7054.0</c:v>
                </c:pt>
                <c:pt idx="24">
                  <c:v>8716.0</c:v>
                </c:pt>
                <c:pt idx="25">
                  <c:v>3770.0</c:v>
                </c:pt>
                <c:pt idx="26">
                  <c:v>2347.0</c:v>
                </c:pt>
                <c:pt idx="27">
                  <c:v>1931.0</c:v>
                </c:pt>
                <c:pt idx="28">
                  <c:v>2917.0</c:v>
                </c:pt>
                <c:pt idx="29">
                  <c:v>2239.0</c:v>
                </c:pt>
                <c:pt idx="30">
                  <c:v>3238.0</c:v>
                </c:pt>
                <c:pt idx="31">
                  <c:v>2372.0</c:v>
                </c:pt>
                <c:pt idx="32">
                  <c:v>3213.0</c:v>
                </c:pt>
                <c:pt idx="33">
                  <c:v>3436.0</c:v>
                </c:pt>
                <c:pt idx="34">
                  <c:v>3176.0</c:v>
                </c:pt>
                <c:pt idx="35">
                  <c:v>5399.0</c:v>
                </c:pt>
                <c:pt idx="36">
                  <c:v>3544.0</c:v>
                </c:pt>
                <c:pt idx="37">
                  <c:v>3021.0</c:v>
                </c:pt>
                <c:pt idx="38">
                  <c:v>2488.0</c:v>
                </c:pt>
                <c:pt idx="39">
                  <c:v>2239.0</c:v>
                </c:pt>
                <c:pt idx="40">
                  <c:v>2393.0</c:v>
                </c:pt>
                <c:pt idx="41">
                  <c:v>2280.0</c:v>
                </c:pt>
                <c:pt idx="42">
                  <c:v>3838.0</c:v>
                </c:pt>
                <c:pt idx="43">
                  <c:v>3253.0</c:v>
                </c:pt>
                <c:pt idx="44">
                  <c:v>3242.0</c:v>
                </c:pt>
                <c:pt idx="45">
                  <c:v>2837.0</c:v>
                </c:pt>
                <c:pt idx="46">
                  <c:v>2892.0</c:v>
                </c:pt>
                <c:pt idx="47">
                  <c:v>8739.0</c:v>
                </c:pt>
                <c:pt idx="48">
                  <c:v>4154.0</c:v>
                </c:pt>
                <c:pt idx="49">
                  <c:v>5700.0</c:v>
                </c:pt>
                <c:pt idx="50">
                  <c:v>5024.0</c:v>
                </c:pt>
                <c:pt idx="51">
                  <c:v>3725.0</c:v>
                </c:pt>
                <c:pt idx="52">
                  <c:v>2608.0</c:v>
                </c:pt>
                <c:pt idx="53">
                  <c:v>4374.0</c:v>
                </c:pt>
                <c:pt idx="54">
                  <c:v>2995.0</c:v>
                </c:pt>
                <c:pt idx="55">
                  <c:v>2859.0</c:v>
                </c:pt>
                <c:pt idx="56">
                  <c:v>2443.0</c:v>
                </c:pt>
                <c:pt idx="57">
                  <c:v>3616.0</c:v>
                </c:pt>
                <c:pt idx="58">
                  <c:v>4332.0</c:v>
                </c:pt>
                <c:pt idx="59">
                  <c:v>3323.0</c:v>
                </c:pt>
                <c:pt idx="60">
                  <c:v>2804.0</c:v>
                </c:pt>
                <c:pt idx="61">
                  <c:v>2849.0</c:v>
                </c:pt>
                <c:pt idx="62">
                  <c:v>2644.0</c:v>
                </c:pt>
                <c:pt idx="63">
                  <c:v>2165.0</c:v>
                </c:pt>
                <c:pt idx="64">
                  <c:v>3060.0</c:v>
                </c:pt>
                <c:pt idx="65">
                  <c:v>3611.0</c:v>
                </c:pt>
                <c:pt idx="66">
                  <c:v>3024.0</c:v>
                </c:pt>
                <c:pt idx="67">
                  <c:v>5675.0</c:v>
                </c:pt>
                <c:pt idx="68">
                  <c:v>5438.0</c:v>
                </c:pt>
                <c:pt idx="69">
                  <c:v>2533.0</c:v>
                </c:pt>
                <c:pt idx="70">
                  <c:v>2957.0</c:v>
                </c:pt>
                <c:pt idx="71">
                  <c:v>2304.0</c:v>
                </c:pt>
                <c:pt idx="72">
                  <c:v>8210.0</c:v>
                </c:pt>
                <c:pt idx="73">
                  <c:v>7679.0</c:v>
                </c:pt>
                <c:pt idx="74">
                  <c:v>12209.0</c:v>
                </c:pt>
                <c:pt idx="75">
                  <c:v>10318.0</c:v>
                </c:pt>
                <c:pt idx="76">
                  <c:v>1522.0</c:v>
                </c:pt>
                <c:pt idx="77">
                  <c:v>2819.0</c:v>
                </c:pt>
                <c:pt idx="78">
                  <c:v>3914.0</c:v>
                </c:pt>
                <c:pt idx="79">
                  <c:v>203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086.0</c:v>
                </c:pt>
                <c:pt idx="1">
                  <c:v>2458.0</c:v>
                </c:pt>
                <c:pt idx="2">
                  <c:v>2153.0</c:v>
                </c:pt>
                <c:pt idx="3">
                  <c:v>2625.0</c:v>
                </c:pt>
                <c:pt idx="4">
                  <c:v>2203.0</c:v>
                </c:pt>
                <c:pt idx="5">
                  <c:v>2382.0</c:v>
                </c:pt>
                <c:pt idx="6">
                  <c:v>2834.0</c:v>
                </c:pt>
                <c:pt idx="7">
                  <c:v>2473.0</c:v>
                </c:pt>
                <c:pt idx="8">
                  <c:v>2856.0</c:v>
                </c:pt>
                <c:pt idx="9">
                  <c:v>3006.0</c:v>
                </c:pt>
                <c:pt idx="10">
                  <c:v>4856.0</c:v>
                </c:pt>
                <c:pt idx="11">
                  <c:v>2350.0</c:v>
                </c:pt>
                <c:pt idx="12">
                  <c:v>2795.0</c:v>
                </c:pt>
                <c:pt idx="13">
                  <c:v>3380.0</c:v>
                </c:pt>
                <c:pt idx="14">
                  <c:v>2488.0</c:v>
                </c:pt>
                <c:pt idx="15">
                  <c:v>4360.0</c:v>
                </c:pt>
                <c:pt idx="16">
                  <c:v>3411.0</c:v>
                </c:pt>
                <c:pt idx="17">
                  <c:v>3054.0</c:v>
                </c:pt>
                <c:pt idx="18">
                  <c:v>4153.0</c:v>
                </c:pt>
                <c:pt idx="19">
                  <c:v>6396.0</c:v>
                </c:pt>
                <c:pt idx="20">
                  <c:v>9096.0</c:v>
                </c:pt>
                <c:pt idx="21">
                  <c:v>8895.0</c:v>
                </c:pt>
                <c:pt idx="22">
                  <c:v>13236.0</c:v>
                </c:pt>
                <c:pt idx="23">
                  <c:v>7054.0</c:v>
                </c:pt>
                <c:pt idx="24">
                  <c:v>8716.0</c:v>
                </c:pt>
                <c:pt idx="25">
                  <c:v>3770.0</c:v>
                </c:pt>
                <c:pt idx="26">
                  <c:v>2347.0</c:v>
                </c:pt>
                <c:pt idx="27">
                  <c:v>1931.0</c:v>
                </c:pt>
                <c:pt idx="28">
                  <c:v>2917.0</c:v>
                </c:pt>
                <c:pt idx="29">
                  <c:v>2239.0</c:v>
                </c:pt>
                <c:pt idx="30">
                  <c:v>3238.0</c:v>
                </c:pt>
                <c:pt idx="31">
                  <c:v>2372.0</c:v>
                </c:pt>
                <c:pt idx="32">
                  <c:v>3213.0</c:v>
                </c:pt>
                <c:pt idx="33">
                  <c:v>3436.0</c:v>
                </c:pt>
                <c:pt idx="34">
                  <c:v>3176.0</c:v>
                </c:pt>
                <c:pt idx="35">
                  <c:v>5399.0</c:v>
                </c:pt>
                <c:pt idx="36">
                  <c:v>3544.0</c:v>
                </c:pt>
                <c:pt idx="37">
                  <c:v>3021.0</c:v>
                </c:pt>
                <c:pt idx="38">
                  <c:v>2488.0</c:v>
                </c:pt>
                <c:pt idx="39">
                  <c:v>3083.0</c:v>
                </c:pt>
                <c:pt idx="40">
                  <c:v>3137.0</c:v>
                </c:pt>
                <c:pt idx="41">
                  <c:v>3108.0</c:v>
                </c:pt>
                <c:pt idx="42">
                  <c:v>4648.0</c:v>
                </c:pt>
                <c:pt idx="43">
                  <c:v>3321.0</c:v>
                </c:pt>
                <c:pt idx="44">
                  <c:v>3242.0</c:v>
                </c:pt>
                <c:pt idx="45">
                  <c:v>2837.0</c:v>
                </c:pt>
                <c:pt idx="46">
                  <c:v>2892.0</c:v>
                </c:pt>
                <c:pt idx="47">
                  <c:v>8739.0</c:v>
                </c:pt>
                <c:pt idx="48">
                  <c:v>4154.0</c:v>
                </c:pt>
                <c:pt idx="49">
                  <c:v>5700.0</c:v>
                </c:pt>
                <c:pt idx="50">
                  <c:v>5024.0</c:v>
                </c:pt>
                <c:pt idx="51">
                  <c:v>3725.0</c:v>
                </c:pt>
                <c:pt idx="52">
                  <c:v>2608.0</c:v>
                </c:pt>
                <c:pt idx="53">
                  <c:v>4374.0</c:v>
                </c:pt>
                <c:pt idx="54">
                  <c:v>2995.0</c:v>
                </c:pt>
                <c:pt idx="55">
                  <c:v>2859.0</c:v>
                </c:pt>
                <c:pt idx="56">
                  <c:v>2443.0</c:v>
                </c:pt>
                <c:pt idx="57">
                  <c:v>3616.0</c:v>
                </c:pt>
                <c:pt idx="58">
                  <c:v>4332.0</c:v>
                </c:pt>
                <c:pt idx="59">
                  <c:v>3323.0</c:v>
                </c:pt>
                <c:pt idx="60">
                  <c:v>2804.0</c:v>
                </c:pt>
                <c:pt idx="61">
                  <c:v>2849.0</c:v>
                </c:pt>
                <c:pt idx="62">
                  <c:v>2644.0</c:v>
                </c:pt>
                <c:pt idx="63">
                  <c:v>2165.0</c:v>
                </c:pt>
                <c:pt idx="64">
                  <c:v>3060.0</c:v>
                </c:pt>
                <c:pt idx="65">
                  <c:v>3611.0</c:v>
                </c:pt>
                <c:pt idx="66">
                  <c:v>3024.0</c:v>
                </c:pt>
                <c:pt idx="67">
                  <c:v>5675.0</c:v>
                </c:pt>
                <c:pt idx="68">
                  <c:v>5438.0</c:v>
                </c:pt>
                <c:pt idx="69">
                  <c:v>2533.0</c:v>
                </c:pt>
                <c:pt idx="70">
                  <c:v>2957.0</c:v>
                </c:pt>
                <c:pt idx="71">
                  <c:v>6223.0</c:v>
                </c:pt>
                <c:pt idx="72">
                  <c:v>8210.0</c:v>
                </c:pt>
                <c:pt idx="73">
                  <c:v>7679.0</c:v>
                </c:pt>
                <c:pt idx="74">
                  <c:v>12209.0</c:v>
                </c:pt>
                <c:pt idx="75">
                  <c:v>10318.0</c:v>
                </c:pt>
                <c:pt idx="76">
                  <c:v>1522.0</c:v>
                </c:pt>
                <c:pt idx="77">
                  <c:v>2819.0</c:v>
                </c:pt>
                <c:pt idx="78">
                  <c:v>3914.0</c:v>
                </c:pt>
                <c:pt idx="79">
                  <c:v>203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3062.0</c:v>
                </c:pt>
                <c:pt idx="1">
                  <c:v>3038.0</c:v>
                </c:pt>
                <c:pt idx="2">
                  <c:v>2900.0</c:v>
                </c:pt>
                <c:pt idx="3">
                  <c:v>3017.0</c:v>
                </c:pt>
                <c:pt idx="4">
                  <c:v>2865.0</c:v>
                </c:pt>
                <c:pt idx="5">
                  <c:v>2989.0</c:v>
                </c:pt>
                <c:pt idx="6">
                  <c:v>2895.0</c:v>
                </c:pt>
                <c:pt idx="7">
                  <c:v>2652.0</c:v>
                </c:pt>
                <c:pt idx="8">
                  <c:v>2532.0</c:v>
                </c:pt>
                <c:pt idx="9">
                  <c:v>2576.0</c:v>
                </c:pt>
                <c:pt idx="10">
                  <c:v>2750.0</c:v>
                </c:pt>
                <c:pt idx="11">
                  <c:v>2688.0</c:v>
                </c:pt>
                <c:pt idx="12">
                  <c:v>2733.0</c:v>
                </c:pt>
                <c:pt idx="13">
                  <c:v>3027.0</c:v>
                </c:pt>
                <c:pt idx="14">
                  <c:v>2904.0</c:v>
                </c:pt>
                <c:pt idx="15">
                  <c:v>3156.0</c:v>
                </c:pt>
                <c:pt idx="16">
                  <c:v>3256.0</c:v>
                </c:pt>
                <c:pt idx="17">
                  <c:v>3282.0</c:v>
                </c:pt>
                <c:pt idx="18">
                  <c:v>3297.0</c:v>
                </c:pt>
                <c:pt idx="19">
                  <c:v>3639.0</c:v>
                </c:pt>
                <c:pt idx="20">
                  <c:v>4302.0</c:v>
                </c:pt>
                <c:pt idx="21">
                  <c:v>4852.0</c:v>
                </c:pt>
                <c:pt idx="22">
                  <c:v>5642.0</c:v>
                </c:pt>
                <c:pt idx="23">
                  <c:v>5952.0</c:v>
                </c:pt>
                <c:pt idx="24">
                  <c:v>6520.0</c:v>
                </c:pt>
                <c:pt idx="25">
                  <c:v>6233.0</c:v>
                </c:pt>
                <c:pt idx="26">
                  <c:v>6080.0</c:v>
                </c:pt>
                <c:pt idx="27">
                  <c:v>5882.0</c:v>
                </c:pt>
                <c:pt idx="28">
                  <c:v>6116.0</c:v>
                </c:pt>
                <c:pt idx="29">
                  <c:v>5993.0</c:v>
                </c:pt>
                <c:pt idx="30">
                  <c:v>5933.0</c:v>
                </c:pt>
                <c:pt idx="31">
                  <c:v>5644.0</c:v>
                </c:pt>
                <c:pt idx="32">
                  <c:v>5168.0</c:v>
                </c:pt>
                <c:pt idx="33">
                  <c:v>4419.0</c:v>
                </c:pt>
                <c:pt idx="34">
                  <c:v>3854.0</c:v>
                </c:pt>
                <c:pt idx="35">
                  <c:v>3664.0</c:v>
                </c:pt>
                <c:pt idx="36">
                  <c:v>3456.0</c:v>
                </c:pt>
                <c:pt idx="37">
                  <c:v>3286.0</c:v>
                </c:pt>
                <c:pt idx="38">
                  <c:v>3409.0</c:v>
                </c:pt>
                <c:pt idx="39">
                  <c:v>3443.0</c:v>
                </c:pt>
                <c:pt idx="40">
                  <c:v>3492.0</c:v>
                </c:pt>
                <c:pt idx="41">
                  <c:v>3332.0</c:v>
                </c:pt>
                <c:pt idx="42">
                  <c:v>3359.0</c:v>
                </c:pt>
                <c:pt idx="43">
                  <c:v>3299.0</c:v>
                </c:pt>
                <c:pt idx="44">
                  <c:v>3245.0</c:v>
                </c:pt>
                <c:pt idx="45">
                  <c:v>3269.0</c:v>
                </c:pt>
                <c:pt idx="46">
                  <c:v>3240.0</c:v>
                </c:pt>
                <c:pt idx="47">
                  <c:v>3729.0</c:v>
                </c:pt>
                <c:pt idx="48">
                  <c:v>3516.0</c:v>
                </c:pt>
                <c:pt idx="49">
                  <c:v>3818.0</c:v>
                </c:pt>
                <c:pt idx="50">
                  <c:v>4020.0</c:v>
                </c:pt>
                <c:pt idx="51">
                  <c:v>4158.0</c:v>
                </c:pt>
                <c:pt idx="52">
                  <c:v>4316.0</c:v>
                </c:pt>
                <c:pt idx="53">
                  <c:v>4545.0</c:v>
                </c:pt>
                <c:pt idx="54">
                  <c:v>4243.0</c:v>
                </c:pt>
                <c:pt idx="55">
                  <c:v>4337.0</c:v>
                </c:pt>
                <c:pt idx="56">
                  <c:v>4148.0</c:v>
                </c:pt>
                <c:pt idx="57">
                  <c:v>4332.0</c:v>
                </c:pt>
                <c:pt idx="58">
                  <c:v>4283.0</c:v>
                </c:pt>
                <c:pt idx="59">
                  <c:v>3909.0</c:v>
                </c:pt>
                <c:pt idx="60">
                  <c:v>3898.0</c:v>
                </c:pt>
                <c:pt idx="61">
                  <c:v>3501.0</c:v>
                </c:pt>
                <c:pt idx="62">
                  <c:v>3325.0</c:v>
                </c:pt>
                <c:pt idx="63">
                  <c:v>3105.0</c:v>
                </c:pt>
                <c:pt idx="64">
                  <c:v>3238.0</c:v>
                </c:pt>
                <c:pt idx="65">
                  <c:v>3127.0</c:v>
                </c:pt>
                <c:pt idx="66">
                  <c:v>3124.0</c:v>
                </c:pt>
                <c:pt idx="67">
                  <c:v>3531.0</c:v>
                </c:pt>
                <c:pt idx="68">
                  <c:v>3765.0</c:v>
                </c:pt>
                <c:pt idx="69">
                  <c:v>3670.0</c:v>
                </c:pt>
                <c:pt idx="70">
                  <c:v>3539.0</c:v>
                </c:pt>
                <c:pt idx="71">
                  <c:v>3358.0</c:v>
                </c:pt>
                <c:pt idx="72">
                  <c:v>3905.0</c:v>
                </c:pt>
                <c:pt idx="73">
                  <c:v>4484.0</c:v>
                </c:pt>
                <c:pt idx="74">
                  <c:v>5179.0</c:v>
                </c:pt>
                <c:pt idx="75">
                  <c:v>5967.0</c:v>
                </c:pt>
                <c:pt idx="76">
                  <c:v>5352.0</c:v>
                </c:pt>
                <c:pt idx="77">
                  <c:v>5318.0</c:v>
                </c:pt>
                <c:pt idx="78">
                  <c:v>5602.0</c:v>
                </c:pt>
                <c:pt idx="79">
                  <c:v>519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22</c:v>
                </c:pt>
                <c:pt idx="40">
                  <c:v>0.18</c:v>
                </c:pt>
                <c:pt idx="41">
                  <c:v>0.2</c:v>
                </c:pt>
                <c:pt idx="42">
                  <c:v>0.13</c:v>
                </c:pt>
                <c:pt idx="43">
                  <c:v>0.0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844.0</c:v>
                </c:pt>
                <c:pt idx="40">
                  <c:v>744.0</c:v>
                </c:pt>
                <c:pt idx="41">
                  <c:v>828.0</c:v>
                </c:pt>
                <c:pt idx="42">
                  <c:v>810.0</c:v>
                </c:pt>
                <c:pt idx="43">
                  <c:v>6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91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086.0</c:v>
                </c:pt>
                <c:pt idx="1">
                  <c:v>2458.0</c:v>
                </c:pt>
                <c:pt idx="2">
                  <c:v>2153.0</c:v>
                </c:pt>
                <c:pt idx="3">
                  <c:v>2625.0</c:v>
                </c:pt>
                <c:pt idx="4">
                  <c:v>2203.0</c:v>
                </c:pt>
                <c:pt idx="5">
                  <c:v>2382.0</c:v>
                </c:pt>
                <c:pt idx="6">
                  <c:v>2834.0</c:v>
                </c:pt>
                <c:pt idx="7">
                  <c:v>2473.0</c:v>
                </c:pt>
                <c:pt idx="8">
                  <c:v>2856.0</c:v>
                </c:pt>
                <c:pt idx="9">
                  <c:v>3006.0</c:v>
                </c:pt>
                <c:pt idx="10">
                  <c:v>4856.0</c:v>
                </c:pt>
                <c:pt idx="11">
                  <c:v>2350.0</c:v>
                </c:pt>
                <c:pt idx="12">
                  <c:v>2795.0</c:v>
                </c:pt>
                <c:pt idx="13">
                  <c:v>3380.0</c:v>
                </c:pt>
                <c:pt idx="14">
                  <c:v>2488.0</c:v>
                </c:pt>
                <c:pt idx="15">
                  <c:v>4360.0</c:v>
                </c:pt>
                <c:pt idx="16">
                  <c:v>3411.0</c:v>
                </c:pt>
                <c:pt idx="17">
                  <c:v>3054.0</c:v>
                </c:pt>
                <c:pt idx="18">
                  <c:v>4153.0</c:v>
                </c:pt>
                <c:pt idx="19">
                  <c:v>6396.0</c:v>
                </c:pt>
                <c:pt idx="20">
                  <c:v>9096.0</c:v>
                </c:pt>
                <c:pt idx="21">
                  <c:v>8895.0</c:v>
                </c:pt>
                <c:pt idx="22">
                  <c:v>13236.0</c:v>
                </c:pt>
                <c:pt idx="23">
                  <c:v>7054.0</c:v>
                </c:pt>
                <c:pt idx="24">
                  <c:v>8716.0</c:v>
                </c:pt>
                <c:pt idx="25">
                  <c:v>3770.0</c:v>
                </c:pt>
                <c:pt idx="26">
                  <c:v>2347.0</c:v>
                </c:pt>
                <c:pt idx="27">
                  <c:v>1931.0</c:v>
                </c:pt>
                <c:pt idx="28">
                  <c:v>2917.0</c:v>
                </c:pt>
                <c:pt idx="29">
                  <c:v>2239.0</c:v>
                </c:pt>
                <c:pt idx="30">
                  <c:v>3238.0</c:v>
                </c:pt>
                <c:pt idx="31">
                  <c:v>2372.0</c:v>
                </c:pt>
                <c:pt idx="32">
                  <c:v>3213.0</c:v>
                </c:pt>
                <c:pt idx="33">
                  <c:v>3436.0</c:v>
                </c:pt>
                <c:pt idx="34">
                  <c:v>3176.0</c:v>
                </c:pt>
                <c:pt idx="35">
                  <c:v>5399.0</c:v>
                </c:pt>
                <c:pt idx="36">
                  <c:v>3544.0</c:v>
                </c:pt>
                <c:pt idx="37">
                  <c:v>3021.0</c:v>
                </c:pt>
                <c:pt idx="38">
                  <c:v>2488.0</c:v>
                </c:pt>
                <c:pt idx="39">
                  <c:v>2239.0</c:v>
                </c:pt>
                <c:pt idx="40">
                  <c:v>2393.0</c:v>
                </c:pt>
                <c:pt idx="41">
                  <c:v>2280.0</c:v>
                </c:pt>
                <c:pt idx="42">
                  <c:v>3838.0</c:v>
                </c:pt>
                <c:pt idx="43">
                  <c:v>3253.0</c:v>
                </c:pt>
                <c:pt idx="44">
                  <c:v>3242.0</c:v>
                </c:pt>
                <c:pt idx="45">
                  <c:v>2837.0</c:v>
                </c:pt>
                <c:pt idx="46">
                  <c:v>2892.0</c:v>
                </c:pt>
                <c:pt idx="47">
                  <c:v>8739.0</c:v>
                </c:pt>
                <c:pt idx="48">
                  <c:v>4154.0</c:v>
                </c:pt>
                <c:pt idx="49">
                  <c:v>5700.0</c:v>
                </c:pt>
                <c:pt idx="50">
                  <c:v>5024.0</c:v>
                </c:pt>
                <c:pt idx="51">
                  <c:v>3725.0</c:v>
                </c:pt>
                <c:pt idx="52">
                  <c:v>2608.0</c:v>
                </c:pt>
                <c:pt idx="53">
                  <c:v>4374.0</c:v>
                </c:pt>
                <c:pt idx="54">
                  <c:v>2995.0</c:v>
                </c:pt>
                <c:pt idx="55">
                  <c:v>2859.0</c:v>
                </c:pt>
                <c:pt idx="56">
                  <c:v>2443.0</c:v>
                </c:pt>
                <c:pt idx="57">
                  <c:v>3616.0</c:v>
                </c:pt>
                <c:pt idx="58">
                  <c:v>4332.0</c:v>
                </c:pt>
                <c:pt idx="59">
                  <c:v>3323.0</c:v>
                </c:pt>
                <c:pt idx="60">
                  <c:v>2804.0</c:v>
                </c:pt>
                <c:pt idx="61">
                  <c:v>2849.0</c:v>
                </c:pt>
                <c:pt idx="62">
                  <c:v>2644.0</c:v>
                </c:pt>
                <c:pt idx="63">
                  <c:v>2165.0</c:v>
                </c:pt>
                <c:pt idx="64">
                  <c:v>3060.0</c:v>
                </c:pt>
                <c:pt idx="65">
                  <c:v>3611.0</c:v>
                </c:pt>
                <c:pt idx="66">
                  <c:v>3024.0</c:v>
                </c:pt>
                <c:pt idx="67">
                  <c:v>5675.0</c:v>
                </c:pt>
                <c:pt idx="68">
                  <c:v>5438.0</c:v>
                </c:pt>
                <c:pt idx="69">
                  <c:v>2533.0</c:v>
                </c:pt>
                <c:pt idx="70">
                  <c:v>2957.0</c:v>
                </c:pt>
                <c:pt idx="71">
                  <c:v>2304.0</c:v>
                </c:pt>
                <c:pt idx="72">
                  <c:v>8210.0</c:v>
                </c:pt>
                <c:pt idx="73">
                  <c:v>7679.0</c:v>
                </c:pt>
                <c:pt idx="74">
                  <c:v>12209.0</c:v>
                </c:pt>
                <c:pt idx="75">
                  <c:v>10318.0</c:v>
                </c:pt>
                <c:pt idx="76">
                  <c:v>1522.0</c:v>
                </c:pt>
                <c:pt idx="77">
                  <c:v>2819.0</c:v>
                </c:pt>
                <c:pt idx="78">
                  <c:v>3914.0</c:v>
                </c:pt>
                <c:pt idx="79">
                  <c:v>203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086.0</c:v>
                </c:pt>
                <c:pt idx="1">
                  <c:v>2458.0</c:v>
                </c:pt>
                <c:pt idx="2">
                  <c:v>2153.0</c:v>
                </c:pt>
                <c:pt idx="3">
                  <c:v>2625.0</c:v>
                </c:pt>
                <c:pt idx="4">
                  <c:v>2203.0</c:v>
                </c:pt>
                <c:pt idx="5">
                  <c:v>2382.0</c:v>
                </c:pt>
                <c:pt idx="6">
                  <c:v>2834.0</c:v>
                </c:pt>
                <c:pt idx="7">
                  <c:v>2473.0</c:v>
                </c:pt>
                <c:pt idx="8">
                  <c:v>2856.0</c:v>
                </c:pt>
                <c:pt idx="9">
                  <c:v>3006.0</c:v>
                </c:pt>
                <c:pt idx="10">
                  <c:v>4856.0</c:v>
                </c:pt>
                <c:pt idx="11">
                  <c:v>2350.0</c:v>
                </c:pt>
                <c:pt idx="12">
                  <c:v>2795.0</c:v>
                </c:pt>
                <c:pt idx="13">
                  <c:v>3380.0</c:v>
                </c:pt>
                <c:pt idx="14">
                  <c:v>2488.0</c:v>
                </c:pt>
                <c:pt idx="15">
                  <c:v>4360.0</c:v>
                </c:pt>
                <c:pt idx="16">
                  <c:v>3411.0</c:v>
                </c:pt>
                <c:pt idx="17">
                  <c:v>3054.0</c:v>
                </c:pt>
                <c:pt idx="18">
                  <c:v>4153.0</c:v>
                </c:pt>
                <c:pt idx="19">
                  <c:v>6396.0</c:v>
                </c:pt>
                <c:pt idx="20">
                  <c:v>9096.0</c:v>
                </c:pt>
                <c:pt idx="21">
                  <c:v>8895.0</c:v>
                </c:pt>
                <c:pt idx="22">
                  <c:v>13236.0</c:v>
                </c:pt>
                <c:pt idx="23">
                  <c:v>7054.0</c:v>
                </c:pt>
                <c:pt idx="24">
                  <c:v>8716.0</c:v>
                </c:pt>
                <c:pt idx="25">
                  <c:v>3770.0</c:v>
                </c:pt>
                <c:pt idx="26">
                  <c:v>2347.0</c:v>
                </c:pt>
                <c:pt idx="27">
                  <c:v>1931.0</c:v>
                </c:pt>
                <c:pt idx="28">
                  <c:v>2917.0</c:v>
                </c:pt>
                <c:pt idx="29">
                  <c:v>2239.0</c:v>
                </c:pt>
                <c:pt idx="30">
                  <c:v>3238.0</c:v>
                </c:pt>
                <c:pt idx="31">
                  <c:v>2372.0</c:v>
                </c:pt>
                <c:pt idx="32">
                  <c:v>3213.0</c:v>
                </c:pt>
                <c:pt idx="33">
                  <c:v>3436.0</c:v>
                </c:pt>
                <c:pt idx="34">
                  <c:v>3176.0</c:v>
                </c:pt>
                <c:pt idx="35">
                  <c:v>5399.0</c:v>
                </c:pt>
                <c:pt idx="36">
                  <c:v>3544.0</c:v>
                </c:pt>
                <c:pt idx="37">
                  <c:v>3021.0</c:v>
                </c:pt>
                <c:pt idx="38">
                  <c:v>2488.0</c:v>
                </c:pt>
                <c:pt idx="39">
                  <c:v>3083.0</c:v>
                </c:pt>
                <c:pt idx="40">
                  <c:v>3137.0</c:v>
                </c:pt>
                <c:pt idx="41">
                  <c:v>3108.0</c:v>
                </c:pt>
                <c:pt idx="42">
                  <c:v>4648.0</c:v>
                </c:pt>
                <c:pt idx="43">
                  <c:v>3321.0</c:v>
                </c:pt>
                <c:pt idx="44">
                  <c:v>3242.0</c:v>
                </c:pt>
                <c:pt idx="45">
                  <c:v>2837.0</c:v>
                </c:pt>
                <c:pt idx="46">
                  <c:v>2892.0</c:v>
                </c:pt>
                <c:pt idx="47">
                  <c:v>8739.0</c:v>
                </c:pt>
                <c:pt idx="48">
                  <c:v>4154.0</c:v>
                </c:pt>
                <c:pt idx="49">
                  <c:v>5700.0</c:v>
                </c:pt>
                <c:pt idx="50">
                  <c:v>5024.0</c:v>
                </c:pt>
                <c:pt idx="51">
                  <c:v>3725.0</c:v>
                </c:pt>
                <c:pt idx="52">
                  <c:v>2608.0</c:v>
                </c:pt>
                <c:pt idx="53">
                  <c:v>4374.0</c:v>
                </c:pt>
                <c:pt idx="54">
                  <c:v>2995.0</c:v>
                </c:pt>
                <c:pt idx="55">
                  <c:v>2859.0</c:v>
                </c:pt>
                <c:pt idx="56">
                  <c:v>2443.0</c:v>
                </c:pt>
                <c:pt idx="57">
                  <c:v>3616.0</c:v>
                </c:pt>
                <c:pt idx="58">
                  <c:v>4332.0</c:v>
                </c:pt>
                <c:pt idx="59">
                  <c:v>3323.0</c:v>
                </c:pt>
                <c:pt idx="60">
                  <c:v>2804.0</c:v>
                </c:pt>
                <c:pt idx="61">
                  <c:v>2849.0</c:v>
                </c:pt>
                <c:pt idx="62">
                  <c:v>2644.0</c:v>
                </c:pt>
                <c:pt idx="63">
                  <c:v>2165.0</c:v>
                </c:pt>
                <c:pt idx="64">
                  <c:v>3060.0</c:v>
                </c:pt>
                <c:pt idx="65">
                  <c:v>3611.0</c:v>
                </c:pt>
                <c:pt idx="66">
                  <c:v>3024.0</c:v>
                </c:pt>
                <c:pt idx="67">
                  <c:v>5675.0</c:v>
                </c:pt>
                <c:pt idx="68">
                  <c:v>5438.0</c:v>
                </c:pt>
                <c:pt idx="69">
                  <c:v>2533.0</c:v>
                </c:pt>
                <c:pt idx="70">
                  <c:v>2957.0</c:v>
                </c:pt>
                <c:pt idx="71">
                  <c:v>6223.0</c:v>
                </c:pt>
                <c:pt idx="72">
                  <c:v>8210.0</c:v>
                </c:pt>
                <c:pt idx="73">
                  <c:v>7679.0</c:v>
                </c:pt>
                <c:pt idx="74">
                  <c:v>12209.0</c:v>
                </c:pt>
                <c:pt idx="75">
                  <c:v>10318.0</c:v>
                </c:pt>
                <c:pt idx="76">
                  <c:v>1522.0</c:v>
                </c:pt>
                <c:pt idx="77">
                  <c:v>2819.0</c:v>
                </c:pt>
                <c:pt idx="78">
                  <c:v>3914.0</c:v>
                </c:pt>
                <c:pt idx="79">
                  <c:v>203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3062.0</c:v>
                </c:pt>
                <c:pt idx="1">
                  <c:v>3038.0</c:v>
                </c:pt>
                <c:pt idx="2">
                  <c:v>2900.0</c:v>
                </c:pt>
                <c:pt idx="3">
                  <c:v>3017.0</c:v>
                </c:pt>
                <c:pt idx="4">
                  <c:v>2865.0</c:v>
                </c:pt>
                <c:pt idx="5">
                  <c:v>2989.0</c:v>
                </c:pt>
                <c:pt idx="6">
                  <c:v>2895.0</c:v>
                </c:pt>
                <c:pt idx="7">
                  <c:v>2652.0</c:v>
                </c:pt>
                <c:pt idx="8">
                  <c:v>2532.0</c:v>
                </c:pt>
                <c:pt idx="9">
                  <c:v>2576.0</c:v>
                </c:pt>
                <c:pt idx="10">
                  <c:v>2750.0</c:v>
                </c:pt>
                <c:pt idx="11">
                  <c:v>2688.0</c:v>
                </c:pt>
                <c:pt idx="12">
                  <c:v>2733.0</c:v>
                </c:pt>
                <c:pt idx="13">
                  <c:v>3027.0</c:v>
                </c:pt>
                <c:pt idx="14">
                  <c:v>2904.0</c:v>
                </c:pt>
                <c:pt idx="15">
                  <c:v>3156.0</c:v>
                </c:pt>
                <c:pt idx="16">
                  <c:v>3256.0</c:v>
                </c:pt>
                <c:pt idx="17">
                  <c:v>3282.0</c:v>
                </c:pt>
                <c:pt idx="18">
                  <c:v>3297.0</c:v>
                </c:pt>
                <c:pt idx="19">
                  <c:v>3639.0</c:v>
                </c:pt>
                <c:pt idx="20">
                  <c:v>4302.0</c:v>
                </c:pt>
                <c:pt idx="21">
                  <c:v>4852.0</c:v>
                </c:pt>
                <c:pt idx="22">
                  <c:v>5642.0</c:v>
                </c:pt>
                <c:pt idx="23">
                  <c:v>5952.0</c:v>
                </c:pt>
                <c:pt idx="24">
                  <c:v>6520.0</c:v>
                </c:pt>
                <c:pt idx="25">
                  <c:v>6233.0</c:v>
                </c:pt>
                <c:pt idx="26">
                  <c:v>6080.0</c:v>
                </c:pt>
                <c:pt idx="27">
                  <c:v>5882.0</c:v>
                </c:pt>
                <c:pt idx="28">
                  <c:v>6116.0</c:v>
                </c:pt>
                <c:pt idx="29">
                  <c:v>5993.0</c:v>
                </c:pt>
                <c:pt idx="30">
                  <c:v>5933.0</c:v>
                </c:pt>
                <c:pt idx="31">
                  <c:v>5644.0</c:v>
                </c:pt>
                <c:pt idx="32">
                  <c:v>5168.0</c:v>
                </c:pt>
                <c:pt idx="33">
                  <c:v>4419.0</c:v>
                </c:pt>
                <c:pt idx="34">
                  <c:v>3854.0</c:v>
                </c:pt>
                <c:pt idx="35">
                  <c:v>3664.0</c:v>
                </c:pt>
                <c:pt idx="36">
                  <c:v>3456.0</c:v>
                </c:pt>
                <c:pt idx="37">
                  <c:v>3286.0</c:v>
                </c:pt>
                <c:pt idx="38">
                  <c:v>3409.0</c:v>
                </c:pt>
                <c:pt idx="39">
                  <c:v>3443.0</c:v>
                </c:pt>
                <c:pt idx="40">
                  <c:v>3492.0</c:v>
                </c:pt>
                <c:pt idx="41">
                  <c:v>3332.0</c:v>
                </c:pt>
                <c:pt idx="42">
                  <c:v>3359.0</c:v>
                </c:pt>
                <c:pt idx="43">
                  <c:v>3299.0</c:v>
                </c:pt>
                <c:pt idx="44">
                  <c:v>3245.0</c:v>
                </c:pt>
                <c:pt idx="45">
                  <c:v>3269.0</c:v>
                </c:pt>
                <c:pt idx="46">
                  <c:v>3240.0</c:v>
                </c:pt>
                <c:pt idx="47">
                  <c:v>3729.0</c:v>
                </c:pt>
                <c:pt idx="48">
                  <c:v>3516.0</c:v>
                </c:pt>
                <c:pt idx="49">
                  <c:v>3818.0</c:v>
                </c:pt>
                <c:pt idx="50">
                  <c:v>4020.0</c:v>
                </c:pt>
                <c:pt idx="51">
                  <c:v>4158.0</c:v>
                </c:pt>
                <c:pt idx="52">
                  <c:v>4316.0</c:v>
                </c:pt>
                <c:pt idx="53">
                  <c:v>4545.0</c:v>
                </c:pt>
                <c:pt idx="54">
                  <c:v>4243.0</c:v>
                </c:pt>
                <c:pt idx="55">
                  <c:v>4337.0</c:v>
                </c:pt>
                <c:pt idx="56">
                  <c:v>4148.0</c:v>
                </c:pt>
                <c:pt idx="57">
                  <c:v>4332.0</c:v>
                </c:pt>
                <c:pt idx="58">
                  <c:v>4283.0</c:v>
                </c:pt>
                <c:pt idx="59">
                  <c:v>3909.0</c:v>
                </c:pt>
                <c:pt idx="60">
                  <c:v>3898.0</c:v>
                </c:pt>
                <c:pt idx="61">
                  <c:v>3501.0</c:v>
                </c:pt>
                <c:pt idx="62">
                  <c:v>3325.0</c:v>
                </c:pt>
                <c:pt idx="63">
                  <c:v>3105.0</c:v>
                </c:pt>
                <c:pt idx="64">
                  <c:v>3238.0</c:v>
                </c:pt>
                <c:pt idx="65">
                  <c:v>3127.0</c:v>
                </c:pt>
                <c:pt idx="66">
                  <c:v>3124.0</c:v>
                </c:pt>
                <c:pt idx="67">
                  <c:v>3531.0</c:v>
                </c:pt>
                <c:pt idx="68">
                  <c:v>3765.0</c:v>
                </c:pt>
                <c:pt idx="69">
                  <c:v>3670.0</c:v>
                </c:pt>
                <c:pt idx="70">
                  <c:v>3539.0</c:v>
                </c:pt>
                <c:pt idx="71">
                  <c:v>3358.0</c:v>
                </c:pt>
                <c:pt idx="72">
                  <c:v>3905.0</c:v>
                </c:pt>
                <c:pt idx="73">
                  <c:v>4484.0</c:v>
                </c:pt>
                <c:pt idx="74">
                  <c:v>5179.0</c:v>
                </c:pt>
                <c:pt idx="75">
                  <c:v>5967.0</c:v>
                </c:pt>
                <c:pt idx="76">
                  <c:v>5352.0</c:v>
                </c:pt>
                <c:pt idx="77">
                  <c:v>5318.0</c:v>
                </c:pt>
                <c:pt idx="78">
                  <c:v>5602.0</c:v>
                </c:pt>
                <c:pt idx="79">
                  <c:v>519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22</c:v>
                </c:pt>
                <c:pt idx="40">
                  <c:v>0.18</c:v>
                </c:pt>
                <c:pt idx="41">
                  <c:v>0.2</c:v>
                </c:pt>
                <c:pt idx="42">
                  <c:v>0.13</c:v>
                </c:pt>
                <c:pt idx="43">
                  <c:v>0.0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0003.0</c:v>
                </c:pt>
                <c:pt idx="40">
                  <c:v>13693.0</c:v>
                </c:pt>
                <c:pt idx="41">
                  <c:v>13331.0</c:v>
                </c:pt>
                <c:pt idx="42">
                  <c:v>8467.0</c:v>
                </c:pt>
                <c:pt idx="43">
                  <c:v>184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7175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41299.0</c:v>
                </c:pt>
                <c:pt idx="1">
                  <c:v>37853.0</c:v>
                </c:pt>
                <c:pt idx="2">
                  <c:v>27158.0</c:v>
                </c:pt>
                <c:pt idx="3">
                  <c:v>21861.0</c:v>
                </c:pt>
                <c:pt idx="4">
                  <c:v>19020.0</c:v>
                </c:pt>
                <c:pt idx="5">
                  <c:v>26613.0</c:v>
                </c:pt>
                <c:pt idx="6">
                  <c:v>43997.0</c:v>
                </c:pt>
                <c:pt idx="7">
                  <c:v>46053.0</c:v>
                </c:pt>
                <c:pt idx="8">
                  <c:v>46524.0</c:v>
                </c:pt>
                <c:pt idx="9">
                  <c:v>53941.0</c:v>
                </c:pt>
                <c:pt idx="10">
                  <c:v>58040.0</c:v>
                </c:pt>
                <c:pt idx="11">
                  <c:v>53105.0</c:v>
                </c:pt>
                <c:pt idx="12">
                  <c:v>61603.0</c:v>
                </c:pt>
                <c:pt idx="13">
                  <c:v>55152.0</c:v>
                </c:pt>
                <c:pt idx="14">
                  <c:v>54341.0</c:v>
                </c:pt>
                <c:pt idx="15">
                  <c:v>57921.0</c:v>
                </c:pt>
                <c:pt idx="16">
                  <c:v>63213.0</c:v>
                </c:pt>
                <c:pt idx="17">
                  <c:v>66608.0</c:v>
                </c:pt>
                <c:pt idx="18">
                  <c:v>66834.0</c:v>
                </c:pt>
                <c:pt idx="19">
                  <c:v>67672.0</c:v>
                </c:pt>
                <c:pt idx="20">
                  <c:v>85103.0</c:v>
                </c:pt>
                <c:pt idx="21">
                  <c:v>97193.0</c:v>
                </c:pt>
                <c:pt idx="22">
                  <c:v>153431.0</c:v>
                </c:pt>
                <c:pt idx="23">
                  <c:v>109399.0</c:v>
                </c:pt>
                <c:pt idx="24">
                  <c:v>118770.0</c:v>
                </c:pt>
                <c:pt idx="25">
                  <c:v>47732.0</c:v>
                </c:pt>
                <c:pt idx="26">
                  <c:v>44254.0</c:v>
                </c:pt>
                <c:pt idx="27">
                  <c:v>50667.0</c:v>
                </c:pt>
                <c:pt idx="28">
                  <c:v>46823.0</c:v>
                </c:pt>
                <c:pt idx="29">
                  <c:v>54752.0</c:v>
                </c:pt>
                <c:pt idx="30">
                  <c:v>56405.0</c:v>
                </c:pt>
                <c:pt idx="31">
                  <c:v>45389.0</c:v>
                </c:pt>
                <c:pt idx="32">
                  <c:v>54853.0</c:v>
                </c:pt>
                <c:pt idx="33">
                  <c:v>53642.0</c:v>
                </c:pt>
                <c:pt idx="34">
                  <c:v>55398.0</c:v>
                </c:pt>
                <c:pt idx="35">
                  <c:v>53727.0</c:v>
                </c:pt>
                <c:pt idx="36">
                  <c:v>62774.0</c:v>
                </c:pt>
                <c:pt idx="37">
                  <c:v>51418.0</c:v>
                </c:pt>
                <c:pt idx="38">
                  <c:v>47979.0</c:v>
                </c:pt>
                <c:pt idx="39">
                  <c:v>46018.0</c:v>
                </c:pt>
                <c:pt idx="40">
                  <c:v>47657.0</c:v>
                </c:pt>
                <c:pt idx="41">
                  <c:v>46241.0</c:v>
                </c:pt>
                <c:pt idx="42">
                  <c:v>34458.0</c:v>
                </c:pt>
                <c:pt idx="43">
                  <c:v>46270.0</c:v>
                </c:pt>
                <c:pt idx="44">
                  <c:v>56138.0</c:v>
                </c:pt>
                <c:pt idx="45">
                  <c:v>54392.0</c:v>
                </c:pt>
                <c:pt idx="46">
                  <c:v>56895.0</c:v>
                </c:pt>
                <c:pt idx="47">
                  <c:v>109116.0</c:v>
                </c:pt>
                <c:pt idx="48">
                  <c:v>78606.0</c:v>
                </c:pt>
                <c:pt idx="49">
                  <c:v>84537.0</c:v>
                </c:pt>
                <c:pt idx="50">
                  <c:v>69049.0</c:v>
                </c:pt>
                <c:pt idx="51">
                  <c:v>51134.0</c:v>
                </c:pt>
                <c:pt idx="52">
                  <c:v>41972.0</c:v>
                </c:pt>
                <c:pt idx="53">
                  <c:v>42894.0</c:v>
                </c:pt>
                <c:pt idx="54">
                  <c:v>34228.0</c:v>
                </c:pt>
                <c:pt idx="55">
                  <c:v>25670.0</c:v>
                </c:pt>
                <c:pt idx="56">
                  <c:v>19099.0</c:v>
                </c:pt>
                <c:pt idx="57">
                  <c:v>30833.0</c:v>
                </c:pt>
                <c:pt idx="58">
                  <c:v>47000.0</c:v>
                </c:pt>
                <c:pt idx="59">
                  <c:v>53107.0</c:v>
                </c:pt>
                <c:pt idx="60">
                  <c:v>53223.0</c:v>
                </c:pt>
                <c:pt idx="61">
                  <c:v>53145.0</c:v>
                </c:pt>
                <c:pt idx="62">
                  <c:v>54548.0</c:v>
                </c:pt>
                <c:pt idx="63">
                  <c:v>53522.0</c:v>
                </c:pt>
                <c:pt idx="64">
                  <c:v>59498.0</c:v>
                </c:pt>
                <c:pt idx="65">
                  <c:v>65787.0</c:v>
                </c:pt>
                <c:pt idx="66">
                  <c:v>67512.0</c:v>
                </c:pt>
                <c:pt idx="67">
                  <c:v>67932.0</c:v>
                </c:pt>
                <c:pt idx="68">
                  <c:v>78562.0</c:v>
                </c:pt>
                <c:pt idx="69">
                  <c:v>67843.0</c:v>
                </c:pt>
                <c:pt idx="70">
                  <c:v>66365.0</c:v>
                </c:pt>
                <c:pt idx="71">
                  <c:v>66813.0</c:v>
                </c:pt>
                <c:pt idx="72">
                  <c:v>79130.0</c:v>
                </c:pt>
                <c:pt idx="73">
                  <c:v>88445.0</c:v>
                </c:pt>
                <c:pt idx="74">
                  <c:v>131862.0</c:v>
                </c:pt>
                <c:pt idx="75">
                  <c:v>102948.0</c:v>
                </c:pt>
                <c:pt idx="76">
                  <c:v>30723.0</c:v>
                </c:pt>
                <c:pt idx="77">
                  <c:v>61983.0</c:v>
                </c:pt>
                <c:pt idx="78">
                  <c:v>61319.0</c:v>
                </c:pt>
                <c:pt idx="79">
                  <c:v>6162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41299.0</c:v>
                </c:pt>
                <c:pt idx="1">
                  <c:v>37853.0</c:v>
                </c:pt>
                <c:pt idx="2">
                  <c:v>27158.0</c:v>
                </c:pt>
                <c:pt idx="3">
                  <c:v>21861.0</c:v>
                </c:pt>
                <c:pt idx="4">
                  <c:v>19020.0</c:v>
                </c:pt>
                <c:pt idx="5">
                  <c:v>26613.0</c:v>
                </c:pt>
                <c:pt idx="6">
                  <c:v>43997.0</c:v>
                </c:pt>
                <c:pt idx="7">
                  <c:v>46053.0</c:v>
                </c:pt>
                <c:pt idx="8">
                  <c:v>46524.0</c:v>
                </c:pt>
                <c:pt idx="9">
                  <c:v>53941.0</c:v>
                </c:pt>
                <c:pt idx="10">
                  <c:v>58040.0</c:v>
                </c:pt>
                <c:pt idx="11">
                  <c:v>53105.0</c:v>
                </c:pt>
                <c:pt idx="12">
                  <c:v>61603.0</c:v>
                </c:pt>
                <c:pt idx="13">
                  <c:v>55152.0</c:v>
                </c:pt>
                <c:pt idx="14">
                  <c:v>54341.0</c:v>
                </c:pt>
                <c:pt idx="15">
                  <c:v>57921.0</c:v>
                </c:pt>
                <c:pt idx="16">
                  <c:v>63213.0</c:v>
                </c:pt>
                <c:pt idx="17">
                  <c:v>66608.0</c:v>
                </c:pt>
                <c:pt idx="18">
                  <c:v>66834.0</c:v>
                </c:pt>
                <c:pt idx="19">
                  <c:v>67672.0</c:v>
                </c:pt>
                <c:pt idx="20">
                  <c:v>85103.0</c:v>
                </c:pt>
                <c:pt idx="21">
                  <c:v>97193.0</c:v>
                </c:pt>
                <c:pt idx="22">
                  <c:v>153431.0</c:v>
                </c:pt>
                <c:pt idx="23">
                  <c:v>109399.0</c:v>
                </c:pt>
                <c:pt idx="24">
                  <c:v>118770.0</c:v>
                </c:pt>
                <c:pt idx="25">
                  <c:v>47732.0</c:v>
                </c:pt>
                <c:pt idx="26">
                  <c:v>44254.0</c:v>
                </c:pt>
                <c:pt idx="27">
                  <c:v>50667.0</c:v>
                </c:pt>
                <c:pt idx="28">
                  <c:v>46823.0</c:v>
                </c:pt>
                <c:pt idx="29">
                  <c:v>54752.0</c:v>
                </c:pt>
                <c:pt idx="30">
                  <c:v>56405.0</c:v>
                </c:pt>
                <c:pt idx="31">
                  <c:v>45389.0</c:v>
                </c:pt>
                <c:pt idx="32">
                  <c:v>54853.0</c:v>
                </c:pt>
                <c:pt idx="33">
                  <c:v>53642.0</c:v>
                </c:pt>
                <c:pt idx="34">
                  <c:v>55398.0</c:v>
                </c:pt>
                <c:pt idx="35">
                  <c:v>53727.0</c:v>
                </c:pt>
                <c:pt idx="36">
                  <c:v>62774.0</c:v>
                </c:pt>
                <c:pt idx="37">
                  <c:v>51418.0</c:v>
                </c:pt>
                <c:pt idx="38">
                  <c:v>47979.0</c:v>
                </c:pt>
                <c:pt idx="39">
                  <c:v>56021.0</c:v>
                </c:pt>
                <c:pt idx="40">
                  <c:v>61350.0</c:v>
                </c:pt>
                <c:pt idx="41">
                  <c:v>59572.0</c:v>
                </c:pt>
                <c:pt idx="42">
                  <c:v>42925.0</c:v>
                </c:pt>
                <c:pt idx="43">
                  <c:v>48119.0</c:v>
                </c:pt>
                <c:pt idx="44">
                  <c:v>56138.0</c:v>
                </c:pt>
                <c:pt idx="45">
                  <c:v>54392.0</c:v>
                </c:pt>
                <c:pt idx="46">
                  <c:v>56895.0</c:v>
                </c:pt>
                <c:pt idx="47">
                  <c:v>109116.0</c:v>
                </c:pt>
                <c:pt idx="48">
                  <c:v>78606.0</c:v>
                </c:pt>
                <c:pt idx="49">
                  <c:v>84537.0</c:v>
                </c:pt>
                <c:pt idx="50">
                  <c:v>69049.0</c:v>
                </c:pt>
                <c:pt idx="51">
                  <c:v>51134.0</c:v>
                </c:pt>
                <c:pt idx="52">
                  <c:v>41972.0</c:v>
                </c:pt>
                <c:pt idx="53">
                  <c:v>42894.0</c:v>
                </c:pt>
                <c:pt idx="54">
                  <c:v>34228.0</c:v>
                </c:pt>
                <c:pt idx="55">
                  <c:v>25670.0</c:v>
                </c:pt>
                <c:pt idx="56">
                  <c:v>19099.0</c:v>
                </c:pt>
                <c:pt idx="57">
                  <c:v>30833.0</c:v>
                </c:pt>
                <c:pt idx="58">
                  <c:v>47000.0</c:v>
                </c:pt>
                <c:pt idx="59">
                  <c:v>53107.0</c:v>
                </c:pt>
                <c:pt idx="60">
                  <c:v>53223.0</c:v>
                </c:pt>
                <c:pt idx="61">
                  <c:v>53145.0</c:v>
                </c:pt>
                <c:pt idx="62">
                  <c:v>54548.0</c:v>
                </c:pt>
                <c:pt idx="63">
                  <c:v>53522.0</c:v>
                </c:pt>
                <c:pt idx="64">
                  <c:v>59498.0</c:v>
                </c:pt>
                <c:pt idx="65">
                  <c:v>65787.0</c:v>
                </c:pt>
                <c:pt idx="66">
                  <c:v>67512.0</c:v>
                </c:pt>
                <c:pt idx="67">
                  <c:v>67932.0</c:v>
                </c:pt>
                <c:pt idx="68">
                  <c:v>78562.0</c:v>
                </c:pt>
                <c:pt idx="69">
                  <c:v>67843.0</c:v>
                </c:pt>
                <c:pt idx="70">
                  <c:v>66365.0</c:v>
                </c:pt>
                <c:pt idx="71">
                  <c:v>138564.0</c:v>
                </c:pt>
                <c:pt idx="72">
                  <c:v>79130.0</c:v>
                </c:pt>
                <c:pt idx="73">
                  <c:v>88445.0</c:v>
                </c:pt>
                <c:pt idx="74">
                  <c:v>131862.0</c:v>
                </c:pt>
                <c:pt idx="75">
                  <c:v>102948.0</c:v>
                </c:pt>
                <c:pt idx="76">
                  <c:v>30723.0</c:v>
                </c:pt>
                <c:pt idx="77">
                  <c:v>61983.0</c:v>
                </c:pt>
                <c:pt idx="78">
                  <c:v>61319.0</c:v>
                </c:pt>
                <c:pt idx="79">
                  <c:v>6162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52383.0</c:v>
                </c:pt>
                <c:pt idx="1">
                  <c:v>51846.0</c:v>
                </c:pt>
                <c:pt idx="2">
                  <c:v>49359.0</c:v>
                </c:pt>
                <c:pt idx="3">
                  <c:v>47741.0</c:v>
                </c:pt>
                <c:pt idx="4">
                  <c:v>45302.0</c:v>
                </c:pt>
                <c:pt idx="5">
                  <c:v>42407.0</c:v>
                </c:pt>
                <c:pt idx="6">
                  <c:v>41866.0</c:v>
                </c:pt>
                <c:pt idx="7">
                  <c:v>40612.0</c:v>
                </c:pt>
                <c:pt idx="8">
                  <c:v>39407.0</c:v>
                </c:pt>
                <c:pt idx="9">
                  <c:v>38136.0</c:v>
                </c:pt>
                <c:pt idx="10">
                  <c:v>38328.0</c:v>
                </c:pt>
                <c:pt idx="11">
                  <c:v>39668.0</c:v>
                </c:pt>
                <c:pt idx="12">
                  <c:v>41845.0</c:v>
                </c:pt>
                <c:pt idx="13">
                  <c:v>43858.0</c:v>
                </c:pt>
                <c:pt idx="14">
                  <c:v>46164.0</c:v>
                </c:pt>
                <c:pt idx="15">
                  <c:v>49073.0</c:v>
                </c:pt>
                <c:pt idx="16">
                  <c:v>53584.0</c:v>
                </c:pt>
                <c:pt idx="17">
                  <c:v>57099.0</c:v>
                </c:pt>
                <c:pt idx="18">
                  <c:v>58693.0</c:v>
                </c:pt>
                <c:pt idx="19">
                  <c:v>60586.0</c:v>
                </c:pt>
                <c:pt idx="20">
                  <c:v>63956.0</c:v>
                </c:pt>
                <c:pt idx="21">
                  <c:v>67450.0</c:v>
                </c:pt>
                <c:pt idx="22">
                  <c:v>75502.0</c:v>
                </c:pt>
                <c:pt idx="23">
                  <c:v>80001.0</c:v>
                </c:pt>
                <c:pt idx="24">
                  <c:v>87828.0</c:v>
                </c:pt>
                <c:pt idx="25">
                  <c:v>87330.0</c:v>
                </c:pt>
                <c:pt idx="26">
                  <c:v>86235.0</c:v>
                </c:pt>
                <c:pt idx="27">
                  <c:v>85229.0</c:v>
                </c:pt>
                <c:pt idx="28">
                  <c:v>83606.0</c:v>
                </c:pt>
                <c:pt idx="29">
                  <c:v>82215.0</c:v>
                </c:pt>
                <c:pt idx="30">
                  <c:v>80887.0</c:v>
                </c:pt>
                <c:pt idx="31">
                  <c:v>78538.0</c:v>
                </c:pt>
                <c:pt idx="32">
                  <c:v>75530.0</c:v>
                </c:pt>
                <c:pt idx="33">
                  <c:v>71252.0</c:v>
                </c:pt>
                <c:pt idx="34">
                  <c:v>61828.0</c:v>
                </c:pt>
                <c:pt idx="35">
                  <c:v>57047.0</c:v>
                </c:pt>
                <c:pt idx="36">
                  <c:v>52463.0</c:v>
                </c:pt>
                <c:pt idx="37">
                  <c:v>52551.0</c:v>
                </c:pt>
                <c:pt idx="38">
                  <c:v>52845.0</c:v>
                </c:pt>
                <c:pt idx="39">
                  <c:v>52678.0</c:v>
                </c:pt>
                <c:pt idx="40">
                  <c:v>53049.0</c:v>
                </c:pt>
                <c:pt idx="41">
                  <c:v>52476.0</c:v>
                </c:pt>
                <c:pt idx="42">
                  <c:v>50889.0</c:v>
                </c:pt>
                <c:pt idx="43">
                  <c:v>51031.0</c:v>
                </c:pt>
                <c:pt idx="44">
                  <c:v>51181.0</c:v>
                </c:pt>
                <c:pt idx="45">
                  <c:v>51233.0</c:v>
                </c:pt>
                <c:pt idx="46">
                  <c:v>51291.0</c:v>
                </c:pt>
                <c:pt idx="47">
                  <c:v>56759.0</c:v>
                </c:pt>
                <c:pt idx="48">
                  <c:v>58583.0</c:v>
                </c:pt>
                <c:pt idx="49">
                  <c:v>61951.0</c:v>
                </c:pt>
                <c:pt idx="50">
                  <c:v>64134.0</c:v>
                </c:pt>
                <c:pt idx="51">
                  <c:v>64611.0</c:v>
                </c:pt>
                <c:pt idx="52">
                  <c:v>64204.0</c:v>
                </c:pt>
                <c:pt idx="53">
                  <c:v>64075.0</c:v>
                </c:pt>
                <c:pt idx="54">
                  <c:v>63890.0</c:v>
                </c:pt>
                <c:pt idx="55">
                  <c:v>62272.0</c:v>
                </c:pt>
                <c:pt idx="56">
                  <c:v>59335.0</c:v>
                </c:pt>
                <c:pt idx="57">
                  <c:v>57502.0</c:v>
                </c:pt>
                <c:pt idx="58">
                  <c:v>53100.0</c:v>
                </c:pt>
                <c:pt idx="59">
                  <c:v>50987.0</c:v>
                </c:pt>
                <c:pt idx="60">
                  <c:v>48878.0</c:v>
                </c:pt>
                <c:pt idx="61">
                  <c:v>45629.0</c:v>
                </c:pt>
                <c:pt idx="62">
                  <c:v>44044.0</c:v>
                </c:pt>
                <c:pt idx="63">
                  <c:v>43994.0</c:v>
                </c:pt>
                <c:pt idx="64">
                  <c:v>45558.0</c:v>
                </c:pt>
                <c:pt idx="65">
                  <c:v>47794.0</c:v>
                </c:pt>
                <c:pt idx="66">
                  <c:v>50810.0</c:v>
                </c:pt>
                <c:pt idx="67">
                  <c:v>54761.0</c:v>
                </c:pt>
                <c:pt idx="68">
                  <c:v>59897.0</c:v>
                </c:pt>
                <c:pt idx="69">
                  <c:v>62700.0</c:v>
                </c:pt>
                <c:pt idx="70">
                  <c:v>64041.0</c:v>
                </c:pt>
                <c:pt idx="71">
                  <c:v>65289.0</c:v>
                </c:pt>
                <c:pt idx="72">
                  <c:v>67525.0</c:v>
                </c:pt>
                <c:pt idx="73">
                  <c:v>70386.0</c:v>
                </c:pt>
                <c:pt idx="74">
                  <c:v>76842.0</c:v>
                </c:pt>
                <c:pt idx="75">
                  <c:v>81026.0</c:v>
                </c:pt>
                <c:pt idx="76">
                  <c:v>77939.0</c:v>
                </c:pt>
                <c:pt idx="77">
                  <c:v>77405.0</c:v>
                </c:pt>
                <c:pt idx="78">
                  <c:v>76409.0</c:v>
                </c:pt>
                <c:pt idx="79">
                  <c:v>7533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13</c:v>
                </c:pt>
                <c:pt idx="40">
                  <c:v>0.17</c:v>
                </c:pt>
                <c:pt idx="41">
                  <c:v>0.17</c:v>
                </c:pt>
                <c:pt idx="42">
                  <c:v>0.14</c:v>
                </c:pt>
                <c:pt idx="43">
                  <c:v>0.03</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8</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Laurent Perrier</c:v>
                </c:pt>
                <c:pt idx="2">
                  <c:v>Heidsieck &amp; Co Monopole</c:v>
                </c:pt>
                <c:pt idx="3">
                  <c:v>Taittinger</c:v>
                </c:pt>
                <c:pt idx="4">
                  <c:v>Nicolas</c:v>
                </c:pt>
              </c:strCache>
            </c:strRef>
          </c:cat>
          <c:val>
            <c:numRef>
              <c:f>Sheet1!$B$2:$B$6</c:f>
              <c:numCache>
                <c:formatCode>General</c:formatCode>
                <c:ptCount val="5"/>
                <c:pt idx="0">
                  <c:v>-0.5499785543448166</c:v>
                </c:pt>
                <c:pt idx="1">
                  <c:v>0.050740955092904994</c:v>
                </c:pt>
                <c:pt idx="2">
                  <c:v>-0.027206740507330962</c:v>
                </c:pt>
                <c:pt idx="3">
                  <c:v>-0.37228299771524453</c:v>
                </c:pt>
                <c:pt idx="4">
                  <c:v>0.735899739328034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82.0</c:v>
                </c:pt>
                <c:pt idx="40">
                  <c:v>270.0</c:v>
                </c:pt>
                <c:pt idx="41">
                  <c:v>582.0</c:v>
                </c:pt>
                <c:pt idx="42">
                  <c:v>604.0</c:v>
                </c:pt>
                <c:pt idx="43">
                  <c:v>12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258.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554.0</c:v>
                </c:pt>
                <c:pt idx="1">
                  <c:v>4119.0</c:v>
                </c:pt>
                <c:pt idx="2">
                  <c:v>4131.0</c:v>
                </c:pt>
                <c:pt idx="3">
                  <c:v>3998.0</c:v>
                </c:pt>
                <c:pt idx="4">
                  <c:v>3797.0</c:v>
                </c:pt>
                <c:pt idx="5">
                  <c:v>3839.0</c:v>
                </c:pt>
                <c:pt idx="6">
                  <c:v>3337.0</c:v>
                </c:pt>
                <c:pt idx="7">
                  <c:v>3172.0</c:v>
                </c:pt>
                <c:pt idx="8">
                  <c:v>3868.0</c:v>
                </c:pt>
                <c:pt idx="9">
                  <c:v>2692.0</c:v>
                </c:pt>
                <c:pt idx="10">
                  <c:v>2622.0</c:v>
                </c:pt>
                <c:pt idx="11">
                  <c:v>2508.0</c:v>
                </c:pt>
                <c:pt idx="12">
                  <c:v>3081.0</c:v>
                </c:pt>
                <c:pt idx="13">
                  <c:v>2178.0</c:v>
                </c:pt>
                <c:pt idx="14">
                  <c:v>2637.0</c:v>
                </c:pt>
                <c:pt idx="15">
                  <c:v>3166.0</c:v>
                </c:pt>
                <c:pt idx="16">
                  <c:v>2686.0</c:v>
                </c:pt>
                <c:pt idx="17">
                  <c:v>2908.0</c:v>
                </c:pt>
                <c:pt idx="18">
                  <c:v>3340.0</c:v>
                </c:pt>
                <c:pt idx="19">
                  <c:v>6622.0</c:v>
                </c:pt>
                <c:pt idx="20">
                  <c:v>5494.0</c:v>
                </c:pt>
                <c:pt idx="21">
                  <c:v>6243.0</c:v>
                </c:pt>
                <c:pt idx="22">
                  <c:v>11911.0</c:v>
                </c:pt>
                <c:pt idx="23">
                  <c:v>7689.0</c:v>
                </c:pt>
                <c:pt idx="24">
                  <c:v>7381.0</c:v>
                </c:pt>
                <c:pt idx="25">
                  <c:v>3440.0</c:v>
                </c:pt>
                <c:pt idx="26">
                  <c:v>1602.0</c:v>
                </c:pt>
                <c:pt idx="27">
                  <c:v>2218.0</c:v>
                </c:pt>
                <c:pt idx="28">
                  <c:v>2535.0</c:v>
                </c:pt>
                <c:pt idx="29">
                  <c:v>2875.0</c:v>
                </c:pt>
                <c:pt idx="30">
                  <c:v>3043.0</c:v>
                </c:pt>
                <c:pt idx="31">
                  <c:v>2194.0</c:v>
                </c:pt>
                <c:pt idx="32">
                  <c:v>2174.0</c:v>
                </c:pt>
                <c:pt idx="33">
                  <c:v>3113.0</c:v>
                </c:pt>
                <c:pt idx="34">
                  <c:v>2455.0</c:v>
                </c:pt>
                <c:pt idx="35">
                  <c:v>2379.0</c:v>
                </c:pt>
                <c:pt idx="36">
                  <c:v>3115.0</c:v>
                </c:pt>
                <c:pt idx="37">
                  <c:v>2433.0</c:v>
                </c:pt>
                <c:pt idx="38">
                  <c:v>2434.0</c:v>
                </c:pt>
                <c:pt idx="39">
                  <c:v>1732.0</c:v>
                </c:pt>
                <c:pt idx="40">
                  <c:v>1758.0</c:v>
                </c:pt>
                <c:pt idx="41">
                  <c:v>3837.0</c:v>
                </c:pt>
                <c:pt idx="42">
                  <c:v>2367.0</c:v>
                </c:pt>
                <c:pt idx="43">
                  <c:v>2567.0</c:v>
                </c:pt>
                <c:pt idx="44">
                  <c:v>2316.0</c:v>
                </c:pt>
                <c:pt idx="45">
                  <c:v>3010.0</c:v>
                </c:pt>
                <c:pt idx="46">
                  <c:v>2718.0</c:v>
                </c:pt>
                <c:pt idx="47">
                  <c:v>5212.0</c:v>
                </c:pt>
                <c:pt idx="48">
                  <c:v>3346.0</c:v>
                </c:pt>
                <c:pt idx="49">
                  <c:v>4423.0</c:v>
                </c:pt>
                <c:pt idx="50">
                  <c:v>6078.0</c:v>
                </c:pt>
                <c:pt idx="51">
                  <c:v>3155.0</c:v>
                </c:pt>
                <c:pt idx="52">
                  <c:v>3941.0</c:v>
                </c:pt>
                <c:pt idx="53">
                  <c:v>3732.0</c:v>
                </c:pt>
                <c:pt idx="54">
                  <c:v>4034.0</c:v>
                </c:pt>
                <c:pt idx="55">
                  <c:v>3929.0</c:v>
                </c:pt>
                <c:pt idx="56">
                  <c:v>5298.0</c:v>
                </c:pt>
                <c:pt idx="57">
                  <c:v>3631.0</c:v>
                </c:pt>
                <c:pt idx="58">
                  <c:v>4119.0</c:v>
                </c:pt>
                <c:pt idx="59">
                  <c:v>2928.0</c:v>
                </c:pt>
                <c:pt idx="60">
                  <c:v>3031.0</c:v>
                </c:pt>
                <c:pt idx="61">
                  <c:v>3340.0</c:v>
                </c:pt>
                <c:pt idx="62">
                  <c:v>2654.0</c:v>
                </c:pt>
                <c:pt idx="63">
                  <c:v>2156.0</c:v>
                </c:pt>
                <c:pt idx="64">
                  <c:v>3449.0</c:v>
                </c:pt>
                <c:pt idx="65">
                  <c:v>6547.0</c:v>
                </c:pt>
                <c:pt idx="66">
                  <c:v>3868.0</c:v>
                </c:pt>
                <c:pt idx="67">
                  <c:v>4440.0</c:v>
                </c:pt>
                <c:pt idx="68">
                  <c:v>4308.0</c:v>
                </c:pt>
                <c:pt idx="69">
                  <c:v>3535.0</c:v>
                </c:pt>
                <c:pt idx="70">
                  <c:v>2609.0</c:v>
                </c:pt>
                <c:pt idx="71">
                  <c:v>2435.0</c:v>
                </c:pt>
                <c:pt idx="72">
                  <c:v>5578.0</c:v>
                </c:pt>
                <c:pt idx="73">
                  <c:v>4540.0</c:v>
                </c:pt>
                <c:pt idx="74">
                  <c:v>8182.0</c:v>
                </c:pt>
                <c:pt idx="75">
                  <c:v>9717.0</c:v>
                </c:pt>
                <c:pt idx="76">
                  <c:v>1943.0</c:v>
                </c:pt>
                <c:pt idx="77">
                  <c:v>3457.0</c:v>
                </c:pt>
                <c:pt idx="78">
                  <c:v>1895.0</c:v>
                </c:pt>
                <c:pt idx="79">
                  <c:v>2270.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554.0</c:v>
                </c:pt>
                <c:pt idx="1">
                  <c:v>4119.0</c:v>
                </c:pt>
                <c:pt idx="2">
                  <c:v>4131.0</c:v>
                </c:pt>
                <c:pt idx="3">
                  <c:v>3998.0</c:v>
                </c:pt>
                <c:pt idx="4">
                  <c:v>3797.0</c:v>
                </c:pt>
                <c:pt idx="5">
                  <c:v>3839.0</c:v>
                </c:pt>
                <c:pt idx="6">
                  <c:v>3337.0</c:v>
                </c:pt>
                <c:pt idx="7">
                  <c:v>3172.0</c:v>
                </c:pt>
                <c:pt idx="8">
                  <c:v>3868.0</c:v>
                </c:pt>
                <c:pt idx="9">
                  <c:v>2692.0</c:v>
                </c:pt>
                <c:pt idx="10">
                  <c:v>2622.0</c:v>
                </c:pt>
                <c:pt idx="11">
                  <c:v>2508.0</c:v>
                </c:pt>
                <c:pt idx="12">
                  <c:v>3081.0</c:v>
                </c:pt>
                <c:pt idx="13">
                  <c:v>2178.0</c:v>
                </c:pt>
                <c:pt idx="14">
                  <c:v>2637.0</c:v>
                </c:pt>
                <c:pt idx="15">
                  <c:v>3166.0</c:v>
                </c:pt>
                <c:pt idx="16">
                  <c:v>2686.0</c:v>
                </c:pt>
                <c:pt idx="17">
                  <c:v>2908.0</c:v>
                </c:pt>
                <c:pt idx="18">
                  <c:v>3340.0</c:v>
                </c:pt>
                <c:pt idx="19">
                  <c:v>6622.0</c:v>
                </c:pt>
                <c:pt idx="20">
                  <c:v>5494.0</c:v>
                </c:pt>
                <c:pt idx="21">
                  <c:v>6243.0</c:v>
                </c:pt>
                <c:pt idx="22">
                  <c:v>11911.0</c:v>
                </c:pt>
                <c:pt idx="23">
                  <c:v>7689.0</c:v>
                </c:pt>
                <c:pt idx="24">
                  <c:v>7381.0</c:v>
                </c:pt>
                <c:pt idx="25">
                  <c:v>3440.0</c:v>
                </c:pt>
                <c:pt idx="26">
                  <c:v>1602.0</c:v>
                </c:pt>
                <c:pt idx="27">
                  <c:v>2218.0</c:v>
                </c:pt>
                <c:pt idx="28">
                  <c:v>2535.0</c:v>
                </c:pt>
                <c:pt idx="29">
                  <c:v>2875.0</c:v>
                </c:pt>
                <c:pt idx="30">
                  <c:v>3043.0</c:v>
                </c:pt>
                <c:pt idx="31">
                  <c:v>2194.0</c:v>
                </c:pt>
                <c:pt idx="32">
                  <c:v>2174.0</c:v>
                </c:pt>
                <c:pt idx="33">
                  <c:v>3113.0</c:v>
                </c:pt>
                <c:pt idx="34">
                  <c:v>2455.0</c:v>
                </c:pt>
                <c:pt idx="35">
                  <c:v>2379.0</c:v>
                </c:pt>
                <c:pt idx="36">
                  <c:v>3115.0</c:v>
                </c:pt>
                <c:pt idx="37">
                  <c:v>2433.0</c:v>
                </c:pt>
                <c:pt idx="38">
                  <c:v>2434.0</c:v>
                </c:pt>
                <c:pt idx="39">
                  <c:v>2114.0</c:v>
                </c:pt>
                <c:pt idx="40">
                  <c:v>2028.0</c:v>
                </c:pt>
                <c:pt idx="41">
                  <c:v>4419.0</c:v>
                </c:pt>
                <c:pt idx="42">
                  <c:v>2971.0</c:v>
                </c:pt>
                <c:pt idx="43">
                  <c:v>2691.0</c:v>
                </c:pt>
                <c:pt idx="44">
                  <c:v>2316.0</c:v>
                </c:pt>
                <c:pt idx="45">
                  <c:v>3010.0</c:v>
                </c:pt>
                <c:pt idx="46">
                  <c:v>2718.0</c:v>
                </c:pt>
                <c:pt idx="47">
                  <c:v>5212.0</c:v>
                </c:pt>
                <c:pt idx="48">
                  <c:v>3346.0</c:v>
                </c:pt>
                <c:pt idx="49">
                  <c:v>4423.0</c:v>
                </c:pt>
                <c:pt idx="50">
                  <c:v>6078.0</c:v>
                </c:pt>
                <c:pt idx="51">
                  <c:v>3155.0</c:v>
                </c:pt>
                <c:pt idx="52">
                  <c:v>3941.0</c:v>
                </c:pt>
                <c:pt idx="53">
                  <c:v>3732.0</c:v>
                </c:pt>
                <c:pt idx="54">
                  <c:v>4034.0</c:v>
                </c:pt>
                <c:pt idx="55">
                  <c:v>3929.0</c:v>
                </c:pt>
                <c:pt idx="56">
                  <c:v>5298.0</c:v>
                </c:pt>
                <c:pt idx="57">
                  <c:v>3631.0</c:v>
                </c:pt>
                <c:pt idx="58">
                  <c:v>4119.0</c:v>
                </c:pt>
                <c:pt idx="59">
                  <c:v>2928.0</c:v>
                </c:pt>
                <c:pt idx="60">
                  <c:v>3031.0</c:v>
                </c:pt>
                <c:pt idx="61">
                  <c:v>3340.0</c:v>
                </c:pt>
                <c:pt idx="62">
                  <c:v>2654.0</c:v>
                </c:pt>
                <c:pt idx="63">
                  <c:v>2156.0</c:v>
                </c:pt>
                <c:pt idx="64">
                  <c:v>3449.0</c:v>
                </c:pt>
                <c:pt idx="65">
                  <c:v>6547.0</c:v>
                </c:pt>
                <c:pt idx="66">
                  <c:v>3868.0</c:v>
                </c:pt>
                <c:pt idx="67">
                  <c:v>4440.0</c:v>
                </c:pt>
                <c:pt idx="68">
                  <c:v>4308.0</c:v>
                </c:pt>
                <c:pt idx="69">
                  <c:v>3535.0</c:v>
                </c:pt>
                <c:pt idx="70">
                  <c:v>2609.0</c:v>
                </c:pt>
                <c:pt idx="71">
                  <c:v>6693.0</c:v>
                </c:pt>
                <c:pt idx="72">
                  <c:v>5578.0</c:v>
                </c:pt>
                <c:pt idx="73">
                  <c:v>4540.0</c:v>
                </c:pt>
                <c:pt idx="74">
                  <c:v>8182.0</c:v>
                </c:pt>
                <c:pt idx="75">
                  <c:v>9717.0</c:v>
                </c:pt>
                <c:pt idx="76">
                  <c:v>1943.0</c:v>
                </c:pt>
                <c:pt idx="77">
                  <c:v>3457.0</c:v>
                </c:pt>
                <c:pt idx="78">
                  <c:v>1895.0</c:v>
                </c:pt>
                <c:pt idx="79">
                  <c:v>2270.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3325.0</c:v>
                </c:pt>
                <c:pt idx="1">
                  <c:v>3480.0</c:v>
                </c:pt>
                <c:pt idx="2">
                  <c:v>3534.0</c:v>
                </c:pt>
                <c:pt idx="3">
                  <c:v>3484.0</c:v>
                </c:pt>
                <c:pt idx="4">
                  <c:v>3520.0</c:v>
                </c:pt>
                <c:pt idx="5">
                  <c:v>3522.0</c:v>
                </c:pt>
                <c:pt idx="6">
                  <c:v>3408.0</c:v>
                </c:pt>
                <c:pt idx="7">
                  <c:v>3366.0</c:v>
                </c:pt>
                <c:pt idx="8">
                  <c:v>3489.0</c:v>
                </c:pt>
                <c:pt idx="9">
                  <c:v>3296.0</c:v>
                </c:pt>
                <c:pt idx="10">
                  <c:v>3352.0</c:v>
                </c:pt>
                <c:pt idx="11">
                  <c:v>3442.0</c:v>
                </c:pt>
                <c:pt idx="12">
                  <c:v>3413.0</c:v>
                </c:pt>
                <c:pt idx="13">
                  <c:v>3213.0</c:v>
                </c:pt>
                <c:pt idx="14">
                  <c:v>3022.0</c:v>
                </c:pt>
                <c:pt idx="15">
                  <c:v>3328.0</c:v>
                </c:pt>
                <c:pt idx="16">
                  <c:v>3115.0</c:v>
                </c:pt>
                <c:pt idx="17">
                  <c:v>2867.0</c:v>
                </c:pt>
                <c:pt idx="18">
                  <c:v>3020.0</c:v>
                </c:pt>
                <c:pt idx="19">
                  <c:v>3141.0</c:v>
                </c:pt>
                <c:pt idx="20">
                  <c:v>3557.0</c:v>
                </c:pt>
                <c:pt idx="21">
                  <c:v>3712.0</c:v>
                </c:pt>
                <c:pt idx="22">
                  <c:v>4625.0</c:v>
                </c:pt>
                <c:pt idx="23">
                  <c:v>5045.0</c:v>
                </c:pt>
                <c:pt idx="24">
                  <c:v>5506.0</c:v>
                </c:pt>
                <c:pt idx="25">
                  <c:v>5649.0</c:v>
                </c:pt>
                <c:pt idx="26">
                  <c:v>5430.0</c:v>
                </c:pt>
                <c:pt idx="27">
                  <c:v>5367.0</c:v>
                </c:pt>
                <c:pt idx="28">
                  <c:v>5329.0</c:v>
                </c:pt>
                <c:pt idx="29">
                  <c:v>5208.0</c:v>
                </c:pt>
                <c:pt idx="30">
                  <c:v>5285.0</c:v>
                </c:pt>
                <c:pt idx="31">
                  <c:v>4746.0</c:v>
                </c:pt>
                <c:pt idx="32">
                  <c:v>4483.0</c:v>
                </c:pt>
                <c:pt idx="33">
                  <c:v>4172.0</c:v>
                </c:pt>
                <c:pt idx="34">
                  <c:v>3424.0</c:v>
                </c:pt>
                <c:pt idx="35">
                  <c:v>3045.0</c:v>
                </c:pt>
                <c:pt idx="36">
                  <c:v>2674.0</c:v>
                </c:pt>
                <c:pt idx="37">
                  <c:v>2460.0</c:v>
                </c:pt>
                <c:pt idx="38">
                  <c:v>2616.0</c:v>
                </c:pt>
                <c:pt idx="39">
                  <c:v>2791.0</c:v>
                </c:pt>
                <c:pt idx="40">
                  <c:v>2770.0</c:v>
                </c:pt>
                <c:pt idx="41">
                  <c:v>2886.0</c:v>
                </c:pt>
                <c:pt idx="42">
                  <c:v>2774.0</c:v>
                </c:pt>
                <c:pt idx="43">
                  <c:v>2666.0</c:v>
                </c:pt>
                <c:pt idx="44">
                  <c:v>2647.0</c:v>
                </c:pt>
                <c:pt idx="45">
                  <c:v>2657.0</c:v>
                </c:pt>
                <c:pt idx="46">
                  <c:v>2667.0</c:v>
                </c:pt>
                <c:pt idx="47">
                  <c:v>2811.0</c:v>
                </c:pt>
                <c:pt idx="48">
                  <c:v>2898.0</c:v>
                </c:pt>
                <c:pt idx="49">
                  <c:v>3210.0</c:v>
                </c:pt>
                <c:pt idx="50">
                  <c:v>3477.0</c:v>
                </c:pt>
                <c:pt idx="51">
                  <c:v>3710.0</c:v>
                </c:pt>
                <c:pt idx="52">
                  <c:v>3846.0</c:v>
                </c:pt>
                <c:pt idx="53">
                  <c:v>3785.0</c:v>
                </c:pt>
                <c:pt idx="54">
                  <c:v>3960.0</c:v>
                </c:pt>
                <c:pt idx="55">
                  <c:v>4113.0</c:v>
                </c:pt>
                <c:pt idx="56">
                  <c:v>4450.0</c:v>
                </c:pt>
                <c:pt idx="57">
                  <c:v>4462.0</c:v>
                </c:pt>
                <c:pt idx="58">
                  <c:v>4267.0</c:v>
                </c:pt>
                <c:pt idx="59">
                  <c:v>4277.0</c:v>
                </c:pt>
                <c:pt idx="60">
                  <c:v>4195.0</c:v>
                </c:pt>
                <c:pt idx="61">
                  <c:v>4133.0</c:v>
                </c:pt>
                <c:pt idx="62">
                  <c:v>3906.0</c:v>
                </c:pt>
                <c:pt idx="63">
                  <c:v>3758.0</c:v>
                </c:pt>
                <c:pt idx="64">
                  <c:v>3684.0</c:v>
                </c:pt>
                <c:pt idx="65">
                  <c:v>4022.0</c:v>
                </c:pt>
                <c:pt idx="66">
                  <c:v>3986.0</c:v>
                </c:pt>
                <c:pt idx="67">
                  <c:v>4029.0</c:v>
                </c:pt>
                <c:pt idx="68">
                  <c:v>3950.0</c:v>
                </c:pt>
                <c:pt idx="69">
                  <c:v>4012.0</c:v>
                </c:pt>
                <c:pt idx="70">
                  <c:v>3615.0</c:v>
                </c:pt>
                <c:pt idx="71">
                  <c:v>3669.0</c:v>
                </c:pt>
                <c:pt idx="72">
                  <c:v>3883.0</c:v>
                </c:pt>
                <c:pt idx="73">
                  <c:v>4142.0</c:v>
                </c:pt>
                <c:pt idx="74">
                  <c:v>4679.0</c:v>
                </c:pt>
                <c:pt idx="75">
                  <c:v>5312.0</c:v>
                </c:pt>
                <c:pt idx="76">
                  <c:v>4828.0</c:v>
                </c:pt>
                <c:pt idx="77">
                  <c:v>4755.0</c:v>
                </c:pt>
                <c:pt idx="78">
                  <c:v>4602.0</c:v>
                </c:pt>
                <c:pt idx="79">
                  <c:v>405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13</c:v>
                </c:pt>
                <c:pt idx="40">
                  <c:v>0.1</c:v>
                </c:pt>
                <c:pt idx="41">
                  <c:v>0.1</c:v>
                </c:pt>
                <c:pt idx="42">
                  <c:v>0.15</c:v>
                </c:pt>
                <c:pt idx="43">
                  <c:v>0.0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6</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634.0</c:v>
                </c:pt>
                <c:pt idx="40">
                  <c:v>4190.0</c:v>
                </c:pt>
                <c:pt idx="41">
                  <c:v>4614.0</c:v>
                </c:pt>
                <c:pt idx="42">
                  <c:v>3835.0</c:v>
                </c:pt>
                <c:pt idx="43">
                  <c:v>79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541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4630.0</c:v>
                </c:pt>
                <c:pt idx="1">
                  <c:v>14104.0</c:v>
                </c:pt>
                <c:pt idx="2">
                  <c:v>12904.0</c:v>
                </c:pt>
                <c:pt idx="3">
                  <c:v>11410.0</c:v>
                </c:pt>
                <c:pt idx="4">
                  <c:v>9660.0</c:v>
                </c:pt>
                <c:pt idx="5">
                  <c:v>11483.0</c:v>
                </c:pt>
                <c:pt idx="6">
                  <c:v>15977.0</c:v>
                </c:pt>
                <c:pt idx="7">
                  <c:v>17855.0</c:v>
                </c:pt>
                <c:pt idx="8">
                  <c:v>16786.0</c:v>
                </c:pt>
                <c:pt idx="9">
                  <c:v>17256.0</c:v>
                </c:pt>
                <c:pt idx="10">
                  <c:v>19929.0</c:v>
                </c:pt>
                <c:pt idx="11">
                  <c:v>19197.0</c:v>
                </c:pt>
                <c:pt idx="12">
                  <c:v>20025.0</c:v>
                </c:pt>
                <c:pt idx="13">
                  <c:v>19773.0</c:v>
                </c:pt>
                <c:pt idx="14">
                  <c:v>20037.0</c:v>
                </c:pt>
                <c:pt idx="15">
                  <c:v>20097.0</c:v>
                </c:pt>
                <c:pt idx="16">
                  <c:v>20399.0</c:v>
                </c:pt>
                <c:pt idx="17">
                  <c:v>24345.0</c:v>
                </c:pt>
                <c:pt idx="18">
                  <c:v>21354.0</c:v>
                </c:pt>
                <c:pt idx="19">
                  <c:v>26871.0</c:v>
                </c:pt>
                <c:pt idx="20">
                  <c:v>33033.0</c:v>
                </c:pt>
                <c:pt idx="21">
                  <c:v>36456.0</c:v>
                </c:pt>
                <c:pt idx="22">
                  <c:v>59167.0</c:v>
                </c:pt>
                <c:pt idx="23">
                  <c:v>38594.0</c:v>
                </c:pt>
                <c:pt idx="24">
                  <c:v>40502.0</c:v>
                </c:pt>
                <c:pt idx="25">
                  <c:v>17057.0</c:v>
                </c:pt>
                <c:pt idx="26">
                  <c:v>13995.0</c:v>
                </c:pt>
                <c:pt idx="27">
                  <c:v>15365.0</c:v>
                </c:pt>
                <c:pt idx="28">
                  <c:v>15385.0</c:v>
                </c:pt>
                <c:pt idx="29">
                  <c:v>17713.0</c:v>
                </c:pt>
                <c:pt idx="30">
                  <c:v>20845.0</c:v>
                </c:pt>
                <c:pt idx="31">
                  <c:v>15504.0</c:v>
                </c:pt>
                <c:pt idx="32">
                  <c:v>18068.0</c:v>
                </c:pt>
                <c:pt idx="33">
                  <c:v>17213.0</c:v>
                </c:pt>
                <c:pt idx="34">
                  <c:v>19388.0</c:v>
                </c:pt>
                <c:pt idx="35">
                  <c:v>20781.0</c:v>
                </c:pt>
                <c:pt idx="36">
                  <c:v>19083.0</c:v>
                </c:pt>
                <c:pt idx="37">
                  <c:v>18104.0</c:v>
                </c:pt>
                <c:pt idx="38">
                  <c:v>16899.0</c:v>
                </c:pt>
                <c:pt idx="39">
                  <c:v>14557.0</c:v>
                </c:pt>
                <c:pt idx="40">
                  <c:v>14986.0</c:v>
                </c:pt>
                <c:pt idx="41">
                  <c:v>18182.0</c:v>
                </c:pt>
                <c:pt idx="42">
                  <c:v>13145.0</c:v>
                </c:pt>
                <c:pt idx="43">
                  <c:v>16123.0</c:v>
                </c:pt>
                <c:pt idx="44">
                  <c:v>19213.0</c:v>
                </c:pt>
                <c:pt idx="45">
                  <c:v>19274.0</c:v>
                </c:pt>
                <c:pt idx="46">
                  <c:v>18088.0</c:v>
                </c:pt>
                <c:pt idx="47">
                  <c:v>39205.0</c:v>
                </c:pt>
                <c:pt idx="48">
                  <c:v>27684.0</c:v>
                </c:pt>
                <c:pt idx="49">
                  <c:v>29880.0</c:v>
                </c:pt>
                <c:pt idx="50">
                  <c:v>25603.0</c:v>
                </c:pt>
                <c:pt idx="51">
                  <c:v>19550.0</c:v>
                </c:pt>
                <c:pt idx="52">
                  <c:v>16911.0</c:v>
                </c:pt>
                <c:pt idx="53">
                  <c:v>17362.0</c:v>
                </c:pt>
                <c:pt idx="54">
                  <c:v>14688.0</c:v>
                </c:pt>
                <c:pt idx="55">
                  <c:v>12189.0</c:v>
                </c:pt>
                <c:pt idx="56">
                  <c:v>11339.0</c:v>
                </c:pt>
                <c:pt idx="57">
                  <c:v>14182.0</c:v>
                </c:pt>
                <c:pt idx="58">
                  <c:v>19712.0</c:v>
                </c:pt>
                <c:pt idx="59">
                  <c:v>18969.0</c:v>
                </c:pt>
                <c:pt idx="60">
                  <c:v>17500.0</c:v>
                </c:pt>
                <c:pt idx="61">
                  <c:v>16222.0</c:v>
                </c:pt>
                <c:pt idx="62">
                  <c:v>19065.0</c:v>
                </c:pt>
                <c:pt idx="63">
                  <c:v>19316.0</c:v>
                </c:pt>
                <c:pt idx="64">
                  <c:v>19626.0</c:v>
                </c:pt>
                <c:pt idx="65">
                  <c:v>22711.0</c:v>
                </c:pt>
                <c:pt idx="66">
                  <c:v>23940.0</c:v>
                </c:pt>
                <c:pt idx="67">
                  <c:v>21664.0</c:v>
                </c:pt>
                <c:pt idx="68">
                  <c:v>27473.0</c:v>
                </c:pt>
                <c:pt idx="69">
                  <c:v>22404.0</c:v>
                </c:pt>
                <c:pt idx="70">
                  <c:v>23984.0</c:v>
                </c:pt>
                <c:pt idx="71">
                  <c:v>21213.0</c:v>
                </c:pt>
                <c:pt idx="72">
                  <c:v>30299.0</c:v>
                </c:pt>
                <c:pt idx="73">
                  <c:v>34703.0</c:v>
                </c:pt>
                <c:pt idx="74">
                  <c:v>52651.0</c:v>
                </c:pt>
                <c:pt idx="75">
                  <c:v>37094.0</c:v>
                </c:pt>
                <c:pt idx="76">
                  <c:v>10695.0</c:v>
                </c:pt>
                <c:pt idx="77">
                  <c:v>15962.0</c:v>
                </c:pt>
                <c:pt idx="78">
                  <c:v>20329.0</c:v>
                </c:pt>
                <c:pt idx="79">
                  <c:v>21088.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4630.0</c:v>
                </c:pt>
                <c:pt idx="1">
                  <c:v>14104.0</c:v>
                </c:pt>
                <c:pt idx="2">
                  <c:v>12904.0</c:v>
                </c:pt>
                <c:pt idx="3">
                  <c:v>11410.0</c:v>
                </c:pt>
                <c:pt idx="4">
                  <c:v>9660.0</c:v>
                </c:pt>
                <c:pt idx="5">
                  <c:v>11483.0</c:v>
                </c:pt>
                <c:pt idx="6">
                  <c:v>15977.0</c:v>
                </c:pt>
                <c:pt idx="7">
                  <c:v>17855.0</c:v>
                </c:pt>
                <c:pt idx="8">
                  <c:v>16786.0</c:v>
                </c:pt>
                <c:pt idx="9">
                  <c:v>17256.0</c:v>
                </c:pt>
                <c:pt idx="10">
                  <c:v>19929.0</c:v>
                </c:pt>
                <c:pt idx="11">
                  <c:v>19197.0</c:v>
                </c:pt>
                <c:pt idx="12">
                  <c:v>20025.0</c:v>
                </c:pt>
                <c:pt idx="13">
                  <c:v>19773.0</c:v>
                </c:pt>
                <c:pt idx="14">
                  <c:v>20037.0</c:v>
                </c:pt>
                <c:pt idx="15">
                  <c:v>20097.0</c:v>
                </c:pt>
                <c:pt idx="16">
                  <c:v>20399.0</c:v>
                </c:pt>
                <c:pt idx="17">
                  <c:v>24345.0</c:v>
                </c:pt>
                <c:pt idx="18">
                  <c:v>21354.0</c:v>
                </c:pt>
                <c:pt idx="19">
                  <c:v>26871.0</c:v>
                </c:pt>
                <c:pt idx="20">
                  <c:v>33033.0</c:v>
                </c:pt>
                <c:pt idx="21">
                  <c:v>36456.0</c:v>
                </c:pt>
                <c:pt idx="22">
                  <c:v>59167.0</c:v>
                </c:pt>
                <c:pt idx="23">
                  <c:v>38594.0</c:v>
                </c:pt>
                <c:pt idx="24">
                  <c:v>40502.0</c:v>
                </c:pt>
                <c:pt idx="25">
                  <c:v>17057.0</c:v>
                </c:pt>
                <c:pt idx="26">
                  <c:v>13995.0</c:v>
                </c:pt>
                <c:pt idx="27">
                  <c:v>15365.0</c:v>
                </c:pt>
                <c:pt idx="28">
                  <c:v>15385.0</c:v>
                </c:pt>
                <c:pt idx="29">
                  <c:v>17713.0</c:v>
                </c:pt>
                <c:pt idx="30">
                  <c:v>20845.0</c:v>
                </c:pt>
                <c:pt idx="31">
                  <c:v>15504.0</c:v>
                </c:pt>
                <c:pt idx="32">
                  <c:v>18068.0</c:v>
                </c:pt>
                <c:pt idx="33">
                  <c:v>17213.0</c:v>
                </c:pt>
                <c:pt idx="34">
                  <c:v>19388.0</c:v>
                </c:pt>
                <c:pt idx="35">
                  <c:v>20781.0</c:v>
                </c:pt>
                <c:pt idx="36">
                  <c:v>19083.0</c:v>
                </c:pt>
                <c:pt idx="37">
                  <c:v>18104.0</c:v>
                </c:pt>
                <c:pt idx="38">
                  <c:v>16899.0</c:v>
                </c:pt>
                <c:pt idx="39">
                  <c:v>18191.0</c:v>
                </c:pt>
                <c:pt idx="40">
                  <c:v>19176.0</c:v>
                </c:pt>
                <c:pt idx="41">
                  <c:v>22796.0</c:v>
                </c:pt>
                <c:pt idx="42">
                  <c:v>16980.0</c:v>
                </c:pt>
                <c:pt idx="43">
                  <c:v>16914.0</c:v>
                </c:pt>
                <c:pt idx="44">
                  <c:v>19213.0</c:v>
                </c:pt>
                <c:pt idx="45">
                  <c:v>19274.0</c:v>
                </c:pt>
                <c:pt idx="46">
                  <c:v>18088.0</c:v>
                </c:pt>
                <c:pt idx="47">
                  <c:v>39205.0</c:v>
                </c:pt>
                <c:pt idx="48">
                  <c:v>27684.0</c:v>
                </c:pt>
                <c:pt idx="49">
                  <c:v>29880.0</c:v>
                </c:pt>
                <c:pt idx="50">
                  <c:v>25603.0</c:v>
                </c:pt>
                <c:pt idx="51">
                  <c:v>19550.0</c:v>
                </c:pt>
                <c:pt idx="52">
                  <c:v>16911.0</c:v>
                </c:pt>
                <c:pt idx="53">
                  <c:v>17362.0</c:v>
                </c:pt>
                <c:pt idx="54">
                  <c:v>14688.0</c:v>
                </c:pt>
                <c:pt idx="55">
                  <c:v>12189.0</c:v>
                </c:pt>
                <c:pt idx="56">
                  <c:v>11339.0</c:v>
                </c:pt>
                <c:pt idx="57">
                  <c:v>14182.0</c:v>
                </c:pt>
                <c:pt idx="58">
                  <c:v>19712.0</c:v>
                </c:pt>
                <c:pt idx="59">
                  <c:v>18969.0</c:v>
                </c:pt>
                <c:pt idx="60">
                  <c:v>17500.0</c:v>
                </c:pt>
                <c:pt idx="61">
                  <c:v>16222.0</c:v>
                </c:pt>
                <c:pt idx="62">
                  <c:v>19065.0</c:v>
                </c:pt>
                <c:pt idx="63">
                  <c:v>19316.0</c:v>
                </c:pt>
                <c:pt idx="64">
                  <c:v>19626.0</c:v>
                </c:pt>
                <c:pt idx="65">
                  <c:v>22711.0</c:v>
                </c:pt>
                <c:pt idx="66">
                  <c:v>23940.0</c:v>
                </c:pt>
                <c:pt idx="67">
                  <c:v>21664.0</c:v>
                </c:pt>
                <c:pt idx="68">
                  <c:v>27473.0</c:v>
                </c:pt>
                <c:pt idx="69">
                  <c:v>22404.0</c:v>
                </c:pt>
                <c:pt idx="70">
                  <c:v>23984.0</c:v>
                </c:pt>
                <c:pt idx="71">
                  <c:v>46627.0</c:v>
                </c:pt>
                <c:pt idx="72">
                  <c:v>30299.0</c:v>
                </c:pt>
                <c:pt idx="73">
                  <c:v>34703.0</c:v>
                </c:pt>
                <c:pt idx="74">
                  <c:v>52651.0</c:v>
                </c:pt>
                <c:pt idx="75">
                  <c:v>37094.0</c:v>
                </c:pt>
                <c:pt idx="76">
                  <c:v>10695.0</c:v>
                </c:pt>
                <c:pt idx="77">
                  <c:v>15962.0</c:v>
                </c:pt>
                <c:pt idx="78">
                  <c:v>20329.0</c:v>
                </c:pt>
                <c:pt idx="79">
                  <c:v>21088.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8508.0</c:v>
                </c:pt>
                <c:pt idx="1">
                  <c:v>18163.0</c:v>
                </c:pt>
                <c:pt idx="2">
                  <c:v>17571.0</c:v>
                </c:pt>
                <c:pt idx="3">
                  <c:v>17125.0</c:v>
                </c:pt>
                <c:pt idx="4">
                  <c:v>16427.0</c:v>
                </c:pt>
                <c:pt idx="5">
                  <c:v>15893.0</c:v>
                </c:pt>
                <c:pt idx="6">
                  <c:v>15852.0</c:v>
                </c:pt>
                <c:pt idx="7">
                  <c:v>15306.0</c:v>
                </c:pt>
                <c:pt idx="8">
                  <c:v>14988.0</c:v>
                </c:pt>
                <c:pt idx="9">
                  <c:v>14411.0</c:v>
                </c:pt>
                <c:pt idx="10">
                  <c:v>14613.0</c:v>
                </c:pt>
                <c:pt idx="11">
                  <c:v>15058.0</c:v>
                </c:pt>
                <c:pt idx="12">
                  <c:v>15826.0</c:v>
                </c:pt>
                <c:pt idx="13">
                  <c:v>16384.0</c:v>
                </c:pt>
                <c:pt idx="14">
                  <c:v>17013.0</c:v>
                </c:pt>
                <c:pt idx="15">
                  <c:v>17697.0</c:v>
                </c:pt>
                <c:pt idx="16">
                  <c:v>18675.0</c:v>
                </c:pt>
                <c:pt idx="17">
                  <c:v>19949.0</c:v>
                </c:pt>
                <c:pt idx="18">
                  <c:v>20167.0</c:v>
                </c:pt>
                <c:pt idx="19">
                  <c:v>21093.0</c:v>
                </c:pt>
                <c:pt idx="20">
                  <c:v>22598.0</c:v>
                </c:pt>
                <c:pt idx="21">
                  <c:v>24204.0</c:v>
                </c:pt>
                <c:pt idx="22">
                  <c:v>27439.0</c:v>
                </c:pt>
                <c:pt idx="23">
                  <c:v>28989.0</c:v>
                </c:pt>
                <c:pt idx="24">
                  <c:v>31837.0</c:v>
                </c:pt>
                <c:pt idx="25">
                  <c:v>31573.0</c:v>
                </c:pt>
                <c:pt idx="26">
                  <c:v>30128.0</c:v>
                </c:pt>
                <c:pt idx="27">
                  <c:v>29617.0</c:v>
                </c:pt>
                <c:pt idx="28">
                  <c:v>29743.0</c:v>
                </c:pt>
                <c:pt idx="29">
                  <c:v>29479.0</c:v>
                </c:pt>
                <c:pt idx="30">
                  <c:v>29163.0</c:v>
                </c:pt>
                <c:pt idx="31">
                  <c:v>27450.0</c:v>
                </c:pt>
                <c:pt idx="32">
                  <c:v>26555.0</c:v>
                </c:pt>
                <c:pt idx="33">
                  <c:v>24505.0</c:v>
                </c:pt>
                <c:pt idx="34">
                  <c:v>21553.0</c:v>
                </c:pt>
                <c:pt idx="35">
                  <c:v>19123.0</c:v>
                </c:pt>
                <c:pt idx="36">
                  <c:v>18349.0</c:v>
                </c:pt>
                <c:pt idx="37">
                  <c:v>17809.0</c:v>
                </c:pt>
                <c:pt idx="38">
                  <c:v>18391.0</c:v>
                </c:pt>
                <c:pt idx="39">
                  <c:v>18289.0</c:v>
                </c:pt>
                <c:pt idx="40">
                  <c:v>18210.0</c:v>
                </c:pt>
                <c:pt idx="41">
                  <c:v>18245.0</c:v>
                </c:pt>
                <c:pt idx="42">
                  <c:v>17683.0</c:v>
                </c:pt>
                <c:pt idx="43">
                  <c:v>17615.0</c:v>
                </c:pt>
                <c:pt idx="44">
                  <c:v>17771.0</c:v>
                </c:pt>
                <c:pt idx="45">
                  <c:v>17902.0</c:v>
                </c:pt>
                <c:pt idx="46">
                  <c:v>17831.0</c:v>
                </c:pt>
                <c:pt idx="47">
                  <c:v>19712.0</c:v>
                </c:pt>
                <c:pt idx="48">
                  <c:v>20646.0</c:v>
                </c:pt>
                <c:pt idx="49">
                  <c:v>21671.0</c:v>
                </c:pt>
                <c:pt idx="50">
                  <c:v>22554.0</c:v>
                </c:pt>
                <c:pt idx="51">
                  <c:v>22845.0</c:v>
                </c:pt>
                <c:pt idx="52">
                  <c:v>22998.0</c:v>
                </c:pt>
                <c:pt idx="53">
                  <c:v>23248.0</c:v>
                </c:pt>
                <c:pt idx="54">
                  <c:v>23301.0</c:v>
                </c:pt>
                <c:pt idx="55">
                  <c:v>22991.0</c:v>
                </c:pt>
                <c:pt idx="56">
                  <c:v>22276.0</c:v>
                </c:pt>
                <c:pt idx="57">
                  <c:v>22018.0</c:v>
                </c:pt>
                <c:pt idx="58">
                  <c:v>20855.0</c:v>
                </c:pt>
                <c:pt idx="59">
                  <c:v>20177.0</c:v>
                </c:pt>
                <c:pt idx="60">
                  <c:v>19283.0</c:v>
                </c:pt>
                <c:pt idx="61">
                  <c:v>17848.0</c:v>
                </c:pt>
                <c:pt idx="62">
                  <c:v>17147.0</c:v>
                </c:pt>
                <c:pt idx="63">
                  <c:v>17150.0</c:v>
                </c:pt>
                <c:pt idx="64">
                  <c:v>17222.0</c:v>
                </c:pt>
                <c:pt idx="65">
                  <c:v>17945.0</c:v>
                </c:pt>
                <c:pt idx="66">
                  <c:v>18831.0</c:v>
                </c:pt>
                <c:pt idx="67">
                  <c:v>19677.0</c:v>
                </c:pt>
                <c:pt idx="68">
                  <c:v>21031.0</c:v>
                </c:pt>
                <c:pt idx="69">
                  <c:v>21594.0</c:v>
                </c:pt>
                <c:pt idx="70">
                  <c:v>21873.0</c:v>
                </c:pt>
                <c:pt idx="71">
                  <c:v>21907.0</c:v>
                </c:pt>
                <c:pt idx="72">
                  <c:v>23258.0</c:v>
                </c:pt>
                <c:pt idx="73">
                  <c:v>24811.0</c:v>
                </c:pt>
                <c:pt idx="74">
                  <c:v>27532.0</c:v>
                </c:pt>
                <c:pt idx="75">
                  <c:v>29021.0</c:v>
                </c:pt>
                <c:pt idx="76">
                  <c:v>28062.0</c:v>
                </c:pt>
                <c:pt idx="77">
                  <c:v>27327.0</c:v>
                </c:pt>
                <c:pt idx="78">
                  <c:v>26943.0</c:v>
                </c:pt>
                <c:pt idx="79">
                  <c:v>2670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15</c:v>
                </c:pt>
                <c:pt idx="40">
                  <c:v>0.16</c:v>
                </c:pt>
                <c:pt idx="41">
                  <c:v>0.15</c:v>
                </c:pt>
                <c:pt idx="42">
                  <c:v>0.17</c:v>
                </c:pt>
                <c:pt idx="43">
                  <c:v>0.03</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51</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065.0</c:v>
                </c:pt>
                <c:pt idx="40">
                  <c:v>2576.0</c:v>
                </c:pt>
                <c:pt idx="41">
                  <c:v>3388.0</c:v>
                </c:pt>
                <c:pt idx="42">
                  <c:v>2594.0</c:v>
                </c:pt>
                <c:pt idx="43">
                  <c:v>75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813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2622.0</c:v>
                </c:pt>
                <c:pt idx="1">
                  <c:v>9336.0</c:v>
                </c:pt>
                <c:pt idx="2">
                  <c:v>9489.0</c:v>
                </c:pt>
                <c:pt idx="3">
                  <c:v>7135.0</c:v>
                </c:pt>
                <c:pt idx="4">
                  <c:v>6746.0</c:v>
                </c:pt>
                <c:pt idx="5">
                  <c:v>9512.0</c:v>
                </c:pt>
                <c:pt idx="6">
                  <c:v>12450.0</c:v>
                </c:pt>
                <c:pt idx="7">
                  <c:v>12384.0</c:v>
                </c:pt>
                <c:pt idx="8">
                  <c:v>11958.0</c:v>
                </c:pt>
                <c:pt idx="9">
                  <c:v>15837.0</c:v>
                </c:pt>
                <c:pt idx="10">
                  <c:v>17259.0</c:v>
                </c:pt>
                <c:pt idx="11">
                  <c:v>11333.0</c:v>
                </c:pt>
                <c:pt idx="12">
                  <c:v>15355.0</c:v>
                </c:pt>
                <c:pt idx="13">
                  <c:v>13398.0</c:v>
                </c:pt>
                <c:pt idx="14">
                  <c:v>14437.0</c:v>
                </c:pt>
                <c:pt idx="15">
                  <c:v>14893.0</c:v>
                </c:pt>
                <c:pt idx="16">
                  <c:v>17483.0</c:v>
                </c:pt>
                <c:pt idx="17">
                  <c:v>14435.0</c:v>
                </c:pt>
                <c:pt idx="18">
                  <c:v>14758.0</c:v>
                </c:pt>
                <c:pt idx="19">
                  <c:v>20115.0</c:v>
                </c:pt>
                <c:pt idx="20">
                  <c:v>24277.0</c:v>
                </c:pt>
                <c:pt idx="21">
                  <c:v>29500.0</c:v>
                </c:pt>
                <c:pt idx="22">
                  <c:v>47006.0</c:v>
                </c:pt>
                <c:pt idx="23">
                  <c:v>35247.0</c:v>
                </c:pt>
                <c:pt idx="24">
                  <c:v>37203.0</c:v>
                </c:pt>
                <c:pt idx="25">
                  <c:v>10859.0</c:v>
                </c:pt>
                <c:pt idx="26">
                  <c:v>10404.0</c:v>
                </c:pt>
                <c:pt idx="27">
                  <c:v>12933.0</c:v>
                </c:pt>
                <c:pt idx="28">
                  <c:v>10866.0</c:v>
                </c:pt>
                <c:pt idx="29">
                  <c:v>13159.0</c:v>
                </c:pt>
                <c:pt idx="30">
                  <c:v>15235.0</c:v>
                </c:pt>
                <c:pt idx="31">
                  <c:v>10104.0</c:v>
                </c:pt>
                <c:pt idx="32">
                  <c:v>13555.0</c:v>
                </c:pt>
                <c:pt idx="33">
                  <c:v>15131.0</c:v>
                </c:pt>
                <c:pt idx="34">
                  <c:v>13807.0</c:v>
                </c:pt>
                <c:pt idx="35">
                  <c:v>14419.0</c:v>
                </c:pt>
                <c:pt idx="36">
                  <c:v>20027.0</c:v>
                </c:pt>
                <c:pt idx="37">
                  <c:v>14642.0</c:v>
                </c:pt>
                <c:pt idx="38">
                  <c:v>14061.0</c:v>
                </c:pt>
                <c:pt idx="39">
                  <c:v>12839.0</c:v>
                </c:pt>
                <c:pt idx="40">
                  <c:v>12221.0</c:v>
                </c:pt>
                <c:pt idx="41">
                  <c:v>11335.0</c:v>
                </c:pt>
                <c:pt idx="42">
                  <c:v>10646.0</c:v>
                </c:pt>
                <c:pt idx="43">
                  <c:v>11920.0</c:v>
                </c:pt>
                <c:pt idx="44">
                  <c:v>15094.0</c:v>
                </c:pt>
                <c:pt idx="45">
                  <c:v>12993.0</c:v>
                </c:pt>
                <c:pt idx="46">
                  <c:v>15679.0</c:v>
                </c:pt>
                <c:pt idx="47">
                  <c:v>31256.0</c:v>
                </c:pt>
                <c:pt idx="48">
                  <c:v>21345.0</c:v>
                </c:pt>
                <c:pt idx="49">
                  <c:v>23377.0</c:v>
                </c:pt>
                <c:pt idx="50">
                  <c:v>16992.0</c:v>
                </c:pt>
                <c:pt idx="51">
                  <c:v>15829.0</c:v>
                </c:pt>
                <c:pt idx="52">
                  <c:v>14156.0</c:v>
                </c:pt>
                <c:pt idx="53">
                  <c:v>12966.0</c:v>
                </c:pt>
                <c:pt idx="54">
                  <c:v>9311.0</c:v>
                </c:pt>
                <c:pt idx="55">
                  <c:v>7683.0</c:v>
                </c:pt>
                <c:pt idx="56">
                  <c:v>7923.0</c:v>
                </c:pt>
                <c:pt idx="57">
                  <c:v>9715.0</c:v>
                </c:pt>
                <c:pt idx="58">
                  <c:v>16595.0</c:v>
                </c:pt>
                <c:pt idx="59">
                  <c:v>12962.0</c:v>
                </c:pt>
                <c:pt idx="60">
                  <c:v>15523.0</c:v>
                </c:pt>
                <c:pt idx="61">
                  <c:v>13425.0</c:v>
                </c:pt>
                <c:pt idx="62">
                  <c:v>15337.0</c:v>
                </c:pt>
                <c:pt idx="63">
                  <c:v>12251.0</c:v>
                </c:pt>
                <c:pt idx="64">
                  <c:v>16918.0</c:v>
                </c:pt>
                <c:pt idx="65">
                  <c:v>18910.0</c:v>
                </c:pt>
                <c:pt idx="66">
                  <c:v>17818.0</c:v>
                </c:pt>
                <c:pt idx="67">
                  <c:v>19092.0</c:v>
                </c:pt>
                <c:pt idx="68">
                  <c:v>22503.0</c:v>
                </c:pt>
                <c:pt idx="69">
                  <c:v>19017.0</c:v>
                </c:pt>
                <c:pt idx="70">
                  <c:v>17441.0</c:v>
                </c:pt>
                <c:pt idx="71">
                  <c:v>18725.0</c:v>
                </c:pt>
                <c:pt idx="72">
                  <c:v>21959.0</c:v>
                </c:pt>
                <c:pt idx="73">
                  <c:v>24252.0</c:v>
                </c:pt>
                <c:pt idx="74">
                  <c:v>39343.0</c:v>
                </c:pt>
                <c:pt idx="75">
                  <c:v>34834.0</c:v>
                </c:pt>
                <c:pt idx="76">
                  <c:v>7173.0</c:v>
                </c:pt>
                <c:pt idx="77">
                  <c:v>15281.0</c:v>
                </c:pt>
                <c:pt idx="78">
                  <c:v>15460.0</c:v>
                </c:pt>
                <c:pt idx="79">
                  <c:v>1473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2622.0</c:v>
                </c:pt>
                <c:pt idx="1">
                  <c:v>9336.0</c:v>
                </c:pt>
                <c:pt idx="2">
                  <c:v>9489.0</c:v>
                </c:pt>
                <c:pt idx="3">
                  <c:v>7135.0</c:v>
                </c:pt>
                <c:pt idx="4">
                  <c:v>6746.0</c:v>
                </c:pt>
                <c:pt idx="5">
                  <c:v>9512.0</c:v>
                </c:pt>
                <c:pt idx="6">
                  <c:v>12450.0</c:v>
                </c:pt>
                <c:pt idx="7">
                  <c:v>12384.0</c:v>
                </c:pt>
                <c:pt idx="8">
                  <c:v>11958.0</c:v>
                </c:pt>
                <c:pt idx="9">
                  <c:v>15837.0</c:v>
                </c:pt>
                <c:pt idx="10">
                  <c:v>17259.0</c:v>
                </c:pt>
                <c:pt idx="11">
                  <c:v>11333.0</c:v>
                </c:pt>
                <c:pt idx="12">
                  <c:v>15355.0</c:v>
                </c:pt>
                <c:pt idx="13">
                  <c:v>13398.0</c:v>
                </c:pt>
                <c:pt idx="14">
                  <c:v>14437.0</c:v>
                </c:pt>
                <c:pt idx="15">
                  <c:v>14893.0</c:v>
                </c:pt>
                <c:pt idx="16">
                  <c:v>17483.0</c:v>
                </c:pt>
                <c:pt idx="17">
                  <c:v>14435.0</c:v>
                </c:pt>
                <c:pt idx="18">
                  <c:v>14758.0</c:v>
                </c:pt>
                <c:pt idx="19">
                  <c:v>20115.0</c:v>
                </c:pt>
                <c:pt idx="20">
                  <c:v>24277.0</c:v>
                </c:pt>
                <c:pt idx="21">
                  <c:v>29500.0</c:v>
                </c:pt>
                <c:pt idx="22">
                  <c:v>47006.0</c:v>
                </c:pt>
                <c:pt idx="23">
                  <c:v>35247.0</c:v>
                </c:pt>
                <c:pt idx="24">
                  <c:v>37203.0</c:v>
                </c:pt>
                <c:pt idx="25">
                  <c:v>10859.0</c:v>
                </c:pt>
                <c:pt idx="26">
                  <c:v>10404.0</c:v>
                </c:pt>
                <c:pt idx="27">
                  <c:v>12933.0</c:v>
                </c:pt>
                <c:pt idx="28">
                  <c:v>10866.0</c:v>
                </c:pt>
                <c:pt idx="29">
                  <c:v>13159.0</c:v>
                </c:pt>
                <c:pt idx="30">
                  <c:v>15235.0</c:v>
                </c:pt>
                <c:pt idx="31">
                  <c:v>10104.0</c:v>
                </c:pt>
                <c:pt idx="32">
                  <c:v>13555.0</c:v>
                </c:pt>
                <c:pt idx="33">
                  <c:v>15131.0</c:v>
                </c:pt>
                <c:pt idx="34">
                  <c:v>13807.0</c:v>
                </c:pt>
                <c:pt idx="35">
                  <c:v>14419.0</c:v>
                </c:pt>
                <c:pt idx="36">
                  <c:v>20027.0</c:v>
                </c:pt>
                <c:pt idx="37">
                  <c:v>14642.0</c:v>
                </c:pt>
                <c:pt idx="38">
                  <c:v>14061.0</c:v>
                </c:pt>
                <c:pt idx="39">
                  <c:v>15904.0</c:v>
                </c:pt>
                <c:pt idx="40">
                  <c:v>14797.0</c:v>
                </c:pt>
                <c:pt idx="41">
                  <c:v>14723.0</c:v>
                </c:pt>
                <c:pt idx="42">
                  <c:v>13240.0</c:v>
                </c:pt>
                <c:pt idx="43">
                  <c:v>12670.0</c:v>
                </c:pt>
                <c:pt idx="44">
                  <c:v>15094.0</c:v>
                </c:pt>
                <c:pt idx="45">
                  <c:v>12993.0</c:v>
                </c:pt>
                <c:pt idx="46">
                  <c:v>15679.0</c:v>
                </c:pt>
                <c:pt idx="47">
                  <c:v>31256.0</c:v>
                </c:pt>
                <c:pt idx="48">
                  <c:v>21345.0</c:v>
                </c:pt>
                <c:pt idx="49">
                  <c:v>23377.0</c:v>
                </c:pt>
                <c:pt idx="50">
                  <c:v>16992.0</c:v>
                </c:pt>
                <c:pt idx="51">
                  <c:v>15829.0</c:v>
                </c:pt>
                <c:pt idx="52">
                  <c:v>14156.0</c:v>
                </c:pt>
                <c:pt idx="53">
                  <c:v>12966.0</c:v>
                </c:pt>
                <c:pt idx="54">
                  <c:v>9311.0</c:v>
                </c:pt>
                <c:pt idx="55">
                  <c:v>7683.0</c:v>
                </c:pt>
                <c:pt idx="56">
                  <c:v>7923.0</c:v>
                </c:pt>
                <c:pt idx="57">
                  <c:v>9715.0</c:v>
                </c:pt>
                <c:pt idx="58">
                  <c:v>16595.0</c:v>
                </c:pt>
                <c:pt idx="59">
                  <c:v>12962.0</c:v>
                </c:pt>
                <c:pt idx="60">
                  <c:v>15523.0</c:v>
                </c:pt>
                <c:pt idx="61">
                  <c:v>13425.0</c:v>
                </c:pt>
                <c:pt idx="62">
                  <c:v>15337.0</c:v>
                </c:pt>
                <c:pt idx="63">
                  <c:v>12251.0</c:v>
                </c:pt>
                <c:pt idx="64">
                  <c:v>16918.0</c:v>
                </c:pt>
                <c:pt idx="65">
                  <c:v>18910.0</c:v>
                </c:pt>
                <c:pt idx="66">
                  <c:v>17818.0</c:v>
                </c:pt>
                <c:pt idx="67">
                  <c:v>19092.0</c:v>
                </c:pt>
                <c:pt idx="68">
                  <c:v>22503.0</c:v>
                </c:pt>
                <c:pt idx="69">
                  <c:v>19017.0</c:v>
                </c:pt>
                <c:pt idx="70">
                  <c:v>17441.0</c:v>
                </c:pt>
                <c:pt idx="71">
                  <c:v>36864.0</c:v>
                </c:pt>
                <c:pt idx="72">
                  <c:v>21959.0</c:v>
                </c:pt>
                <c:pt idx="73">
                  <c:v>24252.0</c:v>
                </c:pt>
                <c:pt idx="74">
                  <c:v>39343.0</c:v>
                </c:pt>
                <c:pt idx="75">
                  <c:v>34834.0</c:v>
                </c:pt>
                <c:pt idx="76">
                  <c:v>7173.0</c:v>
                </c:pt>
                <c:pt idx="77">
                  <c:v>15281.0</c:v>
                </c:pt>
                <c:pt idx="78">
                  <c:v>15460.0</c:v>
                </c:pt>
                <c:pt idx="79">
                  <c:v>1473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3932.0</c:v>
                </c:pt>
                <c:pt idx="1">
                  <c:v>13615.0</c:v>
                </c:pt>
                <c:pt idx="2">
                  <c:v>13044.0</c:v>
                </c:pt>
                <c:pt idx="3">
                  <c:v>12780.0</c:v>
                </c:pt>
                <c:pt idx="4">
                  <c:v>12249.0</c:v>
                </c:pt>
                <c:pt idx="5">
                  <c:v>11844.0</c:v>
                </c:pt>
                <c:pt idx="6">
                  <c:v>12064.0</c:v>
                </c:pt>
                <c:pt idx="7">
                  <c:v>11795.0</c:v>
                </c:pt>
                <c:pt idx="8">
                  <c:v>11117.0</c:v>
                </c:pt>
                <c:pt idx="9">
                  <c:v>11003.0</c:v>
                </c:pt>
                <c:pt idx="10">
                  <c:v>11340.0</c:v>
                </c:pt>
                <c:pt idx="11">
                  <c:v>11326.0</c:v>
                </c:pt>
                <c:pt idx="12">
                  <c:v>11880.0</c:v>
                </c:pt>
                <c:pt idx="13">
                  <c:v>12296.0</c:v>
                </c:pt>
                <c:pt idx="14">
                  <c:v>12777.0</c:v>
                </c:pt>
                <c:pt idx="15">
                  <c:v>13415.0</c:v>
                </c:pt>
                <c:pt idx="16">
                  <c:v>14263.0</c:v>
                </c:pt>
                <c:pt idx="17">
                  <c:v>14769.0</c:v>
                </c:pt>
                <c:pt idx="18">
                  <c:v>14845.0</c:v>
                </c:pt>
                <c:pt idx="19">
                  <c:v>15532.0</c:v>
                </c:pt>
                <c:pt idx="20">
                  <c:v>16368.0</c:v>
                </c:pt>
                <c:pt idx="21">
                  <c:v>17631.0</c:v>
                </c:pt>
                <c:pt idx="22">
                  <c:v>20252.0</c:v>
                </c:pt>
                <c:pt idx="23">
                  <c:v>22159.0</c:v>
                </c:pt>
                <c:pt idx="24">
                  <c:v>24920.0</c:v>
                </c:pt>
                <c:pt idx="25">
                  <c:v>24704.0</c:v>
                </c:pt>
                <c:pt idx="26">
                  <c:v>24331.0</c:v>
                </c:pt>
                <c:pt idx="27">
                  <c:v>24066.0</c:v>
                </c:pt>
                <c:pt idx="28">
                  <c:v>23407.0</c:v>
                </c:pt>
                <c:pt idx="29">
                  <c:v>23285.0</c:v>
                </c:pt>
                <c:pt idx="30">
                  <c:v>23146.0</c:v>
                </c:pt>
                <c:pt idx="31">
                  <c:v>22044.0</c:v>
                </c:pt>
                <c:pt idx="32">
                  <c:v>21241.0</c:v>
                </c:pt>
                <c:pt idx="33">
                  <c:v>19410.0</c:v>
                </c:pt>
                <c:pt idx="34">
                  <c:v>16855.0</c:v>
                </c:pt>
                <c:pt idx="35">
                  <c:v>14862.0</c:v>
                </c:pt>
                <c:pt idx="36">
                  <c:v>13547.0</c:v>
                </c:pt>
                <c:pt idx="37">
                  <c:v>13791.0</c:v>
                </c:pt>
                <c:pt idx="38">
                  <c:v>14039.0</c:v>
                </c:pt>
                <c:pt idx="39">
                  <c:v>14039.0</c:v>
                </c:pt>
                <c:pt idx="40">
                  <c:v>14339.0</c:v>
                </c:pt>
                <c:pt idx="41">
                  <c:v>14252.0</c:v>
                </c:pt>
                <c:pt idx="42">
                  <c:v>13924.0</c:v>
                </c:pt>
                <c:pt idx="43">
                  <c:v>14076.0</c:v>
                </c:pt>
                <c:pt idx="44">
                  <c:v>14086.0</c:v>
                </c:pt>
                <c:pt idx="45">
                  <c:v>13757.0</c:v>
                </c:pt>
                <c:pt idx="46">
                  <c:v>14138.0</c:v>
                </c:pt>
                <c:pt idx="47">
                  <c:v>15845.0</c:v>
                </c:pt>
                <c:pt idx="48">
                  <c:v>16063.0</c:v>
                </c:pt>
                <c:pt idx="49">
                  <c:v>16972.0</c:v>
                </c:pt>
                <c:pt idx="50">
                  <c:v>17288.0</c:v>
                </c:pt>
                <c:pt idx="51">
                  <c:v>17545.0</c:v>
                </c:pt>
                <c:pt idx="52">
                  <c:v>17718.0</c:v>
                </c:pt>
                <c:pt idx="53">
                  <c:v>17836.0</c:v>
                </c:pt>
                <c:pt idx="54">
                  <c:v>17520.0</c:v>
                </c:pt>
                <c:pt idx="55">
                  <c:v>17297.0</c:v>
                </c:pt>
                <c:pt idx="56">
                  <c:v>16519.0</c:v>
                </c:pt>
                <c:pt idx="57">
                  <c:v>16478.0</c:v>
                </c:pt>
                <c:pt idx="58">
                  <c:v>15858.0</c:v>
                </c:pt>
                <c:pt idx="59">
                  <c:v>14964.0</c:v>
                </c:pt>
                <c:pt idx="60">
                  <c:v>14194.0</c:v>
                </c:pt>
                <c:pt idx="61">
                  <c:v>13505.0</c:v>
                </c:pt>
                <c:pt idx="62">
                  <c:v>13294.0</c:v>
                </c:pt>
                <c:pt idx="63">
                  <c:v>12830.0</c:v>
                </c:pt>
                <c:pt idx="64">
                  <c:v>13112.0</c:v>
                </c:pt>
                <c:pt idx="65">
                  <c:v>13715.0</c:v>
                </c:pt>
                <c:pt idx="66">
                  <c:v>14437.0</c:v>
                </c:pt>
                <c:pt idx="67">
                  <c:v>15575.0</c:v>
                </c:pt>
                <c:pt idx="68">
                  <c:v>16715.0</c:v>
                </c:pt>
                <c:pt idx="69">
                  <c:v>17456.0</c:v>
                </c:pt>
                <c:pt idx="70">
                  <c:v>17390.0</c:v>
                </c:pt>
                <c:pt idx="71">
                  <c:v>17889.0</c:v>
                </c:pt>
                <c:pt idx="72">
                  <c:v>18248.0</c:v>
                </c:pt>
                <c:pt idx="73">
                  <c:v>19283.0</c:v>
                </c:pt>
                <c:pt idx="74">
                  <c:v>21308.0</c:v>
                </c:pt>
                <c:pt idx="75">
                  <c:v>23164.0</c:v>
                </c:pt>
                <c:pt idx="76">
                  <c:v>22149.0</c:v>
                </c:pt>
                <c:pt idx="77">
                  <c:v>21761.0</c:v>
                </c:pt>
                <c:pt idx="78">
                  <c:v>21606.0</c:v>
                </c:pt>
                <c:pt idx="79">
                  <c:v>2072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14</c:v>
                </c:pt>
                <c:pt idx="40">
                  <c:v>0.13</c:v>
                </c:pt>
                <c:pt idx="41">
                  <c:v>0.17</c:v>
                </c:pt>
                <c:pt idx="42">
                  <c:v>0.14</c:v>
                </c:pt>
                <c:pt idx="43">
                  <c:v>0.0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46</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838.0</c:v>
                </c:pt>
                <c:pt idx="40">
                  <c:v>6530.0</c:v>
                </c:pt>
                <c:pt idx="41">
                  <c:v>6372.0</c:v>
                </c:pt>
                <c:pt idx="42">
                  <c:v>3934.0</c:v>
                </c:pt>
                <c:pt idx="43">
                  <c:v>75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048.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228.0</c:v>
                </c:pt>
                <c:pt idx="1">
                  <c:v>1339.0</c:v>
                </c:pt>
                <c:pt idx="2">
                  <c:v>929.0</c:v>
                </c:pt>
                <c:pt idx="3">
                  <c:v>963.0</c:v>
                </c:pt>
                <c:pt idx="4">
                  <c:v>785.0</c:v>
                </c:pt>
                <c:pt idx="5">
                  <c:v>1007.0</c:v>
                </c:pt>
                <c:pt idx="6">
                  <c:v>1598.0</c:v>
                </c:pt>
                <c:pt idx="7">
                  <c:v>1556.0</c:v>
                </c:pt>
                <c:pt idx="8">
                  <c:v>1188.0</c:v>
                </c:pt>
                <c:pt idx="9">
                  <c:v>1591.0</c:v>
                </c:pt>
                <c:pt idx="10">
                  <c:v>1152.0</c:v>
                </c:pt>
                <c:pt idx="11">
                  <c:v>1044.0</c:v>
                </c:pt>
                <c:pt idx="12">
                  <c:v>2487.0</c:v>
                </c:pt>
                <c:pt idx="13">
                  <c:v>1555.0</c:v>
                </c:pt>
                <c:pt idx="14">
                  <c:v>1371.0</c:v>
                </c:pt>
                <c:pt idx="15">
                  <c:v>970.0</c:v>
                </c:pt>
                <c:pt idx="16">
                  <c:v>2010.0</c:v>
                </c:pt>
                <c:pt idx="17">
                  <c:v>1338.0</c:v>
                </c:pt>
                <c:pt idx="18">
                  <c:v>1618.0</c:v>
                </c:pt>
                <c:pt idx="19">
                  <c:v>1319.0</c:v>
                </c:pt>
                <c:pt idx="20">
                  <c:v>1338.0</c:v>
                </c:pt>
                <c:pt idx="21">
                  <c:v>1190.0</c:v>
                </c:pt>
                <c:pt idx="22">
                  <c:v>3785.0</c:v>
                </c:pt>
                <c:pt idx="23">
                  <c:v>2265.0</c:v>
                </c:pt>
                <c:pt idx="24">
                  <c:v>1710.0</c:v>
                </c:pt>
                <c:pt idx="25">
                  <c:v>1221.0</c:v>
                </c:pt>
                <c:pt idx="26">
                  <c:v>1110.0</c:v>
                </c:pt>
                <c:pt idx="27">
                  <c:v>1045.0</c:v>
                </c:pt>
                <c:pt idx="28">
                  <c:v>855.0</c:v>
                </c:pt>
                <c:pt idx="29">
                  <c:v>1005.0</c:v>
                </c:pt>
                <c:pt idx="30">
                  <c:v>966.0</c:v>
                </c:pt>
                <c:pt idx="31">
                  <c:v>1331.0</c:v>
                </c:pt>
                <c:pt idx="32">
                  <c:v>481.0</c:v>
                </c:pt>
                <c:pt idx="33">
                  <c:v>1077.0</c:v>
                </c:pt>
                <c:pt idx="34">
                  <c:v>1411.0</c:v>
                </c:pt>
                <c:pt idx="35">
                  <c:v>1145.0</c:v>
                </c:pt>
                <c:pt idx="36">
                  <c:v>1670.0</c:v>
                </c:pt>
                <c:pt idx="37">
                  <c:v>1001.0</c:v>
                </c:pt>
                <c:pt idx="38">
                  <c:v>740.0</c:v>
                </c:pt>
                <c:pt idx="39">
                  <c:v>78.0</c:v>
                </c:pt>
                <c:pt idx="40">
                  <c:v>0.0</c:v>
                </c:pt>
                <c:pt idx="41">
                  <c:v>0.0</c:v>
                </c:pt>
                <c:pt idx="42">
                  <c:v>0.0</c:v>
                </c:pt>
                <c:pt idx="43">
                  <c:v>407.0</c:v>
                </c:pt>
                <c:pt idx="44">
                  <c:v>559.0</c:v>
                </c:pt>
                <c:pt idx="45">
                  <c:v>997.0</c:v>
                </c:pt>
                <c:pt idx="46">
                  <c:v>837.0</c:v>
                </c:pt>
                <c:pt idx="47">
                  <c:v>1303.0</c:v>
                </c:pt>
                <c:pt idx="48">
                  <c:v>1186.0</c:v>
                </c:pt>
                <c:pt idx="49">
                  <c:v>1075.0</c:v>
                </c:pt>
                <c:pt idx="50">
                  <c:v>929.0</c:v>
                </c:pt>
                <c:pt idx="51">
                  <c:v>1455.0</c:v>
                </c:pt>
                <c:pt idx="52">
                  <c:v>1004.0</c:v>
                </c:pt>
                <c:pt idx="53">
                  <c:v>744.0</c:v>
                </c:pt>
                <c:pt idx="54">
                  <c:v>452.0</c:v>
                </c:pt>
                <c:pt idx="55">
                  <c:v>296.0</c:v>
                </c:pt>
                <c:pt idx="56">
                  <c:v>259.0</c:v>
                </c:pt>
                <c:pt idx="57">
                  <c:v>444.0</c:v>
                </c:pt>
                <c:pt idx="58">
                  <c:v>522.0</c:v>
                </c:pt>
                <c:pt idx="59">
                  <c:v>521.0</c:v>
                </c:pt>
                <c:pt idx="60">
                  <c:v>372.0</c:v>
                </c:pt>
                <c:pt idx="61">
                  <c:v>448.0</c:v>
                </c:pt>
                <c:pt idx="62">
                  <c:v>482.0</c:v>
                </c:pt>
                <c:pt idx="63">
                  <c:v>372.0</c:v>
                </c:pt>
                <c:pt idx="64">
                  <c:v>483.0</c:v>
                </c:pt>
                <c:pt idx="65">
                  <c:v>672.0</c:v>
                </c:pt>
                <c:pt idx="66">
                  <c:v>739.0</c:v>
                </c:pt>
                <c:pt idx="67">
                  <c:v>485.0</c:v>
                </c:pt>
                <c:pt idx="68">
                  <c:v>1591.0</c:v>
                </c:pt>
                <c:pt idx="69">
                  <c:v>776.0</c:v>
                </c:pt>
                <c:pt idx="70">
                  <c:v>444.0</c:v>
                </c:pt>
                <c:pt idx="71">
                  <c:v>138.0</c:v>
                </c:pt>
                <c:pt idx="72">
                  <c:v>556.0</c:v>
                </c:pt>
                <c:pt idx="73">
                  <c:v>389.0</c:v>
                </c:pt>
                <c:pt idx="74">
                  <c:v>450.0</c:v>
                </c:pt>
                <c:pt idx="75">
                  <c:v>594.0</c:v>
                </c:pt>
                <c:pt idx="76">
                  <c:v>111.0</c:v>
                </c:pt>
                <c:pt idx="77">
                  <c:v>298.0</c:v>
                </c:pt>
                <c:pt idx="78">
                  <c:v>298.0</c:v>
                </c:pt>
                <c:pt idx="79">
                  <c:v>11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228.0</c:v>
                </c:pt>
                <c:pt idx="1">
                  <c:v>1339.0</c:v>
                </c:pt>
                <c:pt idx="2">
                  <c:v>929.0</c:v>
                </c:pt>
                <c:pt idx="3">
                  <c:v>963.0</c:v>
                </c:pt>
                <c:pt idx="4">
                  <c:v>785.0</c:v>
                </c:pt>
                <c:pt idx="5">
                  <c:v>1007.0</c:v>
                </c:pt>
                <c:pt idx="6">
                  <c:v>1598.0</c:v>
                </c:pt>
                <c:pt idx="7">
                  <c:v>1556.0</c:v>
                </c:pt>
                <c:pt idx="8">
                  <c:v>1188.0</c:v>
                </c:pt>
                <c:pt idx="9">
                  <c:v>1591.0</c:v>
                </c:pt>
                <c:pt idx="10">
                  <c:v>1152.0</c:v>
                </c:pt>
                <c:pt idx="11">
                  <c:v>1044.0</c:v>
                </c:pt>
                <c:pt idx="12">
                  <c:v>2487.0</c:v>
                </c:pt>
                <c:pt idx="13">
                  <c:v>1555.0</c:v>
                </c:pt>
                <c:pt idx="14">
                  <c:v>1371.0</c:v>
                </c:pt>
                <c:pt idx="15">
                  <c:v>970.0</c:v>
                </c:pt>
                <c:pt idx="16">
                  <c:v>2010.0</c:v>
                </c:pt>
                <c:pt idx="17">
                  <c:v>1338.0</c:v>
                </c:pt>
                <c:pt idx="18">
                  <c:v>1618.0</c:v>
                </c:pt>
                <c:pt idx="19">
                  <c:v>1319.0</c:v>
                </c:pt>
                <c:pt idx="20">
                  <c:v>1338.0</c:v>
                </c:pt>
                <c:pt idx="21">
                  <c:v>1190.0</c:v>
                </c:pt>
                <c:pt idx="22">
                  <c:v>3785.0</c:v>
                </c:pt>
                <c:pt idx="23">
                  <c:v>2265.0</c:v>
                </c:pt>
                <c:pt idx="24">
                  <c:v>1710.0</c:v>
                </c:pt>
                <c:pt idx="25">
                  <c:v>1221.0</c:v>
                </c:pt>
                <c:pt idx="26">
                  <c:v>1110.0</c:v>
                </c:pt>
                <c:pt idx="27">
                  <c:v>1045.0</c:v>
                </c:pt>
                <c:pt idx="28">
                  <c:v>855.0</c:v>
                </c:pt>
                <c:pt idx="29">
                  <c:v>1005.0</c:v>
                </c:pt>
                <c:pt idx="30">
                  <c:v>966.0</c:v>
                </c:pt>
                <c:pt idx="31">
                  <c:v>1331.0</c:v>
                </c:pt>
                <c:pt idx="32">
                  <c:v>481.0</c:v>
                </c:pt>
                <c:pt idx="33">
                  <c:v>1077.0</c:v>
                </c:pt>
                <c:pt idx="34">
                  <c:v>1411.0</c:v>
                </c:pt>
                <c:pt idx="35">
                  <c:v>1145.0</c:v>
                </c:pt>
                <c:pt idx="36">
                  <c:v>1670.0</c:v>
                </c:pt>
                <c:pt idx="37">
                  <c:v>1001.0</c:v>
                </c:pt>
                <c:pt idx="38">
                  <c:v>740.0</c:v>
                </c:pt>
                <c:pt idx="39">
                  <c:v>4916.0</c:v>
                </c:pt>
                <c:pt idx="40">
                  <c:v>6530.0</c:v>
                </c:pt>
                <c:pt idx="41">
                  <c:v>6372.0</c:v>
                </c:pt>
                <c:pt idx="42">
                  <c:v>3934.0</c:v>
                </c:pt>
                <c:pt idx="43">
                  <c:v>1157.0</c:v>
                </c:pt>
                <c:pt idx="44">
                  <c:v>559.0</c:v>
                </c:pt>
                <c:pt idx="45">
                  <c:v>997.0</c:v>
                </c:pt>
                <c:pt idx="46">
                  <c:v>837.0</c:v>
                </c:pt>
                <c:pt idx="47">
                  <c:v>1303.0</c:v>
                </c:pt>
                <c:pt idx="48">
                  <c:v>1186.0</c:v>
                </c:pt>
                <c:pt idx="49">
                  <c:v>1075.0</c:v>
                </c:pt>
                <c:pt idx="50">
                  <c:v>929.0</c:v>
                </c:pt>
                <c:pt idx="51">
                  <c:v>1455.0</c:v>
                </c:pt>
                <c:pt idx="52">
                  <c:v>1004.0</c:v>
                </c:pt>
                <c:pt idx="53">
                  <c:v>744.0</c:v>
                </c:pt>
                <c:pt idx="54">
                  <c:v>452.0</c:v>
                </c:pt>
                <c:pt idx="55">
                  <c:v>296.0</c:v>
                </c:pt>
                <c:pt idx="56">
                  <c:v>259.0</c:v>
                </c:pt>
                <c:pt idx="57">
                  <c:v>444.0</c:v>
                </c:pt>
                <c:pt idx="58">
                  <c:v>522.0</c:v>
                </c:pt>
                <c:pt idx="59">
                  <c:v>521.0</c:v>
                </c:pt>
                <c:pt idx="60">
                  <c:v>372.0</c:v>
                </c:pt>
                <c:pt idx="61">
                  <c:v>448.0</c:v>
                </c:pt>
                <c:pt idx="62">
                  <c:v>482.0</c:v>
                </c:pt>
                <c:pt idx="63">
                  <c:v>372.0</c:v>
                </c:pt>
                <c:pt idx="64">
                  <c:v>483.0</c:v>
                </c:pt>
                <c:pt idx="65">
                  <c:v>672.0</c:v>
                </c:pt>
                <c:pt idx="66">
                  <c:v>739.0</c:v>
                </c:pt>
                <c:pt idx="67">
                  <c:v>485.0</c:v>
                </c:pt>
                <c:pt idx="68">
                  <c:v>1591.0</c:v>
                </c:pt>
                <c:pt idx="69">
                  <c:v>776.0</c:v>
                </c:pt>
                <c:pt idx="70">
                  <c:v>444.0</c:v>
                </c:pt>
                <c:pt idx="71">
                  <c:v>8186.0</c:v>
                </c:pt>
                <c:pt idx="72">
                  <c:v>556.0</c:v>
                </c:pt>
                <c:pt idx="73">
                  <c:v>389.0</c:v>
                </c:pt>
                <c:pt idx="74">
                  <c:v>450.0</c:v>
                </c:pt>
                <c:pt idx="75">
                  <c:v>594.0</c:v>
                </c:pt>
                <c:pt idx="76">
                  <c:v>111.0</c:v>
                </c:pt>
                <c:pt idx="77">
                  <c:v>298.0</c:v>
                </c:pt>
                <c:pt idx="78">
                  <c:v>298.0</c:v>
                </c:pt>
                <c:pt idx="79">
                  <c:v>11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080.0</c:v>
                </c:pt>
                <c:pt idx="1">
                  <c:v>2080.0</c:v>
                </c:pt>
                <c:pt idx="2">
                  <c:v>1970.0</c:v>
                </c:pt>
                <c:pt idx="3">
                  <c:v>1820.0</c:v>
                </c:pt>
                <c:pt idx="4">
                  <c:v>1708.0</c:v>
                </c:pt>
                <c:pt idx="5">
                  <c:v>1636.0</c:v>
                </c:pt>
                <c:pt idx="6">
                  <c:v>1562.0</c:v>
                </c:pt>
                <c:pt idx="7">
                  <c:v>1412.0</c:v>
                </c:pt>
                <c:pt idx="8">
                  <c:v>1376.0</c:v>
                </c:pt>
                <c:pt idx="9">
                  <c:v>1338.0</c:v>
                </c:pt>
                <c:pt idx="10">
                  <c:v>1302.0</c:v>
                </c:pt>
                <c:pt idx="11">
                  <c:v>1190.0</c:v>
                </c:pt>
                <c:pt idx="12">
                  <c:v>1302.0</c:v>
                </c:pt>
                <c:pt idx="13">
                  <c:v>1338.0</c:v>
                </c:pt>
                <c:pt idx="14">
                  <c:v>1376.0</c:v>
                </c:pt>
                <c:pt idx="15">
                  <c:v>1376.0</c:v>
                </c:pt>
                <c:pt idx="16">
                  <c:v>1450.0</c:v>
                </c:pt>
                <c:pt idx="17">
                  <c:v>1486.0</c:v>
                </c:pt>
                <c:pt idx="18">
                  <c:v>1486.0</c:v>
                </c:pt>
                <c:pt idx="19">
                  <c:v>1450.0</c:v>
                </c:pt>
                <c:pt idx="20">
                  <c:v>1450.0</c:v>
                </c:pt>
                <c:pt idx="21">
                  <c:v>1488.0</c:v>
                </c:pt>
                <c:pt idx="22">
                  <c:v>2006.0</c:v>
                </c:pt>
                <c:pt idx="23">
                  <c:v>2228.0</c:v>
                </c:pt>
                <c:pt idx="24">
                  <c:v>2044.0</c:v>
                </c:pt>
                <c:pt idx="25">
                  <c:v>2006.0</c:v>
                </c:pt>
                <c:pt idx="26">
                  <c:v>1630.0</c:v>
                </c:pt>
                <c:pt idx="27">
                  <c:v>1858.0</c:v>
                </c:pt>
                <c:pt idx="28">
                  <c:v>1748.0</c:v>
                </c:pt>
                <c:pt idx="29">
                  <c:v>1674.0</c:v>
                </c:pt>
                <c:pt idx="30">
                  <c:v>1600.0</c:v>
                </c:pt>
                <c:pt idx="31">
                  <c:v>1334.0</c:v>
                </c:pt>
                <c:pt idx="32">
                  <c:v>1260.0</c:v>
                </c:pt>
                <c:pt idx="33">
                  <c:v>1488.0</c:v>
                </c:pt>
                <c:pt idx="34">
                  <c:v>1264.0</c:v>
                </c:pt>
                <c:pt idx="35">
                  <c:v>964.0</c:v>
                </c:pt>
                <c:pt idx="36">
                  <c:v>1192.0</c:v>
                </c:pt>
                <c:pt idx="37">
                  <c:v>1192.0</c:v>
                </c:pt>
                <c:pt idx="38">
                  <c:v>926.0</c:v>
                </c:pt>
                <c:pt idx="39">
                  <c:v>1154.0</c:v>
                </c:pt>
                <c:pt idx="40">
                  <c:v>1228.0</c:v>
                </c:pt>
                <c:pt idx="41">
                  <c:v>1152.0</c:v>
                </c:pt>
                <c:pt idx="42">
                  <c:v>1190.0</c:v>
                </c:pt>
                <c:pt idx="43">
                  <c:v>852.0</c:v>
                </c:pt>
                <c:pt idx="44">
                  <c:v>1116.0</c:v>
                </c:pt>
                <c:pt idx="45">
                  <c:v>1000.0</c:v>
                </c:pt>
                <c:pt idx="46">
                  <c:v>926.0</c:v>
                </c:pt>
                <c:pt idx="47">
                  <c:v>1154.0</c:v>
                </c:pt>
                <c:pt idx="48">
                  <c:v>1078.0</c:v>
                </c:pt>
                <c:pt idx="49">
                  <c:v>1040.0</c:v>
                </c:pt>
                <c:pt idx="50">
                  <c:v>1040.0</c:v>
                </c:pt>
                <c:pt idx="51">
                  <c:v>1154.0</c:v>
                </c:pt>
                <c:pt idx="52">
                  <c:v>1118.0</c:v>
                </c:pt>
                <c:pt idx="53">
                  <c:v>1080.0</c:v>
                </c:pt>
                <c:pt idx="54">
                  <c:v>636.0</c:v>
                </c:pt>
                <c:pt idx="55">
                  <c:v>740.0</c:v>
                </c:pt>
                <c:pt idx="56">
                  <c:v>740.0</c:v>
                </c:pt>
                <c:pt idx="57">
                  <c:v>740.0</c:v>
                </c:pt>
                <c:pt idx="58">
                  <c:v>894.0</c:v>
                </c:pt>
                <c:pt idx="59">
                  <c:v>858.0</c:v>
                </c:pt>
                <c:pt idx="60">
                  <c:v>784.0</c:v>
                </c:pt>
                <c:pt idx="61">
                  <c:v>746.0</c:v>
                </c:pt>
                <c:pt idx="62">
                  <c:v>598.0</c:v>
                </c:pt>
                <c:pt idx="63">
                  <c:v>560.0</c:v>
                </c:pt>
                <c:pt idx="64">
                  <c:v>524.0</c:v>
                </c:pt>
                <c:pt idx="65">
                  <c:v>486.0</c:v>
                </c:pt>
                <c:pt idx="66">
                  <c:v>524.0</c:v>
                </c:pt>
                <c:pt idx="67">
                  <c:v>524.0</c:v>
                </c:pt>
                <c:pt idx="68">
                  <c:v>634.0</c:v>
                </c:pt>
                <c:pt idx="69">
                  <c:v>518.0</c:v>
                </c:pt>
                <c:pt idx="70">
                  <c:v>518.0</c:v>
                </c:pt>
                <c:pt idx="71">
                  <c:v>556.0</c:v>
                </c:pt>
                <c:pt idx="72">
                  <c:v>670.0</c:v>
                </c:pt>
                <c:pt idx="73">
                  <c:v>448.0</c:v>
                </c:pt>
                <c:pt idx="74">
                  <c:v>670.0</c:v>
                </c:pt>
                <c:pt idx="75">
                  <c:v>670.0</c:v>
                </c:pt>
                <c:pt idx="76">
                  <c:v>482.0</c:v>
                </c:pt>
                <c:pt idx="77">
                  <c:v>634.0</c:v>
                </c:pt>
                <c:pt idx="78">
                  <c:v>634.0</c:v>
                </c:pt>
                <c:pt idx="79">
                  <c:v>22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8</c:v>
                </c:pt>
                <c:pt idx="40">
                  <c:v>1.0</c:v>
                </c:pt>
                <c:pt idx="41">
                  <c:v>1.0</c:v>
                </c:pt>
                <c:pt idx="42">
                  <c:v>1.0</c:v>
                </c:pt>
                <c:pt idx="43">
                  <c:v>0.7</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99</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734.0</c:v>
                </c:pt>
                <c:pt idx="40">
                  <c:v>2971.0</c:v>
                </c:pt>
                <c:pt idx="41">
                  <c:v>3084.0</c:v>
                </c:pt>
                <c:pt idx="42">
                  <c:v>2432.0</c:v>
                </c:pt>
                <c:pt idx="43">
                  <c:v>87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596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633.0</c:v>
                </c:pt>
                <c:pt idx="1">
                  <c:v>892.0</c:v>
                </c:pt>
                <c:pt idx="2">
                  <c:v>517.0</c:v>
                </c:pt>
                <c:pt idx="3">
                  <c:v>443.0</c:v>
                </c:pt>
                <c:pt idx="4">
                  <c:v>443.0</c:v>
                </c:pt>
                <c:pt idx="5">
                  <c:v>444.0</c:v>
                </c:pt>
                <c:pt idx="6">
                  <c:v>818.0</c:v>
                </c:pt>
                <c:pt idx="7">
                  <c:v>779.0</c:v>
                </c:pt>
                <c:pt idx="8">
                  <c:v>296.0</c:v>
                </c:pt>
                <c:pt idx="9">
                  <c:v>289.0</c:v>
                </c:pt>
                <c:pt idx="10">
                  <c:v>444.0</c:v>
                </c:pt>
                <c:pt idx="11">
                  <c:v>557.0</c:v>
                </c:pt>
                <c:pt idx="12">
                  <c:v>887.0</c:v>
                </c:pt>
                <c:pt idx="13">
                  <c:v>629.0</c:v>
                </c:pt>
                <c:pt idx="14">
                  <c:v>370.0</c:v>
                </c:pt>
                <c:pt idx="15">
                  <c:v>296.0</c:v>
                </c:pt>
                <c:pt idx="16">
                  <c:v>409.0</c:v>
                </c:pt>
                <c:pt idx="17">
                  <c:v>367.0</c:v>
                </c:pt>
                <c:pt idx="18">
                  <c:v>592.0</c:v>
                </c:pt>
                <c:pt idx="19">
                  <c:v>668.0</c:v>
                </c:pt>
                <c:pt idx="20">
                  <c:v>860.0</c:v>
                </c:pt>
                <c:pt idx="21">
                  <c:v>964.0</c:v>
                </c:pt>
                <c:pt idx="22">
                  <c:v>2786.0</c:v>
                </c:pt>
                <c:pt idx="23">
                  <c:v>1443.0</c:v>
                </c:pt>
                <c:pt idx="24">
                  <c:v>1116.0</c:v>
                </c:pt>
                <c:pt idx="25">
                  <c:v>483.0</c:v>
                </c:pt>
                <c:pt idx="26">
                  <c:v>409.0</c:v>
                </c:pt>
                <c:pt idx="27">
                  <c:v>337.0</c:v>
                </c:pt>
                <c:pt idx="28">
                  <c:v>302.0</c:v>
                </c:pt>
                <c:pt idx="29">
                  <c:v>409.0</c:v>
                </c:pt>
                <c:pt idx="30">
                  <c:v>407.0</c:v>
                </c:pt>
                <c:pt idx="31">
                  <c:v>185.0</c:v>
                </c:pt>
                <c:pt idx="32">
                  <c:v>258.0</c:v>
                </c:pt>
                <c:pt idx="33">
                  <c:v>185.0</c:v>
                </c:pt>
                <c:pt idx="34">
                  <c:v>407.0</c:v>
                </c:pt>
                <c:pt idx="35">
                  <c:v>374.0</c:v>
                </c:pt>
                <c:pt idx="36">
                  <c:v>888.0</c:v>
                </c:pt>
                <c:pt idx="37">
                  <c:v>543.0</c:v>
                </c:pt>
                <c:pt idx="38">
                  <c:v>406.0</c:v>
                </c:pt>
                <c:pt idx="39">
                  <c:v>77.0</c:v>
                </c:pt>
                <c:pt idx="40">
                  <c:v>0.0</c:v>
                </c:pt>
                <c:pt idx="41">
                  <c:v>0.0</c:v>
                </c:pt>
                <c:pt idx="42">
                  <c:v>0.0</c:v>
                </c:pt>
                <c:pt idx="43">
                  <c:v>333.0</c:v>
                </c:pt>
                <c:pt idx="44">
                  <c:v>150.0</c:v>
                </c:pt>
                <c:pt idx="45">
                  <c:v>74.0</c:v>
                </c:pt>
                <c:pt idx="46">
                  <c:v>406.0</c:v>
                </c:pt>
                <c:pt idx="47">
                  <c:v>620.0</c:v>
                </c:pt>
                <c:pt idx="48">
                  <c:v>591.0</c:v>
                </c:pt>
                <c:pt idx="49">
                  <c:v>668.0</c:v>
                </c:pt>
                <c:pt idx="50">
                  <c:v>295.0</c:v>
                </c:pt>
                <c:pt idx="51">
                  <c:v>261.0</c:v>
                </c:pt>
                <c:pt idx="52">
                  <c:v>185.0</c:v>
                </c:pt>
                <c:pt idx="53">
                  <c:v>297.0</c:v>
                </c:pt>
                <c:pt idx="54">
                  <c:v>299.0</c:v>
                </c:pt>
                <c:pt idx="55">
                  <c:v>298.0</c:v>
                </c:pt>
                <c:pt idx="56">
                  <c:v>300.0</c:v>
                </c:pt>
                <c:pt idx="57">
                  <c:v>775.0</c:v>
                </c:pt>
                <c:pt idx="58">
                  <c:v>370.0</c:v>
                </c:pt>
                <c:pt idx="59">
                  <c:v>256.0</c:v>
                </c:pt>
                <c:pt idx="60">
                  <c:v>335.0</c:v>
                </c:pt>
                <c:pt idx="61">
                  <c:v>187.0</c:v>
                </c:pt>
                <c:pt idx="62">
                  <c:v>148.0</c:v>
                </c:pt>
                <c:pt idx="63">
                  <c:v>372.0</c:v>
                </c:pt>
                <c:pt idx="64">
                  <c:v>558.0</c:v>
                </c:pt>
                <c:pt idx="65">
                  <c:v>629.0</c:v>
                </c:pt>
                <c:pt idx="66">
                  <c:v>259.0</c:v>
                </c:pt>
                <c:pt idx="67">
                  <c:v>335.0</c:v>
                </c:pt>
                <c:pt idx="68">
                  <c:v>259.0</c:v>
                </c:pt>
                <c:pt idx="69">
                  <c:v>629.0</c:v>
                </c:pt>
                <c:pt idx="70">
                  <c:v>258.0</c:v>
                </c:pt>
                <c:pt idx="71">
                  <c:v>152.0</c:v>
                </c:pt>
                <c:pt idx="72">
                  <c:v>335.0</c:v>
                </c:pt>
                <c:pt idx="73">
                  <c:v>113.0</c:v>
                </c:pt>
                <c:pt idx="74">
                  <c:v>518.0</c:v>
                </c:pt>
                <c:pt idx="75">
                  <c:v>296.0</c:v>
                </c:pt>
                <c:pt idx="76">
                  <c:v>114.0</c:v>
                </c:pt>
                <c:pt idx="77">
                  <c:v>148.0</c:v>
                </c:pt>
                <c:pt idx="78">
                  <c:v>37.0</c:v>
                </c:pt>
                <c:pt idx="79">
                  <c:v>18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633.0</c:v>
                </c:pt>
                <c:pt idx="1">
                  <c:v>892.0</c:v>
                </c:pt>
                <c:pt idx="2">
                  <c:v>517.0</c:v>
                </c:pt>
                <c:pt idx="3">
                  <c:v>443.0</c:v>
                </c:pt>
                <c:pt idx="4">
                  <c:v>443.0</c:v>
                </c:pt>
                <c:pt idx="5">
                  <c:v>444.0</c:v>
                </c:pt>
                <c:pt idx="6">
                  <c:v>818.0</c:v>
                </c:pt>
                <c:pt idx="7">
                  <c:v>779.0</c:v>
                </c:pt>
                <c:pt idx="8">
                  <c:v>296.0</c:v>
                </c:pt>
                <c:pt idx="9">
                  <c:v>289.0</c:v>
                </c:pt>
                <c:pt idx="10">
                  <c:v>444.0</c:v>
                </c:pt>
                <c:pt idx="11">
                  <c:v>557.0</c:v>
                </c:pt>
                <c:pt idx="12">
                  <c:v>887.0</c:v>
                </c:pt>
                <c:pt idx="13">
                  <c:v>629.0</c:v>
                </c:pt>
                <c:pt idx="14">
                  <c:v>370.0</c:v>
                </c:pt>
                <c:pt idx="15">
                  <c:v>296.0</c:v>
                </c:pt>
                <c:pt idx="16">
                  <c:v>409.0</c:v>
                </c:pt>
                <c:pt idx="17">
                  <c:v>367.0</c:v>
                </c:pt>
                <c:pt idx="18">
                  <c:v>592.0</c:v>
                </c:pt>
                <c:pt idx="19">
                  <c:v>668.0</c:v>
                </c:pt>
                <c:pt idx="20">
                  <c:v>860.0</c:v>
                </c:pt>
                <c:pt idx="21">
                  <c:v>964.0</c:v>
                </c:pt>
                <c:pt idx="22">
                  <c:v>2786.0</c:v>
                </c:pt>
                <c:pt idx="23">
                  <c:v>1443.0</c:v>
                </c:pt>
                <c:pt idx="24">
                  <c:v>1116.0</c:v>
                </c:pt>
                <c:pt idx="25">
                  <c:v>483.0</c:v>
                </c:pt>
                <c:pt idx="26">
                  <c:v>409.0</c:v>
                </c:pt>
                <c:pt idx="27">
                  <c:v>337.0</c:v>
                </c:pt>
                <c:pt idx="28">
                  <c:v>302.0</c:v>
                </c:pt>
                <c:pt idx="29">
                  <c:v>409.0</c:v>
                </c:pt>
                <c:pt idx="30">
                  <c:v>407.0</c:v>
                </c:pt>
                <c:pt idx="31">
                  <c:v>185.0</c:v>
                </c:pt>
                <c:pt idx="32">
                  <c:v>258.0</c:v>
                </c:pt>
                <c:pt idx="33">
                  <c:v>185.0</c:v>
                </c:pt>
                <c:pt idx="34">
                  <c:v>407.0</c:v>
                </c:pt>
                <c:pt idx="35">
                  <c:v>374.0</c:v>
                </c:pt>
                <c:pt idx="36">
                  <c:v>888.0</c:v>
                </c:pt>
                <c:pt idx="37">
                  <c:v>543.0</c:v>
                </c:pt>
                <c:pt idx="38">
                  <c:v>406.0</c:v>
                </c:pt>
                <c:pt idx="39">
                  <c:v>2811.0</c:v>
                </c:pt>
                <c:pt idx="40">
                  <c:v>2971.0</c:v>
                </c:pt>
                <c:pt idx="41">
                  <c:v>3084.0</c:v>
                </c:pt>
                <c:pt idx="42">
                  <c:v>2432.0</c:v>
                </c:pt>
                <c:pt idx="43">
                  <c:v>1207.0</c:v>
                </c:pt>
                <c:pt idx="44">
                  <c:v>150.0</c:v>
                </c:pt>
                <c:pt idx="45">
                  <c:v>74.0</c:v>
                </c:pt>
                <c:pt idx="46">
                  <c:v>406.0</c:v>
                </c:pt>
                <c:pt idx="47">
                  <c:v>620.0</c:v>
                </c:pt>
                <c:pt idx="48">
                  <c:v>591.0</c:v>
                </c:pt>
                <c:pt idx="49">
                  <c:v>668.0</c:v>
                </c:pt>
                <c:pt idx="50">
                  <c:v>295.0</c:v>
                </c:pt>
                <c:pt idx="51">
                  <c:v>261.0</c:v>
                </c:pt>
                <c:pt idx="52">
                  <c:v>185.0</c:v>
                </c:pt>
                <c:pt idx="53">
                  <c:v>297.0</c:v>
                </c:pt>
                <c:pt idx="54">
                  <c:v>299.0</c:v>
                </c:pt>
                <c:pt idx="55">
                  <c:v>298.0</c:v>
                </c:pt>
                <c:pt idx="56">
                  <c:v>300.0</c:v>
                </c:pt>
                <c:pt idx="57">
                  <c:v>775.0</c:v>
                </c:pt>
                <c:pt idx="58">
                  <c:v>370.0</c:v>
                </c:pt>
                <c:pt idx="59">
                  <c:v>256.0</c:v>
                </c:pt>
                <c:pt idx="60">
                  <c:v>335.0</c:v>
                </c:pt>
                <c:pt idx="61">
                  <c:v>187.0</c:v>
                </c:pt>
                <c:pt idx="62">
                  <c:v>148.0</c:v>
                </c:pt>
                <c:pt idx="63">
                  <c:v>372.0</c:v>
                </c:pt>
                <c:pt idx="64">
                  <c:v>558.0</c:v>
                </c:pt>
                <c:pt idx="65">
                  <c:v>629.0</c:v>
                </c:pt>
                <c:pt idx="66">
                  <c:v>259.0</c:v>
                </c:pt>
                <c:pt idx="67">
                  <c:v>335.0</c:v>
                </c:pt>
                <c:pt idx="68">
                  <c:v>259.0</c:v>
                </c:pt>
                <c:pt idx="69">
                  <c:v>629.0</c:v>
                </c:pt>
                <c:pt idx="70">
                  <c:v>258.0</c:v>
                </c:pt>
                <c:pt idx="71">
                  <c:v>6116.0</c:v>
                </c:pt>
                <c:pt idx="72">
                  <c:v>335.0</c:v>
                </c:pt>
                <c:pt idx="73">
                  <c:v>113.0</c:v>
                </c:pt>
                <c:pt idx="74">
                  <c:v>518.0</c:v>
                </c:pt>
                <c:pt idx="75">
                  <c:v>296.0</c:v>
                </c:pt>
                <c:pt idx="76">
                  <c:v>114.0</c:v>
                </c:pt>
                <c:pt idx="77">
                  <c:v>148.0</c:v>
                </c:pt>
                <c:pt idx="78">
                  <c:v>37.0</c:v>
                </c:pt>
                <c:pt idx="79">
                  <c:v>18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116.0</c:v>
                </c:pt>
                <c:pt idx="1">
                  <c:v>1080.0</c:v>
                </c:pt>
                <c:pt idx="2">
                  <c:v>1042.0</c:v>
                </c:pt>
                <c:pt idx="3">
                  <c:v>1006.0</c:v>
                </c:pt>
                <c:pt idx="4">
                  <c:v>818.0</c:v>
                </c:pt>
                <c:pt idx="5">
                  <c:v>630.0</c:v>
                </c:pt>
                <c:pt idx="6">
                  <c:v>782.0</c:v>
                </c:pt>
                <c:pt idx="7">
                  <c:v>744.0</c:v>
                </c:pt>
                <c:pt idx="8">
                  <c:v>592.0</c:v>
                </c:pt>
                <c:pt idx="9">
                  <c:v>482.0</c:v>
                </c:pt>
                <c:pt idx="10">
                  <c:v>482.0</c:v>
                </c:pt>
                <c:pt idx="11">
                  <c:v>634.0</c:v>
                </c:pt>
                <c:pt idx="12">
                  <c:v>518.0</c:v>
                </c:pt>
                <c:pt idx="13">
                  <c:v>482.0</c:v>
                </c:pt>
                <c:pt idx="14">
                  <c:v>482.0</c:v>
                </c:pt>
                <c:pt idx="15">
                  <c:v>482.0</c:v>
                </c:pt>
                <c:pt idx="16">
                  <c:v>634.0</c:v>
                </c:pt>
                <c:pt idx="17">
                  <c:v>482.0</c:v>
                </c:pt>
                <c:pt idx="18">
                  <c:v>482.0</c:v>
                </c:pt>
                <c:pt idx="19">
                  <c:v>634.0</c:v>
                </c:pt>
                <c:pt idx="20">
                  <c:v>634.0</c:v>
                </c:pt>
                <c:pt idx="21">
                  <c:v>670.0</c:v>
                </c:pt>
                <c:pt idx="22">
                  <c:v>930.0</c:v>
                </c:pt>
                <c:pt idx="23">
                  <c:v>892.0</c:v>
                </c:pt>
                <c:pt idx="24">
                  <c:v>1004.0</c:v>
                </c:pt>
                <c:pt idx="25">
                  <c:v>856.0</c:v>
                </c:pt>
                <c:pt idx="26">
                  <c:v>856.0</c:v>
                </c:pt>
                <c:pt idx="27">
                  <c:v>930.0</c:v>
                </c:pt>
                <c:pt idx="28">
                  <c:v>818.0</c:v>
                </c:pt>
                <c:pt idx="29">
                  <c:v>892.0</c:v>
                </c:pt>
                <c:pt idx="30">
                  <c:v>704.0</c:v>
                </c:pt>
                <c:pt idx="31">
                  <c:v>592.0</c:v>
                </c:pt>
                <c:pt idx="32">
                  <c:v>744.0</c:v>
                </c:pt>
                <c:pt idx="33">
                  <c:v>592.0</c:v>
                </c:pt>
                <c:pt idx="34">
                  <c:v>370.0</c:v>
                </c:pt>
                <c:pt idx="35">
                  <c:v>598.0</c:v>
                </c:pt>
                <c:pt idx="36">
                  <c:v>486.0</c:v>
                </c:pt>
                <c:pt idx="37">
                  <c:v>260.0</c:v>
                </c:pt>
                <c:pt idx="38">
                  <c:v>372.0</c:v>
                </c:pt>
                <c:pt idx="39">
                  <c:v>524.0</c:v>
                </c:pt>
                <c:pt idx="40">
                  <c:v>560.0</c:v>
                </c:pt>
                <c:pt idx="41">
                  <c:v>560.0</c:v>
                </c:pt>
                <c:pt idx="42">
                  <c:v>560.0</c:v>
                </c:pt>
                <c:pt idx="43">
                  <c:v>560.0</c:v>
                </c:pt>
                <c:pt idx="44">
                  <c:v>448.0</c:v>
                </c:pt>
                <c:pt idx="45">
                  <c:v>408.0</c:v>
                </c:pt>
                <c:pt idx="46">
                  <c:v>524.0</c:v>
                </c:pt>
                <c:pt idx="47">
                  <c:v>560.0</c:v>
                </c:pt>
                <c:pt idx="48">
                  <c:v>296.0</c:v>
                </c:pt>
                <c:pt idx="49">
                  <c:v>560.0</c:v>
                </c:pt>
                <c:pt idx="50">
                  <c:v>560.0</c:v>
                </c:pt>
                <c:pt idx="51">
                  <c:v>524.0</c:v>
                </c:pt>
                <c:pt idx="52">
                  <c:v>334.0</c:v>
                </c:pt>
                <c:pt idx="53">
                  <c:v>298.0</c:v>
                </c:pt>
                <c:pt idx="54">
                  <c:v>410.0</c:v>
                </c:pt>
                <c:pt idx="55">
                  <c:v>374.0</c:v>
                </c:pt>
                <c:pt idx="56">
                  <c:v>374.0</c:v>
                </c:pt>
                <c:pt idx="57">
                  <c:v>372.0</c:v>
                </c:pt>
                <c:pt idx="58">
                  <c:v>260.0</c:v>
                </c:pt>
                <c:pt idx="59">
                  <c:v>334.0</c:v>
                </c:pt>
                <c:pt idx="60">
                  <c:v>374.0</c:v>
                </c:pt>
                <c:pt idx="61">
                  <c:v>374.0</c:v>
                </c:pt>
                <c:pt idx="62">
                  <c:v>298.0</c:v>
                </c:pt>
                <c:pt idx="63">
                  <c:v>336.0</c:v>
                </c:pt>
                <c:pt idx="64">
                  <c:v>372.0</c:v>
                </c:pt>
                <c:pt idx="65">
                  <c:v>448.0</c:v>
                </c:pt>
                <c:pt idx="66">
                  <c:v>222.0</c:v>
                </c:pt>
                <c:pt idx="67">
                  <c:v>448.0</c:v>
                </c:pt>
                <c:pt idx="68">
                  <c:v>260.0</c:v>
                </c:pt>
                <c:pt idx="69">
                  <c:v>334.0</c:v>
                </c:pt>
                <c:pt idx="70">
                  <c:v>448.0</c:v>
                </c:pt>
                <c:pt idx="71">
                  <c:v>486.0</c:v>
                </c:pt>
                <c:pt idx="72">
                  <c:v>410.0</c:v>
                </c:pt>
                <c:pt idx="73">
                  <c:v>298.0</c:v>
                </c:pt>
                <c:pt idx="74">
                  <c:v>334.0</c:v>
                </c:pt>
                <c:pt idx="75">
                  <c:v>334.0</c:v>
                </c:pt>
                <c:pt idx="76">
                  <c:v>298.0</c:v>
                </c:pt>
                <c:pt idx="77">
                  <c:v>298.0</c:v>
                </c:pt>
                <c:pt idx="78">
                  <c:v>186.0</c:v>
                </c:pt>
                <c:pt idx="79">
                  <c:v>26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7</c:v>
                </c:pt>
                <c:pt idx="40">
                  <c:v>1.0</c:v>
                </c:pt>
                <c:pt idx="41">
                  <c:v>1.0</c:v>
                </c:pt>
                <c:pt idx="42">
                  <c:v>1.0</c:v>
                </c:pt>
                <c:pt idx="43">
                  <c:v>0.75</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98</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64</c:f>
              <c:numCache>
                <c:formatCode>yyyy\-mm\-dd</c:formatCode>
                <c:ptCount val="63"/>
                <c:pt idx="0">
                  <c:v>45130.0</c:v>
                </c:pt>
                <c:pt idx="1">
                  <c:v>45137.0</c:v>
                </c:pt>
                <c:pt idx="2">
                  <c:v>45144.0</c:v>
                </c:pt>
                <c:pt idx="3">
                  <c:v>45151.0</c:v>
                </c:pt>
                <c:pt idx="4">
                  <c:v>45158.0</c:v>
                </c:pt>
                <c:pt idx="5">
                  <c:v>45165.0</c:v>
                </c:pt>
                <c:pt idx="6">
                  <c:v>45172.0</c:v>
                </c:pt>
                <c:pt idx="7">
                  <c:v>45186.0</c:v>
                </c:pt>
                <c:pt idx="8">
                  <c:v>45193.0</c:v>
                </c:pt>
                <c:pt idx="9">
                  <c:v>45200.0</c:v>
                </c:pt>
                <c:pt idx="10">
                  <c:v>45207.0</c:v>
                </c:pt>
                <c:pt idx="11">
                  <c:v>45221.0</c:v>
                </c:pt>
                <c:pt idx="12">
                  <c:v>45228.0</c:v>
                </c:pt>
                <c:pt idx="13">
                  <c:v>45235.0</c:v>
                </c:pt>
                <c:pt idx="14">
                  <c:v>45242.0</c:v>
                </c:pt>
                <c:pt idx="15">
                  <c:v>45249.0</c:v>
                </c:pt>
                <c:pt idx="16">
                  <c:v>45256.0</c:v>
                </c:pt>
                <c:pt idx="17">
                  <c:v>45263.0</c:v>
                </c:pt>
                <c:pt idx="18">
                  <c:v>45270.0</c:v>
                </c:pt>
                <c:pt idx="19">
                  <c:v>45277.0</c:v>
                </c:pt>
                <c:pt idx="20">
                  <c:v>45284.0</c:v>
                </c:pt>
                <c:pt idx="21">
                  <c:v>45291.0</c:v>
                </c:pt>
                <c:pt idx="22">
                  <c:v>45298.0</c:v>
                </c:pt>
                <c:pt idx="23">
                  <c:v>45305.0</c:v>
                </c:pt>
                <c:pt idx="24">
                  <c:v>45312.0</c:v>
                </c:pt>
                <c:pt idx="25">
                  <c:v>45333.0</c:v>
                </c:pt>
                <c:pt idx="26">
                  <c:v>45340.0</c:v>
                </c:pt>
                <c:pt idx="27">
                  <c:v>45347.0</c:v>
                </c:pt>
                <c:pt idx="28">
                  <c:v>45354.0</c:v>
                </c:pt>
                <c:pt idx="29">
                  <c:v>45361.0</c:v>
                </c:pt>
                <c:pt idx="30">
                  <c:v>45368.0</c:v>
                </c:pt>
                <c:pt idx="31">
                  <c:v>45375.0</c:v>
                </c:pt>
                <c:pt idx="32">
                  <c:v>45382.0</c:v>
                </c:pt>
                <c:pt idx="33">
                  <c:v>45389.0</c:v>
                </c:pt>
                <c:pt idx="34">
                  <c:v>45396.0</c:v>
                </c:pt>
                <c:pt idx="35">
                  <c:v>45403.0</c:v>
                </c:pt>
                <c:pt idx="36">
                  <c:v>45410.0</c:v>
                </c:pt>
                <c:pt idx="37">
                  <c:v>45417.0</c:v>
                </c:pt>
                <c:pt idx="38">
                  <c:v>45424.0</c:v>
                </c:pt>
                <c:pt idx="39">
                  <c:v>45431.0</c:v>
                </c:pt>
                <c:pt idx="40">
                  <c:v>45438.0</c:v>
                </c:pt>
                <c:pt idx="41">
                  <c:v>45452.0</c:v>
                </c:pt>
                <c:pt idx="42">
                  <c:v>45459.0</c:v>
                </c:pt>
                <c:pt idx="43">
                  <c:v>45466.0</c:v>
                </c:pt>
                <c:pt idx="44">
                  <c:v>45473.0</c:v>
                </c:pt>
                <c:pt idx="45">
                  <c:v>45480.0</c:v>
                </c:pt>
                <c:pt idx="46">
                  <c:v>45487.0</c:v>
                </c:pt>
                <c:pt idx="47">
                  <c:v>45494.0</c:v>
                </c:pt>
                <c:pt idx="48">
                  <c:v>45515.0</c:v>
                </c:pt>
                <c:pt idx="49">
                  <c:v>45522.0</c:v>
                </c:pt>
                <c:pt idx="50">
                  <c:v>45529.0</c:v>
                </c:pt>
                <c:pt idx="51">
                  <c:v>45536.0</c:v>
                </c:pt>
                <c:pt idx="52">
                  <c:v>45543.0</c:v>
                </c:pt>
                <c:pt idx="53">
                  <c:v>45564.0</c:v>
                </c:pt>
                <c:pt idx="54">
                  <c:v>45578.0</c:v>
                </c:pt>
                <c:pt idx="55">
                  <c:v>45585.0</c:v>
                </c:pt>
                <c:pt idx="56">
                  <c:v>45606.0</c:v>
                </c:pt>
                <c:pt idx="57">
                  <c:v>45627.0</c:v>
                </c:pt>
                <c:pt idx="58">
                  <c:v>45648.0</c:v>
                </c:pt>
                <c:pt idx="59">
                  <c:v>45655.0</c:v>
                </c:pt>
                <c:pt idx="60">
                  <c:v>45662.0</c:v>
                </c:pt>
                <c:pt idx="61">
                  <c:v>45676.0</c:v>
                </c:pt>
                <c:pt idx="62">
                  <c:v>45683.0</c:v>
                </c:pt>
              </c:numCache>
            </c:numRef>
          </c:cat>
          <c:val>
            <c:numRef>
              <c:f>Sheet1!$B$2:$B$64</c:f>
              <c:numCache>
                <c:formatCode>General</c:formatCode>
                <c:ptCount val="6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450.0</c:v>
                </c:pt>
                <c:pt idx="36">
                  <c:v>630.0</c:v>
                </c:pt>
                <c:pt idx="37">
                  <c:v>630.0</c:v>
                </c:pt>
                <c:pt idx="38">
                  <c:v>540.0</c:v>
                </c:pt>
                <c:pt idx="39">
                  <c:v>24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465.0</c:v>
                </c:pt>
                <c:pt idx="58">
                  <c:v>0.0</c:v>
                </c:pt>
                <c:pt idx="59">
                  <c:v>0.0</c:v>
                </c:pt>
                <c:pt idx="60">
                  <c:v>0.0</c:v>
                </c:pt>
                <c:pt idx="61">
                  <c:v>0.0</c:v>
                </c:pt>
                <c:pt idx="62">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64</c:f>
              <c:numCache>
                <c:formatCode>yyyy\-mm\-dd</c:formatCode>
                <c:ptCount val="63"/>
                <c:pt idx="0">
                  <c:v>45130.0</c:v>
                </c:pt>
                <c:pt idx="1">
                  <c:v>45137.0</c:v>
                </c:pt>
                <c:pt idx="2">
                  <c:v>45144.0</c:v>
                </c:pt>
                <c:pt idx="3">
                  <c:v>45151.0</c:v>
                </c:pt>
                <c:pt idx="4">
                  <c:v>45158.0</c:v>
                </c:pt>
                <c:pt idx="5">
                  <c:v>45165.0</c:v>
                </c:pt>
                <c:pt idx="6">
                  <c:v>45172.0</c:v>
                </c:pt>
                <c:pt idx="7">
                  <c:v>45186.0</c:v>
                </c:pt>
                <c:pt idx="8">
                  <c:v>45193.0</c:v>
                </c:pt>
                <c:pt idx="9">
                  <c:v>45200.0</c:v>
                </c:pt>
                <c:pt idx="10">
                  <c:v>45207.0</c:v>
                </c:pt>
                <c:pt idx="11">
                  <c:v>45221.0</c:v>
                </c:pt>
                <c:pt idx="12">
                  <c:v>45228.0</c:v>
                </c:pt>
                <c:pt idx="13">
                  <c:v>45235.0</c:v>
                </c:pt>
                <c:pt idx="14">
                  <c:v>45242.0</c:v>
                </c:pt>
                <c:pt idx="15">
                  <c:v>45249.0</c:v>
                </c:pt>
                <c:pt idx="16">
                  <c:v>45256.0</c:v>
                </c:pt>
                <c:pt idx="17">
                  <c:v>45263.0</c:v>
                </c:pt>
                <c:pt idx="18">
                  <c:v>45270.0</c:v>
                </c:pt>
                <c:pt idx="19">
                  <c:v>45277.0</c:v>
                </c:pt>
                <c:pt idx="20">
                  <c:v>45284.0</c:v>
                </c:pt>
                <c:pt idx="21">
                  <c:v>45291.0</c:v>
                </c:pt>
                <c:pt idx="22">
                  <c:v>45298.0</c:v>
                </c:pt>
                <c:pt idx="23">
                  <c:v>45305.0</c:v>
                </c:pt>
                <c:pt idx="24">
                  <c:v>45312.0</c:v>
                </c:pt>
                <c:pt idx="25">
                  <c:v>45333.0</c:v>
                </c:pt>
                <c:pt idx="26">
                  <c:v>45340.0</c:v>
                </c:pt>
                <c:pt idx="27">
                  <c:v>45347.0</c:v>
                </c:pt>
                <c:pt idx="28">
                  <c:v>45354.0</c:v>
                </c:pt>
                <c:pt idx="29">
                  <c:v>45361.0</c:v>
                </c:pt>
                <c:pt idx="30">
                  <c:v>45368.0</c:v>
                </c:pt>
                <c:pt idx="31">
                  <c:v>45375.0</c:v>
                </c:pt>
                <c:pt idx="32">
                  <c:v>45382.0</c:v>
                </c:pt>
                <c:pt idx="33">
                  <c:v>45389.0</c:v>
                </c:pt>
                <c:pt idx="34">
                  <c:v>45396.0</c:v>
                </c:pt>
                <c:pt idx="35">
                  <c:v>45403.0</c:v>
                </c:pt>
                <c:pt idx="36">
                  <c:v>45410.0</c:v>
                </c:pt>
                <c:pt idx="37">
                  <c:v>45417.0</c:v>
                </c:pt>
                <c:pt idx="38">
                  <c:v>45424.0</c:v>
                </c:pt>
                <c:pt idx="39">
                  <c:v>45431.0</c:v>
                </c:pt>
                <c:pt idx="40">
                  <c:v>45438.0</c:v>
                </c:pt>
                <c:pt idx="41">
                  <c:v>45452.0</c:v>
                </c:pt>
                <c:pt idx="42">
                  <c:v>45459.0</c:v>
                </c:pt>
                <c:pt idx="43">
                  <c:v>45466.0</c:v>
                </c:pt>
                <c:pt idx="44">
                  <c:v>45473.0</c:v>
                </c:pt>
                <c:pt idx="45">
                  <c:v>45480.0</c:v>
                </c:pt>
                <c:pt idx="46">
                  <c:v>45487.0</c:v>
                </c:pt>
                <c:pt idx="47">
                  <c:v>45494.0</c:v>
                </c:pt>
                <c:pt idx="48">
                  <c:v>45515.0</c:v>
                </c:pt>
                <c:pt idx="49">
                  <c:v>45522.0</c:v>
                </c:pt>
                <c:pt idx="50">
                  <c:v>45529.0</c:v>
                </c:pt>
                <c:pt idx="51">
                  <c:v>45536.0</c:v>
                </c:pt>
                <c:pt idx="52">
                  <c:v>45543.0</c:v>
                </c:pt>
                <c:pt idx="53">
                  <c:v>45564.0</c:v>
                </c:pt>
                <c:pt idx="54">
                  <c:v>45578.0</c:v>
                </c:pt>
                <c:pt idx="55">
                  <c:v>45585.0</c:v>
                </c:pt>
                <c:pt idx="56">
                  <c:v>45606.0</c:v>
                </c:pt>
                <c:pt idx="57">
                  <c:v>45627.0</c:v>
                </c:pt>
                <c:pt idx="58">
                  <c:v>45648.0</c:v>
                </c:pt>
                <c:pt idx="59">
                  <c:v>45655.0</c:v>
                </c:pt>
                <c:pt idx="60">
                  <c:v>45662.0</c:v>
                </c:pt>
                <c:pt idx="61">
                  <c:v>45676.0</c:v>
                </c:pt>
                <c:pt idx="62">
                  <c:v>45683.0</c:v>
                </c:pt>
              </c:numCache>
            </c:numRef>
          </c:cat>
          <c:val>
            <c:numRef>
              <c:f>Sheet1!$C$2:$C$64</c:f>
              <c:numCache>
                <c:formatCode>General</c:formatCode>
                <c:ptCount val="63"/>
                <c:pt idx="0">
                  <c:v>295.0</c:v>
                </c:pt>
                <c:pt idx="1">
                  <c:v>374.0</c:v>
                </c:pt>
                <c:pt idx="2">
                  <c:v>37.0</c:v>
                </c:pt>
                <c:pt idx="3">
                  <c:v>74.0</c:v>
                </c:pt>
                <c:pt idx="4">
                  <c:v>185.0</c:v>
                </c:pt>
                <c:pt idx="5">
                  <c:v>189.0</c:v>
                </c:pt>
                <c:pt idx="6">
                  <c:v>74.0</c:v>
                </c:pt>
                <c:pt idx="7">
                  <c:v>148.0</c:v>
                </c:pt>
                <c:pt idx="8">
                  <c:v>111.0</c:v>
                </c:pt>
                <c:pt idx="9">
                  <c:v>263.0</c:v>
                </c:pt>
                <c:pt idx="10">
                  <c:v>113.0</c:v>
                </c:pt>
                <c:pt idx="11">
                  <c:v>111.0</c:v>
                </c:pt>
                <c:pt idx="12">
                  <c:v>74.0</c:v>
                </c:pt>
                <c:pt idx="13">
                  <c:v>74.0</c:v>
                </c:pt>
                <c:pt idx="14">
                  <c:v>37.0</c:v>
                </c:pt>
                <c:pt idx="15">
                  <c:v>111.0</c:v>
                </c:pt>
                <c:pt idx="16">
                  <c:v>111.0</c:v>
                </c:pt>
                <c:pt idx="17">
                  <c:v>188.0</c:v>
                </c:pt>
                <c:pt idx="18">
                  <c:v>37.0</c:v>
                </c:pt>
                <c:pt idx="19">
                  <c:v>150.0</c:v>
                </c:pt>
                <c:pt idx="20">
                  <c:v>333.0</c:v>
                </c:pt>
                <c:pt idx="21">
                  <c:v>74.0</c:v>
                </c:pt>
                <c:pt idx="22">
                  <c:v>148.0</c:v>
                </c:pt>
                <c:pt idx="23">
                  <c:v>74.0</c:v>
                </c:pt>
                <c:pt idx="24">
                  <c:v>37.0</c:v>
                </c:pt>
                <c:pt idx="25">
                  <c:v>111.0</c:v>
                </c:pt>
                <c:pt idx="26">
                  <c:v>150.0</c:v>
                </c:pt>
                <c:pt idx="27">
                  <c:v>225.0</c:v>
                </c:pt>
                <c:pt idx="28">
                  <c:v>148.0</c:v>
                </c:pt>
                <c:pt idx="29">
                  <c:v>222.0</c:v>
                </c:pt>
                <c:pt idx="30">
                  <c:v>150.0</c:v>
                </c:pt>
                <c:pt idx="31">
                  <c:v>74.0</c:v>
                </c:pt>
                <c:pt idx="32">
                  <c:v>74.0</c:v>
                </c:pt>
                <c:pt idx="33">
                  <c:v>148.0</c:v>
                </c:pt>
                <c:pt idx="34">
                  <c:v>150.0</c:v>
                </c:pt>
                <c:pt idx="35">
                  <c:v>0.0</c:v>
                </c:pt>
                <c:pt idx="36">
                  <c:v>0.0</c:v>
                </c:pt>
                <c:pt idx="37">
                  <c:v>0.0</c:v>
                </c:pt>
                <c:pt idx="38">
                  <c:v>0.0</c:v>
                </c:pt>
                <c:pt idx="39">
                  <c:v>187.0</c:v>
                </c:pt>
                <c:pt idx="40">
                  <c:v>111.0</c:v>
                </c:pt>
                <c:pt idx="41">
                  <c:v>185.0</c:v>
                </c:pt>
                <c:pt idx="42">
                  <c:v>37.0</c:v>
                </c:pt>
                <c:pt idx="43">
                  <c:v>74.0</c:v>
                </c:pt>
                <c:pt idx="44">
                  <c:v>37.0</c:v>
                </c:pt>
                <c:pt idx="45">
                  <c:v>74.0</c:v>
                </c:pt>
                <c:pt idx="46">
                  <c:v>111.0</c:v>
                </c:pt>
                <c:pt idx="47">
                  <c:v>37.0</c:v>
                </c:pt>
                <c:pt idx="48">
                  <c:v>111.0</c:v>
                </c:pt>
                <c:pt idx="49">
                  <c:v>37.0</c:v>
                </c:pt>
                <c:pt idx="50">
                  <c:v>37.0</c:v>
                </c:pt>
                <c:pt idx="51">
                  <c:v>37.0</c:v>
                </c:pt>
                <c:pt idx="52">
                  <c:v>148.0</c:v>
                </c:pt>
                <c:pt idx="53">
                  <c:v>74.0</c:v>
                </c:pt>
                <c:pt idx="54">
                  <c:v>37.0</c:v>
                </c:pt>
                <c:pt idx="55">
                  <c:v>111.0</c:v>
                </c:pt>
                <c:pt idx="56">
                  <c:v>74.0</c:v>
                </c:pt>
                <c:pt idx="57">
                  <c:v>37.0</c:v>
                </c:pt>
                <c:pt idx="58">
                  <c:v>369.0</c:v>
                </c:pt>
                <c:pt idx="59">
                  <c:v>74.0</c:v>
                </c:pt>
                <c:pt idx="60">
                  <c:v>37.0</c:v>
                </c:pt>
                <c:pt idx="61">
                  <c:v>74.0</c:v>
                </c:pt>
                <c:pt idx="62">
                  <c:v>74.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86.0</c:v>
                </c:pt>
                <c:pt idx="8">
                  <c:v>45193.0</c:v>
                </c:pt>
                <c:pt idx="9">
                  <c:v>45200.0</c:v>
                </c:pt>
                <c:pt idx="10">
                  <c:v>45207.0</c:v>
                </c:pt>
                <c:pt idx="11">
                  <c:v>45221.0</c:v>
                </c:pt>
                <c:pt idx="12">
                  <c:v>45228.0</c:v>
                </c:pt>
                <c:pt idx="13">
                  <c:v>45235.0</c:v>
                </c:pt>
                <c:pt idx="14">
                  <c:v>45242.0</c:v>
                </c:pt>
                <c:pt idx="15">
                  <c:v>45249.0</c:v>
                </c:pt>
                <c:pt idx="16">
                  <c:v>45256.0</c:v>
                </c:pt>
                <c:pt idx="17">
                  <c:v>45263.0</c:v>
                </c:pt>
                <c:pt idx="18">
                  <c:v>45270.0</c:v>
                </c:pt>
                <c:pt idx="19">
                  <c:v>45277.0</c:v>
                </c:pt>
                <c:pt idx="20">
                  <c:v>45284.0</c:v>
                </c:pt>
                <c:pt idx="21">
                  <c:v>45291.0</c:v>
                </c:pt>
                <c:pt idx="22">
                  <c:v>45298.0</c:v>
                </c:pt>
                <c:pt idx="23">
                  <c:v>45305.0</c:v>
                </c:pt>
                <c:pt idx="24">
                  <c:v>45312.0</c:v>
                </c:pt>
                <c:pt idx="25">
                  <c:v>45333.0</c:v>
                </c:pt>
                <c:pt idx="26">
                  <c:v>45340.0</c:v>
                </c:pt>
                <c:pt idx="27">
                  <c:v>45347.0</c:v>
                </c:pt>
                <c:pt idx="28">
                  <c:v>45354.0</c:v>
                </c:pt>
                <c:pt idx="29">
                  <c:v>45361.0</c:v>
                </c:pt>
                <c:pt idx="30">
                  <c:v>45368.0</c:v>
                </c:pt>
                <c:pt idx="31">
                  <c:v>45375.0</c:v>
                </c:pt>
                <c:pt idx="32">
                  <c:v>45382.0</c:v>
                </c:pt>
                <c:pt idx="33">
                  <c:v>45389.0</c:v>
                </c:pt>
                <c:pt idx="34">
                  <c:v>45396.0</c:v>
                </c:pt>
                <c:pt idx="35">
                  <c:v>45403.0</c:v>
                </c:pt>
                <c:pt idx="36">
                  <c:v>45410.0</c:v>
                </c:pt>
                <c:pt idx="37">
                  <c:v>45417.0</c:v>
                </c:pt>
                <c:pt idx="38">
                  <c:v>45424.0</c:v>
                </c:pt>
                <c:pt idx="39">
                  <c:v>45431.0</c:v>
                </c:pt>
                <c:pt idx="40">
                  <c:v>45438.0</c:v>
                </c:pt>
                <c:pt idx="41">
                  <c:v>45452.0</c:v>
                </c:pt>
                <c:pt idx="42">
                  <c:v>45459.0</c:v>
                </c:pt>
                <c:pt idx="43">
                  <c:v>45466.0</c:v>
                </c:pt>
                <c:pt idx="44">
                  <c:v>45473.0</c:v>
                </c:pt>
                <c:pt idx="45">
                  <c:v>45480.0</c:v>
                </c:pt>
                <c:pt idx="46">
                  <c:v>45487.0</c:v>
                </c:pt>
                <c:pt idx="47">
                  <c:v>45494.0</c:v>
                </c:pt>
                <c:pt idx="48">
                  <c:v>45515.0</c:v>
                </c:pt>
                <c:pt idx="49">
                  <c:v>45522.0</c:v>
                </c:pt>
                <c:pt idx="50">
                  <c:v>45529.0</c:v>
                </c:pt>
                <c:pt idx="51">
                  <c:v>45536.0</c:v>
                </c:pt>
                <c:pt idx="52">
                  <c:v>45543.0</c:v>
                </c:pt>
                <c:pt idx="53">
                  <c:v>45564.0</c:v>
                </c:pt>
                <c:pt idx="54">
                  <c:v>45578.0</c:v>
                </c:pt>
                <c:pt idx="55">
                  <c:v>45585.0</c:v>
                </c:pt>
                <c:pt idx="56">
                  <c:v>45606.0</c:v>
                </c:pt>
                <c:pt idx="57">
                  <c:v>45627.0</c:v>
                </c:pt>
                <c:pt idx="58">
                  <c:v>45648.0</c:v>
                </c:pt>
                <c:pt idx="59">
                  <c:v>45655.0</c:v>
                </c:pt>
                <c:pt idx="60">
                  <c:v>45662.0</c:v>
                </c:pt>
                <c:pt idx="61">
                  <c:v>45676.0</c:v>
                </c:pt>
                <c:pt idx="62">
                  <c:v>45683.0</c:v>
                </c:pt>
              </c:numCache>
            </c:numRef>
          </c:cat>
          <c:val>
            <c:numRef>
              <c:f>Sheet1!$D$2:$D$64</c:f>
              <c:numCache>
                <c:formatCode>General</c:formatCode>
                <c:ptCount val="63"/>
                <c:pt idx="0">
                  <c:v>295.0</c:v>
                </c:pt>
                <c:pt idx="1">
                  <c:v>374.0</c:v>
                </c:pt>
                <c:pt idx="2">
                  <c:v>37.0</c:v>
                </c:pt>
                <c:pt idx="3">
                  <c:v>74.0</c:v>
                </c:pt>
                <c:pt idx="4">
                  <c:v>185.0</c:v>
                </c:pt>
                <c:pt idx="5">
                  <c:v>189.0</c:v>
                </c:pt>
                <c:pt idx="6">
                  <c:v>74.0</c:v>
                </c:pt>
                <c:pt idx="7">
                  <c:v>148.0</c:v>
                </c:pt>
                <c:pt idx="8">
                  <c:v>111.0</c:v>
                </c:pt>
                <c:pt idx="9">
                  <c:v>263.0</c:v>
                </c:pt>
                <c:pt idx="10">
                  <c:v>113.0</c:v>
                </c:pt>
                <c:pt idx="11">
                  <c:v>111.0</c:v>
                </c:pt>
                <c:pt idx="12">
                  <c:v>74.0</c:v>
                </c:pt>
                <c:pt idx="13">
                  <c:v>74.0</c:v>
                </c:pt>
                <c:pt idx="14">
                  <c:v>37.0</c:v>
                </c:pt>
                <c:pt idx="15">
                  <c:v>111.0</c:v>
                </c:pt>
                <c:pt idx="16">
                  <c:v>111.0</c:v>
                </c:pt>
                <c:pt idx="17">
                  <c:v>188.0</c:v>
                </c:pt>
                <c:pt idx="18">
                  <c:v>37.0</c:v>
                </c:pt>
                <c:pt idx="19">
                  <c:v>150.0</c:v>
                </c:pt>
                <c:pt idx="20">
                  <c:v>333.0</c:v>
                </c:pt>
                <c:pt idx="21">
                  <c:v>74.0</c:v>
                </c:pt>
                <c:pt idx="22">
                  <c:v>148.0</c:v>
                </c:pt>
                <c:pt idx="23">
                  <c:v>74.0</c:v>
                </c:pt>
                <c:pt idx="24">
                  <c:v>37.0</c:v>
                </c:pt>
                <c:pt idx="25">
                  <c:v>111.0</c:v>
                </c:pt>
                <c:pt idx="26">
                  <c:v>150.0</c:v>
                </c:pt>
                <c:pt idx="27">
                  <c:v>225.0</c:v>
                </c:pt>
                <c:pt idx="28">
                  <c:v>148.0</c:v>
                </c:pt>
                <c:pt idx="29">
                  <c:v>222.0</c:v>
                </c:pt>
                <c:pt idx="30">
                  <c:v>150.0</c:v>
                </c:pt>
                <c:pt idx="31">
                  <c:v>74.0</c:v>
                </c:pt>
                <c:pt idx="32">
                  <c:v>74.0</c:v>
                </c:pt>
                <c:pt idx="33">
                  <c:v>148.0</c:v>
                </c:pt>
                <c:pt idx="34">
                  <c:v>150.0</c:v>
                </c:pt>
                <c:pt idx="35">
                  <c:v>450.0</c:v>
                </c:pt>
                <c:pt idx="36">
                  <c:v>630.0</c:v>
                </c:pt>
                <c:pt idx="37">
                  <c:v>630.0</c:v>
                </c:pt>
                <c:pt idx="38">
                  <c:v>540.0</c:v>
                </c:pt>
                <c:pt idx="39">
                  <c:v>427.0</c:v>
                </c:pt>
                <c:pt idx="40">
                  <c:v>111.0</c:v>
                </c:pt>
                <c:pt idx="41">
                  <c:v>185.0</c:v>
                </c:pt>
                <c:pt idx="42">
                  <c:v>37.0</c:v>
                </c:pt>
                <c:pt idx="43">
                  <c:v>74.0</c:v>
                </c:pt>
                <c:pt idx="44">
                  <c:v>37.0</c:v>
                </c:pt>
                <c:pt idx="45">
                  <c:v>74.0</c:v>
                </c:pt>
                <c:pt idx="46">
                  <c:v>111.0</c:v>
                </c:pt>
                <c:pt idx="47">
                  <c:v>37.0</c:v>
                </c:pt>
                <c:pt idx="48">
                  <c:v>111.0</c:v>
                </c:pt>
                <c:pt idx="49">
                  <c:v>37.0</c:v>
                </c:pt>
                <c:pt idx="50">
                  <c:v>37.0</c:v>
                </c:pt>
                <c:pt idx="51">
                  <c:v>37.0</c:v>
                </c:pt>
                <c:pt idx="52">
                  <c:v>148.0</c:v>
                </c:pt>
                <c:pt idx="53">
                  <c:v>74.0</c:v>
                </c:pt>
                <c:pt idx="54">
                  <c:v>37.0</c:v>
                </c:pt>
                <c:pt idx="55">
                  <c:v>111.0</c:v>
                </c:pt>
                <c:pt idx="56">
                  <c:v>74.0</c:v>
                </c:pt>
                <c:pt idx="57">
                  <c:v>502.0</c:v>
                </c:pt>
                <c:pt idx="58">
                  <c:v>369.0</c:v>
                </c:pt>
                <c:pt idx="59">
                  <c:v>74.0</c:v>
                </c:pt>
                <c:pt idx="60">
                  <c:v>37.0</c:v>
                </c:pt>
                <c:pt idx="61">
                  <c:v>74.0</c:v>
                </c:pt>
                <c:pt idx="62">
                  <c:v>7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86.0</c:v>
                </c:pt>
                <c:pt idx="8">
                  <c:v>45193.0</c:v>
                </c:pt>
                <c:pt idx="9">
                  <c:v>45200.0</c:v>
                </c:pt>
                <c:pt idx="10">
                  <c:v>45207.0</c:v>
                </c:pt>
                <c:pt idx="11">
                  <c:v>45221.0</c:v>
                </c:pt>
                <c:pt idx="12">
                  <c:v>45228.0</c:v>
                </c:pt>
                <c:pt idx="13">
                  <c:v>45235.0</c:v>
                </c:pt>
                <c:pt idx="14">
                  <c:v>45242.0</c:v>
                </c:pt>
                <c:pt idx="15">
                  <c:v>45249.0</c:v>
                </c:pt>
                <c:pt idx="16">
                  <c:v>45256.0</c:v>
                </c:pt>
                <c:pt idx="17">
                  <c:v>45263.0</c:v>
                </c:pt>
                <c:pt idx="18">
                  <c:v>45270.0</c:v>
                </c:pt>
                <c:pt idx="19">
                  <c:v>45277.0</c:v>
                </c:pt>
                <c:pt idx="20">
                  <c:v>45284.0</c:v>
                </c:pt>
                <c:pt idx="21">
                  <c:v>45291.0</c:v>
                </c:pt>
                <c:pt idx="22">
                  <c:v>45298.0</c:v>
                </c:pt>
                <c:pt idx="23">
                  <c:v>45305.0</c:v>
                </c:pt>
                <c:pt idx="24">
                  <c:v>45312.0</c:v>
                </c:pt>
                <c:pt idx="25">
                  <c:v>45333.0</c:v>
                </c:pt>
                <c:pt idx="26">
                  <c:v>45340.0</c:v>
                </c:pt>
                <c:pt idx="27">
                  <c:v>45347.0</c:v>
                </c:pt>
                <c:pt idx="28">
                  <c:v>45354.0</c:v>
                </c:pt>
                <c:pt idx="29">
                  <c:v>45361.0</c:v>
                </c:pt>
                <c:pt idx="30">
                  <c:v>45368.0</c:v>
                </c:pt>
                <c:pt idx="31">
                  <c:v>45375.0</c:v>
                </c:pt>
                <c:pt idx="32">
                  <c:v>45382.0</c:v>
                </c:pt>
                <c:pt idx="33">
                  <c:v>45389.0</c:v>
                </c:pt>
                <c:pt idx="34">
                  <c:v>45396.0</c:v>
                </c:pt>
                <c:pt idx="35">
                  <c:v>45403.0</c:v>
                </c:pt>
                <c:pt idx="36">
                  <c:v>45410.0</c:v>
                </c:pt>
                <c:pt idx="37">
                  <c:v>45417.0</c:v>
                </c:pt>
                <c:pt idx="38">
                  <c:v>45424.0</c:v>
                </c:pt>
                <c:pt idx="39">
                  <c:v>45431.0</c:v>
                </c:pt>
                <c:pt idx="40">
                  <c:v>45438.0</c:v>
                </c:pt>
                <c:pt idx="41">
                  <c:v>45452.0</c:v>
                </c:pt>
                <c:pt idx="42">
                  <c:v>45459.0</c:v>
                </c:pt>
                <c:pt idx="43">
                  <c:v>45466.0</c:v>
                </c:pt>
                <c:pt idx="44">
                  <c:v>45473.0</c:v>
                </c:pt>
                <c:pt idx="45">
                  <c:v>45480.0</c:v>
                </c:pt>
                <c:pt idx="46">
                  <c:v>45487.0</c:v>
                </c:pt>
                <c:pt idx="47">
                  <c:v>45494.0</c:v>
                </c:pt>
                <c:pt idx="48">
                  <c:v>45515.0</c:v>
                </c:pt>
                <c:pt idx="49">
                  <c:v>45522.0</c:v>
                </c:pt>
                <c:pt idx="50">
                  <c:v>45529.0</c:v>
                </c:pt>
                <c:pt idx="51">
                  <c:v>45536.0</c:v>
                </c:pt>
                <c:pt idx="52">
                  <c:v>45543.0</c:v>
                </c:pt>
                <c:pt idx="53">
                  <c:v>45564.0</c:v>
                </c:pt>
                <c:pt idx="54">
                  <c:v>45578.0</c:v>
                </c:pt>
                <c:pt idx="55">
                  <c:v>45585.0</c:v>
                </c:pt>
                <c:pt idx="56">
                  <c:v>45606.0</c:v>
                </c:pt>
                <c:pt idx="57">
                  <c:v>45627.0</c:v>
                </c:pt>
                <c:pt idx="58">
                  <c:v>45648.0</c:v>
                </c:pt>
                <c:pt idx="59">
                  <c:v>45655.0</c:v>
                </c:pt>
                <c:pt idx="60">
                  <c:v>45662.0</c:v>
                </c:pt>
                <c:pt idx="61">
                  <c:v>45676.0</c:v>
                </c:pt>
                <c:pt idx="62">
                  <c:v>45683.0</c:v>
                </c:pt>
              </c:numCache>
            </c:numRef>
          </c:cat>
          <c:val>
            <c:numRef>
              <c:f>Sheet1!$E$2:$E$64</c:f>
              <c:numCache>
                <c:formatCode>General</c:formatCode>
                <c:ptCount val="63"/>
                <c:pt idx="0">
                  <c:v>222.0</c:v>
                </c:pt>
                <c:pt idx="1">
                  <c:v>374.0</c:v>
                </c:pt>
                <c:pt idx="2">
                  <c:v>222.0</c:v>
                </c:pt>
                <c:pt idx="3">
                  <c:v>222.0</c:v>
                </c:pt>
                <c:pt idx="4">
                  <c:v>186.0</c:v>
                </c:pt>
                <c:pt idx="5">
                  <c:v>338.0</c:v>
                </c:pt>
                <c:pt idx="6">
                  <c:v>148.0</c:v>
                </c:pt>
                <c:pt idx="7">
                  <c:v>148.0</c:v>
                </c:pt>
                <c:pt idx="8">
                  <c:v>148.0</c:v>
                </c:pt>
                <c:pt idx="9">
                  <c:v>300.0</c:v>
                </c:pt>
                <c:pt idx="10">
                  <c:v>264.0</c:v>
                </c:pt>
                <c:pt idx="11">
                  <c:v>112.0</c:v>
                </c:pt>
                <c:pt idx="12">
                  <c:v>112.0</c:v>
                </c:pt>
                <c:pt idx="13">
                  <c:v>74.0</c:v>
                </c:pt>
                <c:pt idx="14">
                  <c:v>74.0</c:v>
                </c:pt>
                <c:pt idx="15">
                  <c:v>74.0</c:v>
                </c:pt>
                <c:pt idx="16">
                  <c:v>74.0</c:v>
                </c:pt>
                <c:pt idx="17">
                  <c:v>226.0</c:v>
                </c:pt>
                <c:pt idx="18">
                  <c:v>74.0</c:v>
                </c:pt>
                <c:pt idx="19">
                  <c:v>226.0</c:v>
                </c:pt>
                <c:pt idx="20">
                  <c:v>112.0</c:v>
                </c:pt>
                <c:pt idx="21">
                  <c:v>74.0</c:v>
                </c:pt>
                <c:pt idx="22">
                  <c:v>112.0</c:v>
                </c:pt>
                <c:pt idx="23">
                  <c:v>112.0</c:v>
                </c:pt>
                <c:pt idx="24">
                  <c:v>112.0</c:v>
                </c:pt>
                <c:pt idx="25">
                  <c:v>150.0</c:v>
                </c:pt>
                <c:pt idx="26">
                  <c:v>264.0</c:v>
                </c:pt>
                <c:pt idx="27">
                  <c:v>226.0</c:v>
                </c:pt>
                <c:pt idx="28">
                  <c:v>112.0</c:v>
                </c:pt>
                <c:pt idx="29">
                  <c:v>112.0</c:v>
                </c:pt>
                <c:pt idx="30">
                  <c:v>302.0</c:v>
                </c:pt>
                <c:pt idx="31">
                  <c:v>112.0</c:v>
                </c:pt>
                <c:pt idx="32">
                  <c:v>150.0</c:v>
                </c:pt>
                <c:pt idx="33">
                  <c:v>74.0</c:v>
                </c:pt>
                <c:pt idx="34">
                  <c:v>300.0</c:v>
                </c:pt>
                <c:pt idx="35">
                  <c:v>148.0</c:v>
                </c:pt>
                <c:pt idx="36">
                  <c:v>148.0</c:v>
                </c:pt>
                <c:pt idx="37">
                  <c:v>148.0</c:v>
                </c:pt>
                <c:pt idx="38">
                  <c:v>148.0</c:v>
                </c:pt>
                <c:pt idx="39">
                  <c:v>224.0</c:v>
                </c:pt>
                <c:pt idx="40">
                  <c:v>148.0</c:v>
                </c:pt>
                <c:pt idx="41">
                  <c:v>148.0</c:v>
                </c:pt>
                <c:pt idx="42">
                  <c:v>74.0</c:v>
                </c:pt>
                <c:pt idx="43">
                  <c:v>74.0</c:v>
                </c:pt>
                <c:pt idx="44">
                  <c:v>74.0</c:v>
                </c:pt>
                <c:pt idx="45">
                  <c:v>148.0</c:v>
                </c:pt>
                <c:pt idx="46">
                  <c:v>148.0</c:v>
                </c:pt>
                <c:pt idx="47">
                  <c:v>74.0</c:v>
                </c:pt>
                <c:pt idx="48">
                  <c:v>148.0</c:v>
                </c:pt>
                <c:pt idx="49">
                  <c:v>74.0</c:v>
                </c:pt>
                <c:pt idx="50">
                  <c:v>74.0</c:v>
                </c:pt>
                <c:pt idx="51">
                  <c:v>74.0</c:v>
                </c:pt>
                <c:pt idx="52">
                  <c:v>112.0</c:v>
                </c:pt>
                <c:pt idx="53">
                  <c:v>74.0</c:v>
                </c:pt>
                <c:pt idx="54">
                  <c:v>74.0</c:v>
                </c:pt>
                <c:pt idx="55">
                  <c:v>148.0</c:v>
                </c:pt>
                <c:pt idx="56">
                  <c:v>74.0</c:v>
                </c:pt>
                <c:pt idx="57">
                  <c:v>112.0</c:v>
                </c:pt>
                <c:pt idx="58">
                  <c:v>148.0</c:v>
                </c:pt>
                <c:pt idx="59">
                  <c:v>74.0</c:v>
                </c:pt>
                <c:pt idx="60">
                  <c:v>74.0</c:v>
                </c:pt>
                <c:pt idx="61">
                  <c:v>112.0</c:v>
                </c:pt>
                <c:pt idx="62">
                  <c:v>7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86.0</c:v>
                </c:pt>
                <c:pt idx="8">
                  <c:v>45193.0</c:v>
                </c:pt>
                <c:pt idx="9">
                  <c:v>45200.0</c:v>
                </c:pt>
                <c:pt idx="10">
                  <c:v>45207.0</c:v>
                </c:pt>
                <c:pt idx="11">
                  <c:v>45221.0</c:v>
                </c:pt>
                <c:pt idx="12">
                  <c:v>45228.0</c:v>
                </c:pt>
                <c:pt idx="13">
                  <c:v>45235.0</c:v>
                </c:pt>
                <c:pt idx="14">
                  <c:v>45242.0</c:v>
                </c:pt>
                <c:pt idx="15">
                  <c:v>45249.0</c:v>
                </c:pt>
                <c:pt idx="16">
                  <c:v>45256.0</c:v>
                </c:pt>
                <c:pt idx="17">
                  <c:v>45263.0</c:v>
                </c:pt>
                <c:pt idx="18">
                  <c:v>45270.0</c:v>
                </c:pt>
                <c:pt idx="19">
                  <c:v>45277.0</c:v>
                </c:pt>
                <c:pt idx="20">
                  <c:v>45284.0</c:v>
                </c:pt>
                <c:pt idx="21">
                  <c:v>45291.0</c:v>
                </c:pt>
                <c:pt idx="22">
                  <c:v>45298.0</c:v>
                </c:pt>
                <c:pt idx="23">
                  <c:v>45305.0</c:v>
                </c:pt>
                <c:pt idx="24">
                  <c:v>45312.0</c:v>
                </c:pt>
                <c:pt idx="25">
                  <c:v>45333.0</c:v>
                </c:pt>
                <c:pt idx="26">
                  <c:v>45340.0</c:v>
                </c:pt>
                <c:pt idx="27">
                  <c:v>45347.0</c:v>
                </c:pt>
                <c:pt idx="28">
                  <c:v>45354.0</c:v>
                </c:pt>
                <c:pt idx="29">
                  <c:v>45361.0</c:v>
                </c:pt>
                <c:pt idx="30">
                  <c:v>45368.0</c:v>
                </c:pt>
                <c:pt idx="31">
                  <c:v>45375.0</c:v>
                </c:pt>
                <c:pt idx="32">
                  <c:v>45382.0</c:v>
                </c:pt>
                <c:pt idx="33">
                  <c:v>45389.0</c:v>
                </c:pt>
                <c:pt idx="34">
                  <c:v>45396.0</c:v>
                </c:pt>
                <c:pt idx="35">
                  <c:v>45403.0</c:v>
                </c:pt>
                <c:pt idx="36">
                  <c:v>45410.0</c:v>
                </c:pt>
                <c:pt idx="37">
                  <c:v>45417.0</c:v>
                </c:pt>
                <c:pt idx="38">
                  <c:v>45424.0</c:v>
                </c:pt>
                <c:pt idx="39">
                  <c:v>45431.0</c:v>
                </c:pt>
                <c:pt idx="40">
                  <c:v>45438.0</c:v>
                </c:pt>
                <c:pt idx="41">
                  <c:v>45452.0</c:v>
                </c:pt>
                <c:pt idx="42">
                  <c:v>45459.0</c:v>
                </c:pt>
                <c:pt idx="43">
                  <c:v>45466.0</c:v>
                </c:pt>
                <c:pt idx="44">
                  <c:v>45473.0</c:v>
                </c:pt>
                <c:pt idx="45">
                  <c:v>45480.0</c:v>
                </c:pt>
                <c:pt idx="46">
                  <c:v>45487.0</c:v>
                </c:pt>
                <c:pt idx="47">
                  <c:v>45494.0</c:v>
                </c:pt>
                <c:pt idx="48">
                  <c:v>45515.0</c:v>
                </c:pt>
                <c:pt idx="49">
                  <c:v>45522.0</c:v>
                </c:pt>
                <c:pt idx="50">
                  <c:v>45529.0</c:v>
                </c:pt>
                <c:pt idx="51">
                  <c:v>45536.0</c:v>
                </c:pt>
                <c:pt idx="52">
                  <c:v>45543.0</c:v>
                </c:pt>
                <c:pt idx="53">
                  <c:v>45564.0</c:v>
                </c:pt>
                <c:pt idx="54">
                  <c:v>45578.0</c:v>
                </c:pt>
                <c:pt idx="55">
                  <c:v>45585.0</c:v>
                </c:pt>
                <c:pt idx="56">
                  <c:v>45606.0</c:v>
                </c:pt>
                <c:pt idx="57">
                  <c:v>45627.0</c:v>
                </c:pt>
                <c:pt idx="58">
                  <c:v>45648.0</c:v>
                </c:pt>
                <c:pt idx="59">
                  <c:v>45655.0</c:v>
                </c:pt>
                <c:pt idx="60">
                  <c:v>45662.0</c:v>
                </c:pt>
                <c:pt idx="61">
                  <c:v>45676.0</c:v>
                </c:pt>
                <c:pt idx="62">
                  <c:v>45683.0</c:v>
                </c:pt>
              </c:numCache>
            </c:numRef>
          </c:cat>
          <c:val>
            <c:numRef>
              <c:f>Sheet1!$F$2:$F$64</c:f>
              <c:numCache>
                <c:formatCode>General</c:formatCode>
                <c:ptCount val="6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1.0</c:v>
                </c:pt>
                <c:pt idx="36">
                  <c:v>1.0</c:v>
                </c:pt>
                <c:pt idx="37">
                  <c:v>1.0</c:v>
                </c:pt>
                <c:pt idx="38">
                  <c:v>1.0</c:v>
                </c:pt>
                <c:pt idx="39">
                  <c:v>0.6</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93</c:v>
                </c:pt>
                <c:pt idx="58">
                  <c:v>0.0</c:v>
                </c:pt>
                <c:pt idx="59">
                  <c:v>0.0</c:v>
                </c:pt>
                <c:pt idx="60">
                  <c:v>0.0</c:v>
                </c:pt>
                <c:pt idx="61">
                  <c:v>0.0</c:v>
                </c:pt>
                <c:pt idx="62">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69</c:f>
              <c:numCache>
                <c:formatCode>yyyy\-mm\-dd</c:formatCode>
                <c:ptCount val="6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33.0</c:v>
                </c:pt>
                <c:pt idx="29">
                  <c:v>45340.0</c:v>
                </c:pt>
                <c:pt idx="30">
                  <c:v>45347.0</c:v>
                </c:pt>
                <c:pt idx="31">
                  <c:v>45354.0</c:v>
                </c:pt>
                <c:pt idx="32">
                  <c:v>45361.0</c:v>
                </c:pt>
                <c:pt idx="33">
                  <c:v>45368.0</c:v>
                </c:pt>
                <c:pt idx="34">
                  <c:v>45375.0</c:v>
                </c:pt>
                <c:pt idx="35">
                  <c:v>45382.0</c:v>
                </c:pt>
                <c:pt idx="36">
                  <c:v>45389.0</c:v>
                </c:pt>
                <c:pt idx="37">
                  <c:v>45396.0</c:v>
                </c:pt>
                <c:pt idx="38">
                  <c:v>45403.0</c:v>
                </c:pt>
                <c:pt idx="39">
                  <c:v>45410.0</c:v>
                </c:pt>
                <c:pt idx="40">
                  <c:v>45417.0</c:v>
                </c:pt>
                <c:pt idx="41">
                  <c:v>45424.0</c:v>
                </c:pt>
                <c:pt idx="42">
                  <c:v>45431.0</c:v>
                </c:pt>
                <c:pt idx="43">
                  <c:v>45445.0</c:v>
                </c:pt>
                <c:pt idx="44">
                  <c:v>45452.0</c:v>
                </c:pt>
                <c:pt idx="45">
                  <c:v>45459.0</c:v>
                </c:pt>
                <c:pt idx="46">
                  <c:v>45466.0</c:v>
                </c:pt>
                <c:pt idx="47">
                  <c:v>45480.0</c:v>
                </c:pt>
                <c:pt idx="48">
                  <c:v>45487.0</c:v>
                </c:pt>
                <c:pt idx="49">
                  <c:v>45494.0</c:v>
                </c:pt>
                <c:pt idx="50">
                  <c:v>45501.0</c:v>
                </c:pt>
                <c:pt idx="51">
                  <c:v>45508.0</c:v>
                </c:pt>
                <c:pt idx="52">
                  <c:v>45515.0</c:v>
                </c:pt>
                <c:pt idx="53">
                  <c:v>45522.0</c:v>
                </c:pt>
                <c:pt idx="54">
                  <c:v>45529.0</c:v>
                </c:pt>
                <c:pt idx="55">
                  <c:v>45564.0</c:v>
                </c:pt>
                <c:pt idx="56">
                  <c:v>45571.0</c:v>
                </c:pt>
                <c:pt idx="57">
                  <c:v>45578.0</c:v>
                </c:pt>
                <c:pt idx="58">
                  <c:v>45585.0</c:v>
                </c:pt>
                <c:pt idx="59">
                  <c:v>45592.0</c:v>
                </c:pt>
                <c:pt idx="60">
                  <c:v>45606.0</c:v>
                </c:pt>
                <c:pt idx="61">
                  <c:v>45613.0</c:v>
                </c:pt>
                <c:pt idx="62">
                  <c:v>45627.0</c:v>
                </c:pt>
                <c:pt idx="63">
                  <c:v>45648.0</c:v>
                </c:pt>
                <c:pt idx="64">
                  <c:v>45655.0</c:v>
                </c:pt>
                <c:pt idx="65">
                  <c:v>45662.0</c:v>
                </c:pt>
                <c:pt idx="66">
                  <c:v>45669.0</c:v>
                </c:pt>
                <c:pt idx="67">
                  <c:v>45676.0</c:v>
                </c:pt>
              </c:numCache>
            </c:numRef>
          </c:cat>
          <c:val>
            <c:numRef>
              <c:f>Sheet1!$B$2:$B$69</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720.0</c:v>
                </c:pt>
                <c:pt idx="39">
                  <c:v>1060.0</c:v>
                </c:pt>
                <c:pt idx="40">
                  <c:v>540.0</c:v>
                </c:pt>
                <c:pt idx="41">
                  <c:v>180.0</c:v>
                </c:pt>
                <c:pt idx="42">
                  <c:v>12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799.0</c:v>
                </c:pt>
                <c:pt idx="63">
                  <c:v>0.0</c:v>
                </c:pt>
                <c:pt idx="64">
                  <c:v>0.0</c:v>
                </c:pt>
                <c:pt idx="65">
                  <c:v>0.0</c:v>
                </c:pt>
                <c:pt idx="66">
                  <c:v>0.0</c:v>
                </c:pt>
                <c:pt idx="67">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69</c:f>
              <c:numCache>
                <c:formatCode>yyyy\-mm\-dd</c:formatCode>
                <c:ptCount val="6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33.0</c:v>
                </c:pt>
                <c:pt idx="29">
                  <c:v>45340.0</c:v>
                </c:pt>
                <c:pt idx="30">
                  <c:v>45347.0</c:v>
                </c:pt>
                <c:pt idx="31">
                  <c:v>45354.0</c:v>
                </c:pt>
                <c:pt idx="32">
                  <c:v>45361.0</c:v>
                </c:pt>
                <c:pt idx="33">
                  <c:v>45368.0</c:v>
                </c:pt>
                <c:pt idx="34">
                  <c:v>45375.0</c:v>
                </c:pt>
                <c:pt idx="35">
                  <c:v>45382.0</c:v>
                </c:pt>
                <c:pt idx="36">
                  <c:v>45389.0</c:v>
                </c:pt>
                <c:pt idx="37">
                  <c:v>45396.0</c:v>
                </c:pt>
                <c:pt idx="38">
                  <c:v>45403.0</c:v>
                </c:pt>
                <c:pt idx="39">
                  <c:v>45410.0</c:v>
                </c:pt>
                <c:pt idx="40">
                  <c:v>45417.0</c:v>
                </c:pt>
                <c:pt idx="41">
                  <c:v>45424.0</c:v>
                </c:pt>
                <c:pt idx="42">
                  <c:v>45431.0</c:v>
                </c:pt>
                <c:pt idx="43">
                  <c:v>45445.0</c:v>
                </c:pt>
                <c:pt idx="44">
                  <c:v>45452.0</c:v>
                </c:pt>
                <c:pt idx="45">
                  <c:v>45459.0</c:v>
                </c:pt>
                <c:pt idx="46">
                  <c:v>45466.0</c:v>
                </c:pt>
                <c:pt idx="47">
                  <c:v>45480.0</c:v>
                </c:pt>
                <c:pt idx="48">
                  <c:v>45487.0</c:v>
                </c:pt>
                <c:pt idx="49">
                  <c:v>45494.0</c:v>
                </c:pt>
                <c:pt idx="50">
                  <c:v>45501.0</c:v>
                </c:pt>
                <c:pt idx="51">
                  <c:v>45508.0</c:v>
                </c:pt>
                <c:pt idx="52">
                  <c:v>45515.0</c:v>
                </c:pt>
                <c:pt idx="53">
                  <c:v>45522.0</c:v>
                </c:pt>
                <c:pt idx="54">
                  <c:v>45529.0</c:v>
                </c:pt>
                <c:pt idx="55">
                  <c:v>45564.0</c:v>
                </c:pt>
                <c:pt idx="56">
                  <c:v>45571.0</c:v>
                </c:pt>
                <c:pt idx="57">
                  <c:v>45578.0</c:v>
                </c:pt>
                <c:pt idx="58">
                  <c:v>45585.0</c:v>
                </c:pt>
                <c:pt idx="59">
                  <c:v>45592.0</c:v>
                </c:pt>
                <c:pt idx="60">
                  <c:v>45606.0</c:v>
                </c:pt>
                <c:pt idx="61">
                  <c:v>45613.0</c:v>
                </c:pt>
                <c:pt idx="62">
                  <c:v>45627.0</c:v>
                </c:pt>
                <c:pt idx="63">
                  <c:v>45648.0</c:v>
                </c:pt>
                <c:pt idx="64">
                  <c:v>45655.0</c:v>
                </c:pt>
                <c:pt idx="65">
                  <c:v>45662.0</c:v>
                </c:pt>
                <c:pt idx="66">
                  <c:v>45669.0</c:v>
                </c:pt>
                <c:pt idx="67">
                  <c:v>45676.0</c:v>
                </c:pt>
              </c:numCache>
            </c:numRef>
          </c:cat>
          <c:val>
            <c:numRef>
              <c:f>Sheet1!$C$2:$C$69</c:f>
              <c:numCache>
                <c:formatCode>General</c:formatCode>
                <c:ptCount val="68"/>
                <c:pt idx="0">
                  <c:v>148.0</c:v>
                </c:pt>
                <c:pt idx="1">
                  <c:v>224.0</c:v>
                </c:pt>
                <c:pt idx="2">
                  <c:v>325.0</c:v>
                </c:pt>
                <c:pt idx="3">
                  <c:v>409.0</c:v>
                </c:pt>
                <c:pt idx="4">
                  <c:v>261.0</c:v>
                </c:pt>
                <c:pt idx="5">
                  <c:v>485.0</c:v>
                </c:pt>
                <c:pt idx="6">
                  <c:v>74.0</c:v>
                </c:pt>
                <c:pt idx="7">
                  <c:v>335.0</c:v>
                </c:pt>
                <c:pt idx="8">
                  <c:v>224.0</c:v>
                </c:pt>
                <c:pt idx="9">
                  <c:v>222.0</c:v>
                </c:pt>
                <c:pt idx="10">
                  <c:v>333.0</c:v>
                </c:pt>
                <c:pt idx="11">
                  <c:v>298.0</c:v>
                </c:pt>
                <c:pt idx="12">
                  <c:v>111.0</c:v>
                </c:pt>
                <c:pt idx="13">
                  <c:v>187.0</c:v>
                </c:pt>
                <c:pt idx="14">
                  <c:v>113.0</c:v>
                </c:pt>
                <c:pt idx="15">
                  <c:v>187.0</c:v>
                </c:pt>
                <c:pt idx="16">
                  <c:v>335.0</c:v>
                </c:pt>
                <c:pt idx="17">
                  <c:v>185.0</c:v>
                </c:pt>
                <c:pt idx="18">
                  <c:v>185.0</c:v>
                </c:pt>
                <c:pt idx="19">
                  <c:v>111.0</c:v>
                </c:pt>
                <c:pt idx="20">
                  <c:v>113.0</c:v>
                </c:pt>
                <c:pt idx="21">
                  <c:v>259.0</c:v>
                </c:pt>
                <c:pt idx="22">
                  <c:v>592.0</c:v>
                </c:pt>
                <c:pt idx="23">
                  <c:v>259.0</c:v>
                </c:pt>
                <c:pt idx="24">
                  <c:v>333.0</c:v>
                </c:pt>
                <c:pt idx="25">
                  <c:v>226.0</c:v>
                </c:pt>
                <c:pt idx="26">
                  <c:v>261.0</c:v>
                </c:pt>
                <c:pt idx="27">
                  <c:v>37.0</c:v>
                </c:pt>
                <c:pt idx="28">
                  <c:v>148.0</c:v>
                </c:pt>
                <c:pt idx="29">
                  <c:v>111.0</c:v>
                </c:pt>
                <c:pt idx="30">
                  <c:v>185.0</c:v>
                </c:pt>
                <c:pt idx="31">
                  <c:v>74.0</c:v>
                </c:pt>
                <c:pt idx="32">
                  <c:v>74.0</c:v>
                </c:pt>
                <c:pt idx="33">
                  <c:v>148.0</c:v>
                </c:pt>
                <c:pt idx="34">
                  <c:v>37.0</c:v>
                </c:pt>
                <c:pt idx="35">
                  <c:v>148.0</c:v>
                </c:pt>
                <c:pt idx="36">
                  <c:v>148.0</c:v>
                </c:pt>
                <c:pt idx="37">
                  <c:v>37.0</c:v>
                </c:pt>
                <c:pt idx="38">
                  <c:v>0.0</c:v>
                </c:pt>
                <c:pt idx="39">
                  <c:v>0.0</c:v>
                </c:pt>
                <c:pt idx="40">
                  <c:v>0.0</c:v>
                </c:pt>
                <c:pt idx="41">
                  <c:v>0.0</c:v>
                </c:pt>
                <c:pt idx="42">
                  <c:v>74.0</c:v>
                </c:pt>
                <c:pt idx="43">
                  <c:v>74.0</c:v>
                </c:pt>
                <c:pt idx="44">
                  <c:v>111.0</c:v>
                </c:pt>
                <c:pt idx="45">
                  <c:v>185.0</c:v>
                </c:pt>
                <c:pt idx="46">
                  <c:v>148.0</c:v>
                </c:pt>
                <c:pt idx="47">
                  <c:v>111.0</c:v>
                </c:pt>
                <c:pt idx="48">
                  <c:v>111.0</c:v>
                </c:pt>
                <c:pt idx="49">
                  <c:v>76.0</c:v>
                </c:pt>
                <c:pt idx="50">
                  <c:v>37.0</c:v>
                </c:pt>
                <c:pt idx="51">
                  <c:v>37.0</c:v>
                </c:pt>
                <c:pt idx="52">
                  <c:v>150.0</c:v>
                </c:pt>
                <c:pt idx="53">
                  <c:v>150.0</c:v>
                </c:pt>
                <c:pt idx="54">
                  <c:v>221.0</c:v>
                </c:pt>
                <c:pt idx="55">
                  <c:v>258.0</c:v>
                </c:pt>
                <c:pt idx="56">
                  <c:v>111.0</c:v>
                </c:pt>
                <c:pt idx="57">
                  <c:v>76.0</c:v>
                </c:pt>
                <c:pt idx="58">
                  <c:v>74.0</c:v>
                </c:pt>
                <c:pt idx="59">
                  <c:v>104.0</c:v>
                </c:pt>
                <c:pt idx="60">
                  <c:v>185.0</c:v>
                </c:pt>
                <c:pt idx="61">
                  <c:v>37.0</c:v>
                </c:pt>
                <c:pt idx="62">
                  <c:v>1.0</c:v>
                </c:pt>
                <c:pt idx="63">
                  <c:v>148.0</c:v>
                </c:pt>
                <c:pt idx="64">
                  <c:v>185.0</c:v>
                </c:pt>
                <c:pt idx="65">
                  <c:v>37.0</c:v>
                </c:pt>
                <c:pt idx="66">
                  <c:v>111.0</c:v>
                </c:pt>
                <c:pt idx="67">
                  <c:v>29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69</c:f>
              <c:numCache>
                <c:formatCode>yyyy\-mm\-dd</c:formatCode>
                <c:ptCount val="6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33.0</c:v>
                </c:pt>
                <c:pt idx="29">
                  <c:v>45340.0</c:v>
                </c:pt>
                <c:pt idx="30">
                  <c:v>45347.0</c:v>
                </c:pt>
                <c:pt idx="31">
                  <c:v>45354.0</c:v>
                </c:pt>
                <c:pt idx="32">
                  <c:v>45361.0</c:v>
                </c:pt>
                <c:pt idx="33">
                  <c:v>45368.0</c:v>
                </c:pt>
                <c:pt idx="34">
                  <c:v>45375.0</c:v>
                </c:pt>
                <c:pt idx="35">
                  <c:v>45382.0</c:v>
                </c:pt>
                <c:pt idx="36">
                  <c:v>45389.0</c:v>
                </c:pt>
                <c:pt idx="37">
                  <c:v>45396.0</c:v>
                </c:pt>
                <c:pt idx="38">
                  <c:v>45403.0</c:v>
                </c:pt>
                <c:pt idx="39">
                  <c:v>45410.0</c:v>
                </c:pt>
                <c:pt idx="40">
                  <c:v>45417.0</c:v>
                </c:pt>
                <c:pt idx="41">
                  <c:v>45424.0</c:v>
                </c:pt>
                <c:pt idx="42">
                  <c:v>45431.0</c:v>
                </c:pt>
                <c:pt idx="43">
                  <c:v>45445.0</c:v>
                </c:pt>
                <c:pt idx="44">
                  <c:v>45452.0</c:v>
                </c:pt>
                <c:pt idx="45">
                  <c:v>45459.0</c:v>
                </c:pt>
                <c:pt idx="46">
                  <c:v>45466.0</c:v>
                </c:pt>
                <c:pt idx="47">
                  <c:v>45480.0</c:v>
                </c:pt>
                <c:pt idx="48">
                  <c:v>45487.0</c:v>
                </c:pt>
                <c:pt idx="49">
                  <c:v>45494.0</c:v>
                </c:pt>
                <c:pt idx="50">
                  <c:v>45501.0</c:v>
                </c:pt>
                <c:pt idx="51">
                  <c:v>45508.0</c:v>
                </c:pt>
                <c:pt idx="52">
                  <c:v>45515.0</c:v>
                </c:pt>
                <c:pt idx="53">
                  <c:v>45522.0</c:v>
                </c:pt>
                <c:pt idx="54">
                  <c:v>45529.0</c:v>
                </c:pt>
                <c:pt idx="55">
                  <c:v>45564.0</c:v>
                </c:pt>
                <c:pt idx="56">
                  <c:v>45571.0</c:v>
                </c:pt>
                <c:pt idx="57">
                  <c:v>45578.0</c:v>
                </c:pt>
                <c:pt idx="58">
                  <c:v>45585.0</c:v>
                </c:pt>
                <c:pt idx="59">
                  <c:v>45592.0</c:v>
                </c:pt>
                <c:pt idx="60">
                  <c:v>45606.0</c:v>
                </c:pt>
                <c:pt idx="61">
                  <c:v>45613.0</c:v>
                </c:pt>
                <c:pt idx="62">
                  <c:v>45627.0</c:v>
                </c:pt>
                <c:pt idx="63">
                  <c:v>45648.0</c:v>
                </c:pt>
                <c:pt idx="64">
                  <c:v>45655.0</c:v>
                </c:pt>
                <c:pt idx="65">
                  <c:v>45662.0</c:v>
                </c:pt>
                <c:pt idx="66">
                  <c:v>45669.0</c:v>
                </c:pt>
                <c:pt idx="67">
                  <c:v>45676.0</c:v>
                </c:pt>
              </c:numCache>
            </c:numRef>
          </c:cat>
          <c:val>
            <c:numRef>
              <c:f>Sheet1!$D$2:$D$69</c:f>
              <c:numCache>
                <c:formatCode>General</c:formatCode>
                <c:ptCount val="68"/>
                <c:pt idx="0">
                  <c:v>148.0</c:v>
                </c:pt>
                <c:pt idx="1">
                  <c:v>224.0</c:v>
                </c:pt>
                <c:pt idx="2">
                  <c:v>325.0</c:v>
                </c:pt>
                <c:pt idx="3">
                  <c:v>409.0</c:v>
                </c:pt>
                <c:pt idx="4">
                  <c:v>261.0</c:v>
                </c:pt>
                <c:pt idx="5">
                  <c:v>485.0</c:v>
                </c:pt>
                <c:pt idx="6">
                  <c:v>74.0</c:v>
                </c:pt>
                <c:pt idx="7">
                  <c:v>335.0</c:v>
                </c:pt>
                <c:pt idx="8">
                  <c:v>224.0</c:v>
                </c:pt>
                <c:pt idx="9">
                  <c:v>222.0</c:v>
                </c:pt>
                <c:pt idx="10">
                  <c:v>333.0</c:v>
                </c:pt>
                <c:pt idx="11">
                  <c:v>298.0</c:v>
                </c:pt>
                <c:pt idx="12">
                  <c:v>111.0</c:v>
                </c:pt>
                <c:pt idx="13">
                  <c:v>187.0</c:v>
                </c:pt>
                <c:pt idx="14">
                  <c:v>113.0</c:v>
                </c:pt>
                <c:pt idx="15">
                  <c:v>187.0</c:v>
                </c:pt>
                <c:pt idx="16">
                  <c:v>335.0</c:v>
                </c:pt>
                <c:pt idx="17">
                  <c:v>185.0</c:v>
                </c:pt>
                <c:pt idx="18">
                  <c:v>185.0</c:v>
                </c:pt>
                <c:pt idx="19">
                  <c:v>111.0</c:v>
                </c:pt>
                <c:pt idx="20">
                  <c:v>113.0</c:v>
                </c:pt>
                <c:pt idx="21">
                  <c:v>259.0</c:v>
                </c:pt>
                <c:pt idx="22">
                  <c:v>592.0</c:v>
                </c:pt>
                <c:pt idx="23">
                  <c:v>259.0</c:v>
                </c:pt>
                <c:pt idx="24">
                  <c:v>333.0</c:v>
                </c:pt>
                <c:pt idx="25">
                  <c:v>226.0</c:v>
                </c:pt>
                <c:pt idx="26">
                  <c:v>261.0</c:v>
                </c:pt>
                <c:pt idx="27">
                  <c:v>37.0</c:v>
                </c:pt>
                <c:pt idx="28">
                  <c:v>148.0</c:v>
                </c:pt>
                <c:pt idx="29">
                  <c:v>111.0</c:v>
                </c:pt>
                <c:pt idx="30">
                  <c:v>185.0</c:v>
                </c:pt>
                <c:pt idx="31">
                  <c:v>74.0</c:v>
                </c:pt>
                <c:pt idx="32">
                  <c:v>74.0</c:v>
                </c:pt>
                <c:pt idx="33">
                  <c:v>148.0</c:v>
                </c:pt>
                <c:pt idx="34">
                  <c:v>37.0</c:v>
                </c:pt>
                <c:pt idx="35">
                  <c:v>148.0</c:v>
                </c:pt>
                <c:pt idx="36">
                  <c:v>148.0</c:v>
                </c:pt>
                <c:pt idx="37">
                  <c:v>37.0</c:v>
                </c:pt>
                <c:pt idx="38">
                  <c:v>720.0</c:v>
                </c:pt>
                <c:pt idx="39">
                  <c:v>1060.0</c:v>
                </c:pt>
                <c:pt idx="40">
                  <c:v>540.0</c:v>
                </c:pt>
                <c:pt idx="41">
                  <c:v>180.0</c:v>
                </c:pt>
                <c:pt idx="42">
                  <c:v>194.0</c:v>
                </c:pt>
                <c:pt idx="43">
                  <c:v>74.0</c:v>
                </c:pt>
                <c:pt idx="44">
                  <c:v>111.0</c:v>
                </c:pt>
                <c:pt idx="45">
                  <c:v>185.0</c:v>
                </c:pt>
                <c:pt idx="46">
                  <c:v>148.0</c:v>
                </c:pt>
                <c:pt idx="47">
                  <c:v>111.0</c:v>
                </c:pt>
                <c:pt idx="48">
                  <c:v>111.0</c:v>
                </c:pt>
                <c:pt idx="49">
                  <c:v>76.0</c:v>
                </c:pt>
                <c:pt idx="50">
                  <c:v>37.0</c:v>
                </c:pt>
                <c:pt idx="51">
                  <c:v>37.0</c:v>
                </c:pt>
                <c:pt idx="52">
                  <c:v>150.0</c:v>
                </c:pt>
                <c:pt idx="53">
                  <c:v>150.0</c:v>
                </c:pt>
                <c:pt idx="54">
                  <c:v>221.0</c:v>
                </c:pt>
                <c:pt idx="55">
                  <c:v>258.0</c:v>
                </c:pt>
                <c:pt idx="56">
                  <c:v>111.0</c:v>
                </c:pt>
                <c:pt idx="57">
                  <c:v>76.0</c:v>
                </c:pt>
                <c:pt idx="58">
                  <c:v>74.0</c:v>
                </c:pt>
                <c:pt idx="59">
                  <c:v>104.0</c:v>
                </c:pt>
                <c:pt idx="60">
                  <c:v>185.0</c:v>
                </c:pt>
                <c:pt idx="61">
                  <c:v>37.0</c:v>
                </c:pt>
                <c:pt idx="62">
                  <c:v>800.0</c:v>
                </c:pt>
                <c:pt idx="63">
                  <c:v>148.0</c:v>
                </c:pt>
                <c:pt idx="64">
                  <c:v>185.0</c:v>
                </c:pt>
                <c:pt idx="65">
                  <c:v>37.0</c:v>
                </c:pt>
                <c:pt idx="66">
                  <c:v>111.0</c:v>
                </c:pt>
                <c:pt idx="67">
                  <c:v>29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69</c:f>
              <c:numCache>
                <c:formatCode>yyyy\-mm\-dd</c:formatCode>
                <c:ptCount val="6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33.0</c:v>
                </c:pt>
                <c:pt idx="29">
                  <c:v>45340.0</c:v>
                </c:pt>
                <c:pt idx="30">
                  <c:v>45347.0</c:v>
                </c:pt>
                <c:pt idx="31">
                  <c:v>45354.0</c:v>
                </c:pt>
                <c:pt idx="32">
                  <c:v>45361.0</c:v>
                </c:pt>
                <c:pt idx="33">
                  <c:v>45368.0</c:v>
                </c:pt>
                <c:pt idx="34">
                  <c:v>45375.0</c:v>
                </c:pt>
                <c:pt idx="35">
                  <c:v>45382.0</c:v>
                </c:pt>
                <c:pt idx="36">
                  <c:v>45389.0</c:v>
                </c:pt>
                <c:pt idx="37">
                  <c:v>45396.0</c:v>
                </c:pt>
                <c:pt idx="38">
                  <c:v>45403.0</c:v>
                </c:pt>
                <c:pt idx="39">
                  <c:v>45410.0</c:v>
                </c:pt>
                <c:pt idx="40">
                  <c:v>45417.0</c:v>
                </c:pt>
                <c:pt idx="41">
                  <c:v>45424.0</c:v>
                </c:pt>
                <c:pt idx="42">
                  <c:v>45431.0</c:v>
                </c:pt>
                <c:pt idx="43">
                  <c:v>45445.0</c:v>
                </c:pt>
                <c:pt idx="44">
                  <c:v>45452.0</c:v>
                </c:pt>
                <c:pt idx="45">
                  <c:v>45459.0</c:v>
                </c:pt>
                <c:pt idx="46">
                  <c:v>45466.0</c:v>
                </c:pt>
                <c:pt idx="47">
                  <c:v>45480.0</c:v>
                </c:pt>
                <c:pt idx="48">
                  <c:v>45487.0</c:v>
                </c:pt>
                <c:pt idx="49">
                  <c:v>45494.0</c:v>
                </c:pt>
                <c:pt idx="50">
                  <c:v>45501.0</c:v>
                </c:pt>
                <c:pt idx="51">
                  <c:v>45508.0</c:v>
                </c:pt>
                <c:pt idx="52">
                  <c:v>45515.0</c:v>
                </c:pt>
                <c:pt idx="53">
                  <c:v>45522.0</c:v>
                </c:pt>
                <c:pt idx="54">
                  <c:v>45529.0</c:v>
                </c:pt>
                <c:pt idx="55">
                  <c:v>45564.0</c:v>
                </c:pt>
                <c:pt idx="56">
                  <c:v>45571.0</c:v>
                </c:pt>
                <c:pt idx="57">
                  <c:v>45578.0</c:v>
                </c:pt>
                <c:pt idx="58">
                  <c:v>45585.0</c:v>
                </c:pt>
                <c:pt idx="59">
                  <c:v>45592.0</c:v>
                </c:pt>
                <c:pt idx="60">
                  <c:v>45606.0</c:v>
                </c:pt>
                <c:pt idx="61">
                  <c:v>45613.0</c:v>
                </c:pt>
                <c:pt idx="62">
                  <c:v>45627.0</c:v>
                </c:pt>
                <c:pt idx="63">
                  <c:v>45648.0</c:v>
                </c:pt>
                <c:pt idx="64">
                  <c:v>45655.0</c:v>
                </c:pt>
                <c:pt idx="65">
                  <c:v>45662.0</c:v>
                </c:pt>
                <c:pt idx="66">
                  <c:v>45669.0</c:v>
                </c:pt>
                <c:pt idx="67">
                  <c:v>45676.0</c:v>
                </c:pt>
              </c:numCache>
            </c:numRef>
          </c:cat>
          <c:val>
            <c:numRef>
              <c:f>Sheet1!$E$2:$E$69</c:f>
              <c:numCache>
                <c:formatCode>General</c:formatCode>
                <c:ptCount val="68"/>
                <c:pt idx="0">
                  <c:v>186.0</c:v>
                </c:pt>
                <c:pt idx="1">
                  <c:v>262.0</c:v>
                </c:pt>
                <c:pt idx="2">
                  <c:v>262.0</c:v>
                </c:pt>
                <c:pt idx="3">
                  <c:v>298.0</c:v>
                </c:pt>
                <c:pt idx="4">
                  <c:v>298.0</c:v>
                </c:pt>
                <c:pt idx="5">
                  <c:v>298.0</c:v>
                </c:pt>
                <c:pt idx="6">
                  <c:v>222.0</c:v>
                </c:pt>
                <c:pt idx="7">
                  <c:v>262.0</c:v>
                </c:pt>
                <c:pt idx="8">
                  <c:v>262.0</c:v>
                </c:pt>
                <c:pt idx="9">
                  <c:v>186.0</c:v>
                </c:pt>
                <c:pt idx="10">
                  <c:v>222.0</c:v>
                </c:pt>
                <c:pt idx="11">
                  <c:v>298.0</c:v>
                </c:pt>
                <c:pt idx="12">
                  <c:v>222.0</c:v>
                </c:pt>
                <c:pt idx="13">
                  <c:v>298.0</c:v>
                </c:pt>
                <c:pt idx="14">
                  <c:v>262.0</c:v>
                </c:pt>
                <c:pt idx="15">
                  <c:v>262.0</c:v>
                </c:pt>
                <c:pt idx="16">
                  <c:v>262.0</c:v>
                </c:pt>
                <c:pt idx="17">
                  <c:v>186.0</c:v>
                </c:pt>
                <c:pt idx="18">
                  <c:v>186.0</c:v>
                </c:pt>
                <c:pt idx="19">
                  <c:v>186.0</c:v>
                </c:pt>
                <c:pt idx="20">
                  <c:v>224.0</c:v>
                </c:pt>
                <c:pt idx="21">
                  <c:v>148.0</c:v>
                </c:pt>
                <c:pt idx="22">
                  <c:v>186.0</c:v>
                </c:pt>
                <c:pt idx="23">
                  <c:v>224.0</c:v>
                </c:pt>
                <c:pt idx="24">
                  <c:v>224.0</c:v>
                </c:pt>
                <c:pt idx="25">
                  <c:v>262.0</c:v>
                </c:pt>
                <c:pt idx="26">
                  <c:v>336.0</c:v>
                </c:pt>
                <c:pt idx="27">
                  <c:v>186.0</c:v>
                </c:pt>
                <c:pt idx="28">
                  <c:v>186.0</c:v>
                </c:pt>
                <c:pt idx="29">
                  <c:v>186.0</c:v>
                </c:pt>
                <c:pt idx="30">
                  <c:v>224.0</c:v>
                </c:pt>
                <c:pt idx="31">
                  <c:v>186.0</c:v>
                </c:pt>
                <c:pt idx="32">
                  <c:v>186.0</c:v>
                </c:pt>
                <c:pt idx="33">
                  <c:v>186.0</c:v>
                </c:pt>
                <c:pt idx="34">
                  <c:v>112.0</c:v>
                </c:pt>
                <c:pt idx="35">
                  <c:v>112.0</c:v>
                </c:pt>
                <c:pt idx="36">
                  <c:v>150.0</c:v>
                </c:pt>
                <c:pt idx="37">
                  <c:v>74.0</c:v>
                </c:pt>
                <c:pt idx="38">
                  <c:v>112.0</c:v>
                </c:pt>
                <c:pt idx="39">
                  <c:v>188.0</c:v>
                </c:pt>
                <c:pt idx="40">
                  <c:v>112.0</c:v>
                </c:pt>
                <c:pt idx="41">
                  <c:v>74.0</c:v>
                </c:pt>
                <c:pt idx="42">
                  <c:v>112.0</c:v>
                </c:pt>
                <c:pt idx="43">
                  <c:v>112.0</c:v>
                </c:pt>
                <c:pt idx="44">
                  <c:v>74.0</c:v>
                </c:pt>
                <c:pt idx="45">
                  <c:v>112.0</c:v>
                </c:pt>
                <c:pt idx="46">
                  <c:v>74.0</c:v>
                </c:pt>
                <c:pt idx="47">
                  <c:v>74.0</c:v>
                </c:pt>
                <c:pt idx="48">
                  <c:v>74.0</c:v>
                </c:pt>
                <c:pt idx="49">
                  <c:v>76.0</c:v>
                </c:pt>
                <c:pt idx="50">
                  <c:v>74.0</c:v>
                </c:pt>
                <c:pt idx="51">
                  <c:v>74.0</c:v>
                </c:pt>
                <c:pt idx="52">
                  <c:v>224.0</c:v>
                </c:pt>
                <c:pt idx="53">
                  <c:v>150.0</c:v>
                </c:pt>
                <c:pt idx="54">
                  <c:v>74.0</c:v>
                </c:pt>
                <c:pt idx="55">
                  <c:v>148.0</c:v>
                </c:pt>
                <c:pt idx="56">
                  <c:v>74.0</c:v>
                </c:pt>
                <c:pt idx="57">
                  <c:v>76.0</c:v>
                </c:pt>
                <c:pt idx="58">
                  <c:v>74.0</c:v>
                </c:pt>
                <c:pt idx="59">
                  <c:v>148.0</c:v>
                </c:pt>
                <c:pt idx="60">
                  <c:v>74.0</c:v>
                </c:pt>
                <c:pt idx="61">
                  <c:v>74.0</c:v>
                </c:pt>
                <c:pt idx="62">
                  <c:v>186.0</c:v>
                </c:pt>
                <c:pt idx="63">
                  <c:v>148.0</c:v>
                </c:pt>
                <c:pt idx="64">
                  <c:v>148.0</c:v>
                </c:pt>
                <c:pt idx="65">
                  <c:v>74.0</c:v>
                </c:pt>
                <c:pt idx="66">
                  <c:v>148.0</c:v>
                </c:pt>
                <c:pt idx="67">
                  <c:v>14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69</c:f>
              <c:numCache>
                <c:formatCode>yyyy\-mm\-dd</c:formatCode>
                <c:ptCount val="6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33.0</c:v>
                </c:pt>
                <c:pt idx="29">
                  <c:v>45340.0</c:v>
                </c:pt>
                <c:pt idx="30">
                  <c:v>45347.0</c:v>
                </c:pt>
                <c:pt idx="31">
                  <c:v>45354.0</c:v>
                </c:pt>
                <c:pt idx="32">
                  <c:v>45361.0</c:v>
                </c:pt>
                <c:pt idx="33">
                  <c:v>45368.0</c:v>
                </c:pt>
                <c:pt idx="34">
                  <c:v>45375.0</c:v>
                </c:pt>
                <c:pt idx="35">
                  <c:v>45382.0</c:v>
                </c:pt>
                <c:pt idx="36">
                  <c:v>45389.0</c:v>
                </c:pt>
                <c:pt idx="37">
                  <c:v>45396.0</c:v>
                </c:pt>
                <c:pt idx="38">
                  <c:v>45403.0</c:v>
                </c:pt>
                <c:pt idx="39">
                  <c:v>45410.0</c:v>
                </c:pt>
                <c:pt idx="40">
                  <c:v>45417.0</c:v>
                </c:pt>
                <c:pt idx="41">
                  <c:v>45424.0</c:v>
                </c:pt>
                <c:pt idx="42">
                  <c:v>45431.0</c:v>
                </c:pt>
                <c:pt idx="43">
                  <c:v>45445.0</c:v>
                </c:pt>
                <c:pt idx="44">
                  <c:v>45452.0</c:v>
                </c:pt>
                <c:pt idx="45">
                  <c:v>45459.0</c:v>
                </c:pt>
                <c:pt idx="46">
                  <c:v>45466.0</c:v>
                </c:pt>
                <c:pt idx="47">
                  <c:v>45480.0</c:v>
                </c:pt>
                <c:pt idx="48">
                  <c:v>45487.0</c:v>
                </c:pt>
                <c:pt idx="49">
                  <c:v>45494.0</c:v>
                </c:pt>
                <c:pt idx="50">
                  <c:v>45501.0</c:v>
                </c:pt>
                <c:pt idx="51">
                  <c:v>45508.0</c:v>
                </c:pt>
                <c:pt idx="52">
                  <c:v>45515.0</c:v>
                </c:pt>
                <c:pt idx="53">
                  <c:v>45522.0</c:v>
                </c:pt>
                <c:pt idx="54">
                  <c:v>45529.0</c:v>
                </c:pt>
                <c:pt idx="55">
                  <c:v>45564.0</c:v>
                </c:pt>
                <c:pt idx="56">
                  <c:v>45571.0</c:v>
                </c:pt>
                <c:pt idx="57">
                  <c:v>45578.0</c:v>
                </c:pt>
                <c:pt idx="58">
                  <c:v>45585.0</c:v>
                </c:pt>
                <c:pt idx="59">
                  <c:v>45592.0</c:v>
                </c:pt>
                <c:pt idx="60">
                  <c:v>45606.0</c:v>
                </c:pt>
                <c:pt idx="61">
                  <c:v>45613.0</c:v>
                </c:pt>
                <c:pt idx="62">
                  <c:v>45627.0</c:v>
                </c:pt>
                <c:pt idx="63">
                  <c:v>45648.0</c:v>
                </c:pt>
                <c:pt idx="64">
                  <c:v>45655.0</c:v>
                </c:pt>
                <c:pt idx="65">
                  <c:v>45662.0</c:v>
                </c:pt>
                <c:pt idx="66">
                  <c:v>45669.0</c:v>
                </c:pt>
                <c:pt idx="67">
                  <c:v>45676.0</c:v>
                </c:pt>
              </c:numCache>
            </c:numRef>
          </c:cat>
          <c:val>
            <c:numRef>
              <c:f>Sheet1!$F$2:$F$69</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1.0</c:v>
                </c:pt>
                <c:pt idx="39">
                  <c:v>1.0</c:v>
                </c:pt>
                <c:pt idx="40">
                  <c:v>1.0</c:v>
                </c:pt>
                <c:pt idx="41">
                  <c:v>1.0</c:v>
                </c:pt>
                <c:pt idx="42">
                  <c:v>0.75</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1.0</c:v>
                </c:pt>
                <c:pt idx="63">
                  <c:v>0.0</c:v>
                </c:pt>
                <c:pt idx="64">
                  <c:v>0.0</c:v>
                </c:pt>
                <c:pt idx="65">
                  <c:v>0.0</c:v>
                </c:pt>
                <c:pt idx="66">
                  <c:v>0.0</c:v>
                </c:pt>
                <c:pt idx="67">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64</c:f>
              <c:numCache>
                <c:formatCode>yyyy\-mm\-dd</c:formatCode>
                <c:ptCount val="63"/>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8.0</c:v>
                </c:pt>
                <c:pt idx="14">
                  <c:v>45235.0</c:v>
                </c:pt>
                <c:pt idx="15">
                  <c:v>45242.0</c:v>
                </c:pt>
                <c:pt idx="16">
                  <c:v>45249.0</c:v>
                </c:pt>
                <c:pt idx="17">
                  <c:v>45256.0</c:v>
                </c:pt>
                <c:pt idx="18">
                  <c:v>45263.0</c:v>
                </c:pt>
                <c:pt idx="19">
                  <c:v>45270.0</c:v>
                </c:pt>
                <c:pt idx="20">
                  <c:v>45277.0</c:v>
                </c:pt>
                <c:pt idx="21">
                  <c:v>45284.0</c:v>
                </c:pt>
                <c:pt idx="22">
                  <c:v>45291.0</c:v>
                </c:pt>
                <c:pt idx="23">
                  <c:v>45298.0</c:v>
                </c:pt>
                <c:pt idx="24">
                  <c:v>45319.0</c:v>
                </c:pt>
                <c:pt idx="25">
                  <c:v>45333.0</c:v>
                </c:pt>
                <c:pt idx="26">
                  <c:v>45340.0</c:v>
                </c:pt>
                <c:pt idx="27">
                  <c:v>45347.0</c:v>
                </c:pt>
                <c:pt idx="28">
                  <c:v>45368.0</c:v>
                </c:pt>
                <c:pt idx="29">
                  <c:v>45382.0</c:v>
                </c:pt>
                <c:pt idx="30">
                  <c:v>45389.0</c:v>
                </c:pt>
                <c:pt idx="31">
                  <c:v>45396.0</c:v>
                </c:pt>
                <c:pt idx="32">
                  <c:v>45403.0</c:v>
                </c:pt>
                <c:pt idx="33">
                  <c:v>45410.0</c:v>
                </c:pt>
                <c:pt idx="34">
                  <c:v>45417.0</c:v>
                </c:pt>
                <c:pt idx="35">
                  <c:v>45424.0</c:v>
                </c:pt>
                <c:pt idx="36">
                  <c:v>45431.0</c:v>
                </c:pt>
                <c:pt idx="37">
                  <c:v>45438.0</c:v>
                </c:pt>
                <c:pt idx="38">
                  <c:v>45445.0</c:v>
                </c:pt>
                <c:pt idx="39">
                  <c:v>45452.0</c:v>
                </c:pt>
                <c:pt idx="40">
                  <c:v>45459.0</c:v>
                </c:pt>
                <c:pt idx="41">
                  <c:v>45473.0</c:v>
                </c:pt>
                <c:pt idx="42">
                  <c:v>45487.0</c:v>
                </c:pt>
                <c:pt idx="43">
                  <c:v>45494.0</c:v>
                </c:pt>
                <c:pt idx="44">
                  <c:v>45501.0</c:v>
                </c:pt>
                <c:pt idx="45">
                  <c:v>45515.0</c:v>
                </c:pt>
                <c:pt idx="46">
                  <c:v>45522.0</c:v>
                </c:pt>
                <c:pt idx="47">
                  <c:v>45529.0</c:v>
                </c:pt>
                <c:pt idx="48">
                  <c:v>45536.0</c:v>
                </c:pt>
                <c:pt idx="49">
                  <c:v>45543.0</c:v>
                </c:pt>
                <c:pt idx="50">
                  <c:v>45550.0</c:v>
                </c:pt>
                <c:pt idx="51">
                  <c:v>45571.0</c:v>
                </c:pt>
                <c:pt idx="52">
                  <c:v>45585.0</c:v>
                </c:pt>
                <c:pt idx="53">
                  <c:v>45599.0</c:v>
                </c:pt>
                <c:pt idx="54">
                  <c:v>45620.0</c:v>
                </c:pt>
                <c:pt idx="55">
                  <c:v>45627.0</c:v>
                </c:pt>
                <c:pt idx="56">
                  <c:v>45634.0</c:v>
                </c:pt>
                <c:pt idx="57">
                  <c:v>45648.0</c:v>
                </c:pt>
                <c:pt idx="58">
                  <c:v>45655.0</c:v>
                </c:pt>
                <c:pt idx="59">
                  <c:v>45662.0</c:v>
                </c:pt>
                <c:pt idx="60">
                  <c:v>45669.0</c:v>
                </c:pt>
                <c:pt idx="61">
                  <c:v>45676.0</c:v>
                </c:pt>
                <c:pt idx="62">
                  <c:v>45683.0</c:v>
                </c:pt>
              </c:numCache>
            </c:numRef>
          </c:cat>
          <c:val>
            <c:numRef>
              <c:f>Sheet1!$B$2:$B$64</c:f>
              <c:numCache>
                <c:formatCode>General</c:formatCode>
                <c:ptCount val="6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452.0</c:v>
                </c:pt>
                <c:pt idx="33">
                  <c:v>424.0</c:v>
                </c:pt>
                <c:pt idx="34">
                  <c:v>782.0</c:v>
                </c:pt>
                <c:pt idx="35">
                  <c:v>452.0</c:v>
                </c:pt>
                <c:pt idx="36">
                  <c:v>3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464.0</c:v>
                </c:pt>
                <c:pt idx="56">
                  <c:v>0.0</c:v>
                </c:pt>
                <c:pt idx="57">
                  <c:v>0.0</c:v>
                </c:pt>
                <c:pt idx="58">
                  <c:v>0.0</c:v>
                </c:pt>
                <c:pt idx="59">
                  <c:v>0.0</c:v>
                </c:pt>
                <c:pt idx="60">
                  <c:v>0.0</c:v>
                </c:pt>
                <c:pt idx="61">
                  <c:v>0.0</c:v>
                </c:pt>
                <c:pt idx="62">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64</c:f>
              <c:numCache>
                <c:formatCode>yyyy\-mm\-dd</c:formatCode>
                <c:ptCount val="63"/>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8.0</c:v>
                </c:pt>
                <c:pt idx="14">
                  <c:v>45235.0</c:v>
                </c:pt>
                <c:pt idx="15">
                  <c:v>45242.0</c:v>
                </c:pt>
                <c:pt idx="16">
                  <c:v>45249.0</c:v>
                </c:pt>
                <c:pt idx="17">
                  <c:v>45256.0</c:v>
                </c:pt>
                <c:pt idx="18">
                  <c:v>45263.0</c:v>
                </c:pt>
                <c:pt idx="19">
                  <c:v>45270.0</c:v>
                </c:pt>
                <c:pt idx="20">
                  <c:v>45277.0</c:v>
                </c:pt>
                <c:pt idx="21">
                  <c:v>45284.0</c:v>
                </c:pt>
                <c:pt idx="22">
                  <c:v>45291.0</c:v>
                </c:pt>
                <c:pt idx="23">
                  <c:v>45298.0</c:v>
                </c:pt>
                <c:pt idx="24">
                  <c:v>45319.0</c:v>
                </c:pt>
                <c:pt idx="25">
                  <c:v>45333.0</c:v>
                </c:pt>
                <c:pt idx="26">
                  <c:v>45340.0</c:v>
                </c:pt>
                <c:pt idx="27">
                  <c:v>45347.0</c:v>
                </c:pt>
                <c:pt idx="28">
                  <c:v>45368.0</c:v>
                </c:pt>
                <c:pt idx="29">
                  <c:v>45382.0</c:v>
                </c:pt>
                <c:pt idx="30">
                  <c:v>45389.0</c:v>
                </c:pt>
                <c:pt idx="31">
                  <c:v>45396.0</c:v>
                </c:pt>
                <c:pt idx="32">
                  <c:v>45403.0</c:v>
                </c:pt>
                <c:pt idx="33">
                  <c:v>45410.0</c:v>
                </c:pt>
                <c:pt idx="34">
                  <c:v>45417.0</c:v>
                </c:pt>
                <c:pt idx="35">
                  <c:v>45424.0</c:v>
                </c:pt>
                <c:pt idx="36">
                  <c:v>45431.0</c:v>
                </c:pt>
                <c:pt idx="37">
                  <c:v>45438.0</c:v>
                </c:pt>
                <c:pt idx="38">
                  <c:v>45445.0</c:v>
                </c:pt>
                <c:pt idx="39">
                  <c:v>45452.0</c:v>
                </c:pt>
                <c:pt idx="40">
                  <c:v>45459.0</c:v>
                </c:pt>
                <c:pt idx="41">
                  <c:v>45473.0</c:v>
                </c:pt>
                <c:pt idx="42">
                  <c:v>45487.0</c:v>
                </c:pt>
                <c:pt idx="43">
                  <c:v>45494.0</c:v>
                </c:pt>
                <c:pt idx="44">
                  <c:v>45501.0</c:v>
                </c:pt>
                <c:pt idx="45">
                  <c:v>45515.0</c:v>
                </c:pt>
                <c:pt idx="46">
                  <c:v>45522.0</c:v>
                </c:pt>
                <c:pt idx="47">
                  <c:v>45529.0</c:v>
                </c:pt>
                <c:pt idx="48">
                  <c:v>45536.0</c:v>
                </c:pt>
                <c:pt idx="49">
                  <c:v>45543.0</c:v>
                </c:pt>
                <c:pt idx="50">
                  <c:v>45550.0</c:v>
                </c:pt>
                <c:pt idx="51">
                  <c:v>45571.0</c:v>
                </c:pt>
                <c:pt idx="52">
                  <c:v>45585.0</c:v>
                </c:pt>
                <c:pt idx="53">
                  <c:v>45599.0</c:v>
                </c:pt>
                <c:pt idx="54">
                  <c:v>45620.0</c:v>
                </c:pt>
                <c:pt idx="55">
                  <c:v>45627.0</c:v>
                </c:pt>
                <c:pt idx="56">
                  <c:v>45634.0</c:v>
                </c:pt>
                <c:pt idx="57">
                  <c:v>45648.0</c:v>
                </c:pt>
                <c:pt idx="58">
                  <c:v>45655.0</c:v>
                </c:pt>
                <c:pt idx="59">
                  <c:v>45662.0</c:v>
                </c:pt>
                <c:pt idx="60">
                  <c:v>45669.0</c:v>
                </c:pt>
                <c:pt idx="61">
                  <c:v>45676.0</c:v>
                </c:pt>
                <c:pt idx="62">
                  <c:v>45683.0</c:v>
                </c:pt>
              </c:numCache>
            </c:numRef>
          </c:cat>
          <c:val>
            <c:numRef>
              <c:f>Sheet1!$C$2:$C$64</c:f>
              <c:numCache>
                <c:formatCode>General</c:formatCode>
                <c:ptCount val="63"/>
                <c:pt idx="0">
                  <c:v>148.0</c:v>
                </c:pt>
                <c:pt idx="1">
                  <c:v>333.0</c:v>
                </c:pt>
                <c:pt idx="2">
                  <c:v>111.0</c:v>
                </c:pt>
                <c:pt idx="3">
                  <c:v>335.0</c:v>
                </c:pt>
                <c:pt idx="4">
                  <c:v>185.0</c:v>
                </c:pt>
                <c:pt idx="5">
                  <c:v>224.0</c:v>
                </c:pt>
                <c:pt idx="6">
                  <c:v>261.0</c:v>
                </c:pt>
                <c:pt idx="7">
                  <c:v>37.0</c:v>
                </c:pt>
                <c:pt idx="8">
                  <c:v>37.0</c:v>
                </c:pt>
                <c:pt idx="9">
                  <c:v>37.0</c:v>
                </c:pt>
                <c:pt idx="10">
                  <c:v>148.0</c:v>
                </c:pt>
                <c:pt idx="11">
                  <c:v>37.0</c:v>
                </c:pt>
                <c:pt idx="12">
                  <c:v>668.0</c:v>
                </c:pt>
                <c:pt idx="13">
                  <c:v>111.0</c:v>
                </c:pt>
                <c:pt idx="14">
                  <c:v>148.0</c:v>
                </c:pt>
                <c:pt idx="15">
                  <c:v>151.0</c:v>
                </c:pt>
                <c:pt idx="16">
                  <c:v>224.0</c:v>
                </c:pt>
                <c:pt idx="17">
                  <c:v>37.0</c:v>
                </c:pt>
                <c:pt idx="18">
                  <c:v>923.0</c:v>
                </c:pt>
                <c:pt idx="19">
                  <c:v>111.0</c:v>
                </c:pt>
                <c:pt idx="20">
                  <c:v>222.0</c:v>
                </c:pt>
                <c:pt idx="21">
                  <c:v>485.0</c:v>
                </c:pt>
                <c:pt idx="22">
                  <c:v>631.0</c:v>
                </c:pt>
                <c:pt idx="23">
                  <c:v>150.0</c:v>
                </c:pt>
                <c:pt idx="24">
                  <c:v>74.0</c:v>
                </c:pt>
                <c:pt idx="25">
                  <c:v>74.0</c:v>
                </c:pt>
                <c:pt idx="26">
                  <c:v>185.0</c:v>
                </c:pt>
                <c:pt idx="27">
                  <c:v>37.0</c:v>
                </c:pt>
                <c:pt idx="28">
                  <c:v>146.0</c:v>
                </c:pt>
                <c:pt idx="29">
                  <c:v>185.0</c:v>
                </c:pt>
                <c:pt idx="30">
                  <c:v>74.0</c:v>
                </c:pt>
                <c:pt idx="31">
                  <c:v>74.0</c:v>
                </c:pt>
                <c:pt idx="32">
                  <c:v>74.0</c:v>
                </c:pt>
                <c:pt idx="33">
                  <c:v>0.0</c:v>
                </c:pt>
                <c:pt idx="34">
                  <c:v>0.0</c:v>
                </c:pt>
                <c:pt idx="35">
                  <c:v>0.0</c:v>
                </c:pt>
                <c:pt idx="36">
                  <c:v>0.0</c:v>
                </c:pt>
                <c:pt idx="37">
                  <c:v>148.0</c:v>
                </c:pt>
                <c:pt idx="38">
                  <c:v>37.0</c:v>
                </c:pt>
                <c:pt idx="39">
                  <c:v>37.0</c:v>
                </c:pt>
                <c:pt idx="40">
                  <c:v>302.0</c:v>
                </c:pt>
                <c:pt idx="41">
                  <c:v>37.0</c:v>
                </c:pt>
                <c:pt idx="42">
                  <c:v>111.0</c:v>
                </c:pt>
                <c:pt idx="43">
                  <c:v>37.0</c:v>
                </c:pt>
                <c:pt idx="44">
                  <c:v>37.0</c:v>
                </c:pt>
                <c:pt idx="45">
                  <c:v>185.0</c:v>
                </c:pt>
                <c:pt idx="46">
                  <c:v>37.0</c:v>
                </c:pt>
                <c:pt idx="47">
                  <c:v>185.0</c:v>
                </c:pt>
                <c:pt idx="48">
                  <c:v>76.0</c:v>
                </c:pt>
                <c:pt idx="49">
                  <c:v>225.0</c:v>
                </c:pt>
                <c:pt idx="50">
                  <c:v>148.0</c:v>
                </c:pt>
                <c:pt idx="51">
                  <c:v>187.0</c:v>
                </c:pt>
                <c:pt idx="52">
                  <c:v>37.0</c:v>
                </c:pt>
                <c:pt idx="53">
                  <c:v>76.0</c:v>
                </c:pt>
                <c:pt idx="54">
                  <c:v>37.0</c:v>
                </c:pt>
                <c:pt idx="55">
                  <c:v>1.0</c:v>
                </c:pt>
                <c:pt idx="56">
                  <c:v>37.0</c:v>
                </c:pt>
                <c:pt idx="57">
                  <c:v>111.0</c:v>
                </c:pt>
                <c:pt idx="58">
                  <c:v>74.0</c:v>
                </c:pt>
                <c:pt idx="59">
                  <c:v>77.0</c:v>
                </c:pt>
                <c:pt idx="60">
                  <c:v>150.0</c:v>
                </c:pt>
                <c:pt idx="61">
                  <c:v>74.0</c:v>
                </c:pt>
                <c:pt idx="62">
                  <c:v>3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8.0</c:v>
                </c:pt>
                <c:pt idx="14">
                  <c:v>45235.0</c:v>
                </c:pt>
                <c:pt idx="15">
                  <c:v>45242.0</c:v>
                </c:pt>
                <c:pt idx="16">
                  <c:v>45249.0</c:v>
                </c:pt>
                <c:pt idx="17">
                  <c:v>45256.0</c:v>
                </c:pt>
                <c:pt idx="18">
                  <c:v>45263.0</c:v>
                </c:pt>
                <c:pt idx="19">
                  <c:v>45270.0</c:v>
                </c:pt>
                <c:pt idx="20">
                  <c:v>45277.0</c:v>
                </c:pt>
                <c:pt idx="21">
                  <c:v>45284.0</c:v>
                </c:pt>
                <c:pt idx="22">
                  <c:v>45291.0</c:v>
                </c:pt>
                <c:pt idx="23">
                  <c:v>45298.0</c:v>
                </c:pt>
                <c:pt idx="24">
                  <c:v>45319.0</c:v>
                </c:pt>
                <c:pt idx="25">
                  <c:v>45333.0</c:v>
                </c:pt>
                <c:pt idx="26">
                  <c:v>45340.0</c:v>
                </c:pt>
                <c:pt idx="27">
                  <c:v>45347.0</c:v>
                </c:pt>
                <c:pt idx="28">
                  <c:v>45368.0</c:v>
                </c:pt>
                <c:pt idx="29">
                  <c:v>45382.0</c:v>
                </c:pt>
                <c:pt idx="30">
                  <c:v>45389.0</c:v>
                </c:pt>
                <c:pt idx="31">
                  <c:v>45396.0</c:v>
                </c:pt>
                <c:pt idx="32">
                  <c:v>45403.0</c:v>
                </c:pt>
                <c:pt idx="33">
                  <c:v>45410.0</c:v>
                </c:pt>
                <c:pt idx="34">
                  <c:v>45417.0</c:v>
                </c:pt>
                <c:pt idx="35">
                  <c:v>45424.0</c:v>
                </c:pt>
                <c:pt idx="36">
                  <c:v>45431.0</c:v>
                </c:pt>
                <c:pt idx="37">
                  <c:v>45438.0</c:v>
                </c:pt>
                <c:pt idx="38">
                  <c:v>45445.0</c:v>
                </c:pt>
                <c:pt idx="39">
                  <c:v>45452.0</c:v>
                </c:pt>
                <c:pt idx="40">
                  <c:v>45459.0</c:v>
                </c:pt>
                <c:pt idx="41">
                  <c:v>45473.0</c:v>
                </c:pt>
                <c:pt idx="42">
                  <c:v>45487.0</c:v>
                </c:pt>
                <c:pt idx="43">
                  <c:v>45494.0</c:v>
                </c:pt>
                <c:pt idx="44">
                  <c:v>45501.0</c:v>
                </c:pt>
                <c:pt idx="45">
                  <c:v>45515.0</c:v>
                </c:pt>
                <c:pt idx="46">
                  <c:v>45522.0</c:v>
                </c:pt>
                <c:pt idx="47">
                  <c:v>45529.0</c:v>
                </c:pt>
                <c:pt idx="48">
                  <c:v>45536.0</c:v>
                </c:pt>
                <c:pt idx="49">
                  <c:v>45543.0</c:v>
                </c:pt>
                <c:pt idx="50">
                  <c:v>45550.0</c:v>
                </c:pt>
                <c:pt idx="51">
                  <c:v>45571.0</c:v>
                </c:pt>
                <c:pt idx="52">
                  <c:v>45585.0</c:v>
                </c:pt>
                <c:pt idx="53">
                  <c:v>45599.0</c:v>
                </c:pt>
                <c:pt idx="54">
                  <c:v>45620.0</c:v>
                </c:pt>
                <c:pt idx="55">
                  <c:v>45627.0</c:v>
                </c:pt>
                <c:pt idx="56">
                  <c:v>45634.0</c:v>
                </c:pt>
                <c:pt idx="57">
                  <c:v>45648.0</c:v>
                </c:pt>
                <c:pt idx="58">
                  <c:v>45655.0</c:v>
                </c:pt>
                <c:pt idx="59">
                  <c:v>45662.0</c:v>
                </c:pt>
                <c:pt idx="60">
                  <c:v>45669.0</c:v>
                </c:pt>
                <c:pt idx="61">
                  <c:v>45676.0</c:v>
                </c:pt>
                <c:pt idx="62">
                  <c:v>45683.0</c:v>
                </c:pt>
              </c:numCache>
            </c:numRef>
          </c:cat>
          <c:val>
            <c:numRef>
              <c:f>Sheet1!$D$2:$D$64</c:f>
              <c:numCache>
                <c:formatCode>General</c:formatCode>
                <c:ptCount val="63"/>
                <c:pt idx="0">
                  <c:v>148.0</c:v>
                </c:pt>
                <c:pt idx="1">
                  <c:v>333.0</c:v>
                </c:pt>
                <c:pt idx="2">
                  <c:v>111.0</c:v>
                </c:pt>
                <c:pt idx="3">
                  <c:v>335.0</c:v>
                </c:pt>
                <c:pt idx="4">
                  <c:v>185.0</c:v>
                </c:pt>
                <c:pt idx="5">
                  <c:v>224.0</c:v>
                </c:pt>
                <c:pt idx="6">
                  <c:v>261.0</c:v>
                </c:pt>
                <c:pt idx="7">
                  <c:v>37.0</c:v>
                </c:pt>
                <c:pt idx="8">
                  <c:v>37.0</c:v>
                </c:pt>
                <c:pt idx="9">
                  <c:v>37.0</c:v>
                </c:pt>
                <c:pt idx="10">
                  <c:v>148.0</c:v>
                </c:pt>
                <c:pt idx="11">
                  <c:v>37.0</c:v>
                </c:pt>
                <c:pt idx="12">
                  <c:v>668.0</c:v>
                </c:pt>
                <c:pt idx="13">
                  <c:v>111.0</c:v>
                </c:pt>
                <c:pt idx="14">
                  <c:v>148.0</c:v>
                </c:pt>
                <c:pt idx="15">
                  <c:v>151.0</c:v>
                </c:pt>
                <c:pt idx="16">
                  <c:v>224.0</c:v>
                </c:pt>
                <c:pt idx="17">
                  <c:v>37.0</c:v>
                </c:pt>
                <c:pt idx="18">
                  <c:v>923.0</c:v>
                </c:pt>
                <c:pt idx="19">
                  <c:v>111.0</c:v>
                </c:pt>
                <c:pt idx="20">
                  <c:v>222.0</c:v>
                </c:pt>
                <c:pt idx="21">
                  <c:v>485.0</c:v>
                </c:pt>
                <c:pt idx="22">
                  <c:v>631.0</c:v>
                </c:pt>
                <c:pt idx="23">
                  <c:v>150.0</c:v>
                </c:pt>
                <c:pt idx="24">
                  <c:v>74.0</c:v>
                </c:pt>
                <c:pt idx="25">
                  <c:v>74.0</c:v>
                </c:pt>
                <c:pt idx="26">
                  <c:v>185.0</c:v>
                </c:pt>
                <c:pt idx="27">
                  <c:v>37.0</c:v>
                </c:pt>
                <c:pt idx="28">
                  <c:v>146.0</c:v>
                </c:pt>
                <c:pt idx="29">
                  <c:v>185.0</c:v>
                </c:pt>
                <c:pt idx="30">
                  <c:v>74.0</c:v>
                </c:pt>
                <c:pt idx="31">
                  <c:v>74.0</c:v>
                </c:pt>
                <c:pt idx="32">
                  <c:v>526.0</c:v>
                </c:pt>
                <c:pt idx="33">
                  <c:v>424.0</c:v>
                </c:pt>
                <c:pt idx="34">
                  <c:v>782.0</c:v>
                </c:pt>
                <c:pt idx="35">
                  <c:v>452.0</c:v>
                </c:pt>
                <c:pt idx="36">
                  <c:v>30.0</c:v>
                </c:pt>
                <c:pt idx="37">
                  <c:v>148.0</c:v>
                </c:pt>
                <c:pt idx="38">
                  <c:v>37.0</c:v>
                </c:pt>
                <c:pt idx="39">
                  <c:v>37.0</c:v>
                </c:pt>
                <c:pt idx="40">
                  <c:v>302.0</c:v>
                </c:pt>
                <c:pt idx="41">
                  <c:v>37.0</c:v>
                </c:pt>
                <c:pt idx="42">
                  <c:v>111.0</c:v>
                </c:pt>
                <c:pt idx="43">
                  <c:v>37.0</c:v>
                </c:pt>
                <c:pt idx="44">
                  <c:v>37.0</c:v>
                </c:pt>
                <c:pt idx="45">
                  <c:v>185.0</c:v>
                </c:pt>
                <c:pt idx="46">
                  <c:v>37.0</c:v>
                </c:pt>
                <c:pt idx="47">
                  <c:v>185.0</c:v>
                </c:pt>
                <c:pt idx="48">
                  <c:v>76.0</c:v>
                </c:pt>
                <c:pt idx="49">
                  <c:v>225.0</c:v>
                </c:pt>
                <c:pt idx="50">
                  <c:v>148.0</c:v>
                </c:pt>
                <c:pt idx="51">
                  <c:v>187.0</c:v>
                </c:pt>
                <c:pt idx="52">
                  <c:v>37.0</c:v>
                </c:pt>
                <c:pt idx="53">
                  <c:v>76.0</c:v>
                </c:pt>
                <c:pt idx="54">
                  <c:v>37.0</c:v>
                </c:pt>
                <c:pt idx="55">
                  <c:v>465.0</c:v>
                </c:pt>
                <c:pt idx="56">
                  <c:v>37.0</c:v>
                </c:pt>
                <c:pt idx="57">
                  <c:v>111.0</c:v>
                </c:pt>
                <c:pt idx="58">
                  <c:v>74.0</c:v>
                </c:pt>
                <c:pt idx="59">
                  <c:v>77.0</c:v>
                </c:pt>
                <c:pt idx="60">
                  <c:v>150.0</c:v>
                </c:pt>
                <c:pt idx="61">
                  <c:v>74.0</c:v>
                </c:pt>
                <c:pt idx="62">
                  <c:v>3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8.0</c:v>
                </c:pt>
                <c:pt idx="14">
                  <c:v>45235.0</c:v>
                </c:pt>
                <c:pt idx="15">
                  <c:v>45242.0</c:v>
                </c:pt>
                <c:pt idx="16">
                  <c:v>45249.0</c:v>
                </c:pt>
                <c:pt idx="17">
                  <c:v>45256.0</c:v>
                </c:pt>
                <c:pt idx="18">
                  <c:v>45263.0</c:v>
                </c:pt>
                <c:pt idx="19">
                  <c:v>45270.0</c:v>
                </c:pt>
                <c:pt idx="20">
                  <c:v>45277.0</c:v>
                </c:pt>
                <c:pt idx="21">
                  <c:v>45284.0</c:v>
                </c:pt>
                <c:pt idx="22">
                  <c:v>45291.0</c:v>
                </c:pt>
                <c:pt idx="23">
                  <c:v>45298.0</c:v>
                </c:pt>
                <c:pt idx="24">
                  <c:v>45319.0</c:v>
                </c:pt>
                <c:pt idx="25">
                  <c:v>45333.0</c:v>
                </c:pt>
                <c:pt idx="26">
                  <c:v>45340.0</c:v>
                </c:pt>
                <c:pt idx="27">
                  <c:v>45347.0</c:v>
                </c:pt>
                <c:pt idx="28">
                  <c:v>45368.0</c:v>
                </c:pt>
                <c:pt idx="29">
                  <c:v>45382.0</c:v>
                </c:pt>
                <c:pt idx="30">
                  <c:v>45389.0</c:v>
                </c:pt>
                <c:pt idx="31">
                  <c:v>45396.0</c:v>
                </c:pt>
                <c:pt idx="32">
                  <c:v>45403.0</c:v>
                </c:pt>
                <c:pt idx="33">
                  <c:v>45410.0</c:v>
                </c:pt>
                <c:pt idx="34">
                  <c:v>45417.0</c:v>
                </c:pt>
                <c:pt idx="35">
                  <c:v>45424.0</c:v>
                </c:pt>
                <c:pt idx="36">
                  <c:v>45431.0</c:v>
                </c:pt>
                <c:pt idx="37">
                  <c:v>45438.0</c:v>
                </c:pt>
                <c:pt idx="38">
                  <c:v>45445.0</c:v>
                </c:pt>
                <c:pt idx="39">
                  <c:v>45452.0</c:v>
                </c:pt>
                <c:pt idx="40">
                  <c:v>45459.0</c:v>
                </c:pt>
                <c:pt idx="41">
                  <c:v>45473.0</c:v>
                </c:pt>
                <c:pt idx="42">
                  <c:v>45487.0</c:v>
                </c:pt>
                <c:pt idx="43">
                  <c:v>45494.0</c:v>
                </c:pt>
                <c:pt idx="44">
                  <c:v>45501.0</c:v>
                </c:pt>
                <c:pt idx="45">
                  <c:v>45515.0</c:v>
                </c:pt>
                <c:pt idx="46">
                  <c:v>45522.0</c:v>
                </c:pt>
                <c:pt idx="47">
                  <c:v>45529.0</c:v>
                </c:pt>
                <c:pt idx="48">
                  <c:v>45536.0</c:v>
                </c:pt>
                <c:pt idx="49">
                  <c:v>45543.0</c:v>
                </c:pt>
                <c:pt idx="50">
                  <c:v>45550.0</c:v>
                </c:pt>
                <c:pt idx="51">
                  <c:v>45571.0</c:v>
                </c:pt>
                <c:pt idx="52">
                  <c:v>45585.0</c:v>
                </c:pt>
                <c:pt idx="53">
                  <c:v>45599.0</c:v>
                </c:pt>
                <c:pt idx="54">
                  <c:v>45620.0</c:v>
                </c:pt>
                <c:pt idx="55">
                  <c:v>45627.0</c:v>
                </c:pt>
                <c:pt idx="56">
                  <c:v>45634.0</c:v>
                </c:pt>
                <c:pt idx="57">
                  <c:v>45648.0</c:v>
                </c:pt>
                <c:pt idx="58">
                  <c:v>45655.0</c:v>
                </c:pt>
                <c:pt idx="59">
                  <c:v>45662.0</c:v>
                </c:pt>
                <c:pt idx="60">
                  <c:v>45669.0</c:v>
                </c:pt>
                <c:pt idx="61">
                  <c:v>45676.0</c:v>
                </c:pt>
                <c:pt idx="62">
                  <c:v>45683.0</c:v>
                </c:pt>
              </c:numCache>
            </c:numRef>
          </c:cat>
          <c:val>
            <c:numRef>
              <c:f>Sheet1!$E$2:$E$64</c:f>
              <c:numCache>
                <c:formatCode>General</c:formatCode>
                <c:ptCount val="63"/>
                <c:pt idx="0">
                  <c:v>148.0</c:v>
                </c:pt>
                <c:pt idx="1">
                  <c:v>186.0</c:v>
                </c:pt>
                <c:pt idx="2">
                  <c:v>186.0</c:v>
                </c:pt>
                <c:pt idx="3">
                  <c:v>338.0</c:v>
                </c:pt>
                <c:pt idx="4">
                  <c:v>148.0</c:v>
                </c:pt>
                <c:pt idx="5">
                  <c:v>338.0</c:v>
                </c:pt>
                <c:pt idx="6">
                  <c:v>224.0</c:v>
                </c:pt>
                <c:pt idx="7">
                  <c:v>148.0</c:v>
                </c:pt>
                <c:pt idx="8">
                  <c:v>148.0</c:v>
                </c:pt>
                <c:pt idx="9">
                  <c:v>148.0</c:v>
                </c:pt>
                <c:pt idx="10">
                  <c:v>148.0</c:v>
                </c:pt>
                <c:pt idx="11">
                  <c:v>148.0</c:v>
                </c:pt>
                <c:pt idx="12">
                  <c:v>338.0</c:v>
                </c:pt>
                <c:pt idx="13">
                  <c:v>148.0</c:v>
                </c:pt>
                <c:pt idx="14">
                  <c:v>148.0</c:v>
                </c:pt>
                <c:pt idx="15">
                  <c:v>152.0</c:v>
                </c:pt>
                <c:pt idx="16">
                  <c:v>300.0</c:v>
                </c:pt>
                <c:pt idx="17">
                  <c:v>148.0</c:v>
                </c:pt>
                <c:pt idx="18">
                  <c:v>999.0</c:v>
                </c:pt>
                <c:pt idx="19">
                  <c:v>112.0</c:v>
                </c:pt>
                <c:pt idx="20">
                  <c:v>148.0</c:v>
                </c:pt>
                <c:pt idx="21">
                  <c:v>818.0</c:v>
                </c:pt>
                <c:pt idx="22">
                  <c:v>708.0</c:v>
                </c:pt>
                <c:pt idx="23">
                  <c:v>262.0</c:v>
                </c:pt>
                <c:pt idx="24">
                  <c:v>186.0</c:v>
                </c:pt>
                <c:pt idx="25">
                  <c:v>148.0</c:v>
                </c:pt>
                <c:pt idx="26">
                  <c:v>444.0</c:v>
                </c:pt>
                <c:pt idx="27">
                  <c:v>260.0</c:v>
                </c:pt>
                <c:pt idx="28">
                  <c:v>370.0</c:v>
                </c:pt>
                <c:pt idx="29">
                  <c:v>334.0</c:v>
                </c:pt>
                <c:pt idx="30">
                  <c:v>148.0</c:v>
                </c:pt>
                <c:pt idx="31">
                  <c:v>148.0</c:v>
                </c:pt>
                <c:pt idx="32">
                  <c:v>262.0</c:v>
                </c:pt>
                <c:pt idx="33">
                  <c:v>372.0</c:v>
                </c:pt>
                <c:pt idx="34">
                  <c:v>374.0</c:v>
                </c:pt>
                <c:pt idx="35">
                  <c:v>336.0</c:v>
                </c:pt>
                <c:pt idx="36">
                  <c:v>38.0</c:v>
                </c:pt>
                <c:pt idx="37">
                  <c:v>112.0</c:v>
                </c:pt>
                <c:pt idx="38">
                  <c:v>112.0</c:v>
                </c:pt>
                <c:pt idx="39">
                  <c:v>112.0</c:v>
                </c:pt>
                <c:pt idx="40">
                  <c:v>152.0</c:v>
                </c:pt>
                <c:pt idx="41">
                  <c:v>112.0</c:v>
                </c:pt>
                <c:pt idx="42">
                  <c:v>148.0</c:v>
                </c:pt>
                <c:pt idx="43">
                  <c:v>74.0</c:v>
                </c:pt>
                <c:pt idx="44">
                  <c:v>74.0</c:v>
                </c:pt>
                <c:pt idx="45">
                  <c:v>148.0</c:v>
                </c:pt>
                <c:pt idx="46">
                  <c:v>74.0</c:v>
                </c:pt>
                <c:pt idx="47">
                  <c:v>148.0</c:v>
                </c:pt>
                <c:pt idx="48">
                  <c:v>152.0</c:v>
                </c:pt>
                <c:pt idx="49">
                  <c:v>226.0</c:v>
                </c:pt>
                <c:pt idx="50">
                  <c:v>74.0</c:v>
                </c:pt>
                <c:pt idx="51">
                  <c:v>150.0</c:v>
                </c:pt>
                <c:pt idx="52">
                  <c:v>74.0</c:v>
                </c:pt>
                <c:pt idx="53">
                  <c:v>76.0</c:v>
                </c:pt>
                <c:pt idx="54">
                  <c:v>74.0</c:v>
                </c:pt>
                <c:pt idx="55">
                  <c:v>148.0</c:v>
                </c:pt>
                <c:pt idx="56">
                  <c:v>74.0</c:v>
                </c:pt>
                <c:pt idx="57">
                  <c:v>74.0</c:v>
                </c:pt>
                <c:pt idx="58">
                  <c:v>74.0</c:v>
                </c:pt>
                <c:pt idx="59">
                  <c:v>112.0</c:v>
                </c:pt>
                <c:pt idx="60">
                  <c:v>150.0</c:v>
                </c:pt>
                <c:pt idx="61">
                  <c:v>74.0</c:v>
                </c:pt>
                <c:pt idx="62">
                  <c:v>74.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64</c:f>
              <c:numCache>
                <c:formatCode>yyyy\-mm\-dd</c:formatCode>
                <c:ptCount val="63"/>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8.0</c:v>
                </c:pt>
                <c:pt idx="14">
                  <c:v>45235.0</c:v>
                </c:pt>
                <c:pt idx="15">
                  <c:v>45242.0</c:v>
                </c:pt>
                <c:pt idx="16">
                  <c:v>45249.0</c:v>
                </c:pt>
                <c:pt idx="17">
                  <c:v>45256.0</c:v>
                </c:pt>
                <c:pt idx="18">
                  <c:v>45263.0</c:v>
                </c:pt>
                <c:pt idx="19">
                  <c:v>45270.0</c:v>
                </c:pt>
                <c:pt idx="20">
                  <c:v>45277.0</c:v>
                </c:pt>
                <c:pt idx="21">
                  <c:v>45284.0</c:v>
                </c:pt>
                <c:pt idx="22">
                  <c:v>45291.0</c:v>
                </c:pt>
                <c:pt idx="23">
                  <c:v>45298.0</c:v>
                </c:pt>
                <c:pt idx="24">
                  <c:v>45319.0</c:v>
                </c:pt>
                <c:pt idx="25">
                  <c:v>45333.0</c:v>
                </c:pt>
                <c:pt idx="26">
                  <c:v>45340.0</c:v>
                </c:pt>
                <c:pt idx="27">
                  <c:v>45347.0</c:v>
                </c:pt>
                <c:pt idx="28">
                  <c:v>45368.0</c:v>
                </c:pt>
                <c:pt idx="29">
                  <c:v>45382.0</c:v>
                </c:pt>
                <c:pt idx="30">
                  <c:v>45389.0</c:v>
                </c:pt>
                <c:pt idx="31">
                  <c:v>45396.0</c:v>
                </c:pt>
                <c:pt idx="32">
                  <c:v>45403.0</c:v>
                </c:pt>
                <c:pt idx="33">
                  <c:v>45410.0</c:v>
                </c:pt>
                <c:pt idx="34">
                  <c:v>45417.0</c:v>
                </c:pt>
                <c:pt idx="35">
                  <c:v>45424.0</c:v>
                </c:pt>
                <c:pt idx="36">
                  <c:v>45431.0</c:v>
                </c:pt>
                <c:pt idx="37">
                  <c:v>45438.0</c:v>
                </c:pt>
                <c:pt idx="38">
                  <c:v>45445.0</c:v>
                </c:pt>
                <c:pt idx="39">
                  <c:v>45452.0</c:v>
                </c:pt>
                <c:pt idx="40">
                  <c:v>45459.0</c:v>
                </c:pt>
                <c:pt idx="41">
                  <c:v>45473.0</c:v>
                </c:pt>
                <c:pt idx="42">
                  <c:v>45487.0</c:v>
                </c:pt>
                <c:pt idx="43">
                  <c:v>45494.0</c:v>
                </c:pt>
                <c:pt idx="44">
                  <c:v>45501.0</c:v>
                </c:pt>
                <c:pt idx="45">
                  <c:v>45515.0</c:v>
                </c:pt>
                <c:pt idx="46">
                  <c:v>45522.0</c:v>
                </c:pt>
                <c:pt idx="47">
                  <c:v>45529.0</c:v>
                </c:pt>
                <c:pt idx="48">
                  <c:v>45536.0</c:v>
                </c:pt>
                <c:pt idx="49">
                  <c:v>45543.0</c:v>
                </c:pt>
                <c:pt idx="50">
                  <c:v>45550.0</c:v>
                </c:pt>
                <c:pt idx="51">
                  <c:v>45571.0</c:v>
                </c:pt>
                <c:pt idx="52">
                  <c:v>45585.0</c:v>
                </c:pt>
                <c:pt idx="53">
                  <c:v>45599.0</c:v>
                </c:pt>
                <c:pt idx="54">
                  <c:v>45620.0</c:v>
                </c:pt>
                <c:pt idx="55">
                  <c:v>45627.0</c:v>
                </c:pt>
                <c:pt idx="56">
                  <c:v>45634.0</c:v>
                </c:pt>
                <c:pt idx="57">
                  <c:v>45648.0</c:v>
                </c:pt>
                <c:pt idx="58">
                  <c:v>45655.0</c:v>
                </c:pt>
                <c:pt idx="59">
                  <c:v>45662.0</c:v>
                </c:pt>
                <c:pt idx="60">
                  <c:v>45669.0</c:v>
                </c:pt>
                <c:pt idx="61">
                  <c:v>45676.0</c:v>
                </c:pt>
                <c:pt idx="62">
                  <c:v>45683.0</c:v>
                </c:pt>
              </c:numCache>
            </c:numRef>
          </c:cat>
          <c:val>
            <c:numRef>
              <c:f>Sheet1!$F$2:$F$64</c:f>
              <c:numCache>
                <c:formatCode>General</c:formatCode>
                <c:ptCount val="6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92</c:v>
                </c:pt>
                <c:pt idx="33">
                  <c:v>1.0</c:v>
                </c:pt>
                <c:pt idx="34">
                  <c:v>1.0</c:v>
                </c:pt>
                <c:pt idx="35">
                  <c:v>1.0</c:v>
                </c:pt>
                <c:pt idx="36">
                  <c:v>1.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1.0</c:v>
                </c:pt>
                <c:pt idx="56">
                  <c:v>0.0</c:v>
                </c:pt>
                <c:pt idx="57">
                  <c:v>0.0</c:v>
                </c:pt>
                <c:pt idx="58">
                  <c:v>0.0</c:v>
                </c:pt>
                <c:pt idx="59">
                  <c:v>0.0</c:v>
                </c:pt>
                <c:pt idx="60">
                  <c:v>0.0</c:v>
                </c:pt>
                <c:pt idx="61">
                  <c:v>0.0</c:v>
                </c:pt>
                <c:pt idx="62">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9</c:f>
              <c:numCache>
                <c:formatCode>yyyy\-mm\-dd</c:formatCode>
                <c:ptCount val="7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8.0</c:v>
                </c:pt>
                <c:pt idx="74">
                  <c:v>45655.0</c:v>
                </c:pt>
                <c:pt idx="75">
                  <c:v>45662.0</c:v>
                </c:pt>
                <c:pt idx="76">
                  <c:v>45669.0</c:v>
                </c:pt>
                <c:pt idx="77">
                  <c:v>45683.0</c:v>
                </c:pt>
              </c:numCache>
            </c:numRef>
          </c:cat>
          <c:val>
            <c:numRef>
              <c:f>Sheet1!$B$2:$B$79</c:f>
              <c:numCache>
                <c:formatCode>General</c:formatCode>
                <c:ptCount val="7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412.0</c:v>
                </c:pt>
                <c:pt idx="40">
                  <c:v>2946.0</c:v>
                </c:pt>
                <c:pt idx="41">
                  <c:v>1800.0</c:v>
                </c:pt>
                <c:pt idx="42">
                  <c:v>1620.0</c:v>
                </c:pt>
                <c:pt idx="43">
                  <c:v>36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860.0</c:v>
                </c:pt>
                <c:pt idx="72">
                  <c:v>0.0</c:v>
                </c:pt>
                <c:pt idx="73">
                  <c:v>0.0</c:v>
                </c:pt>
                <c:pt idx="74">
                  <c:v>0.0</c:v>
                </c:pt>
                <c:pt idx="75">
                  <c:v>0.0</c:v>
                </c:pt>
                <c:pt idx="76">
                  <c:v>0.0</c:v>
                </c:pt>
                <c:pt idx="77">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9</c:f>
              <c:numCache>
                <c:formatCode>yyyy\-mm\-dd</c:formatCode>
                <c:ptCount val="7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8.0</c:v>
                </c:pt>
                <c:pt idx="74">
                  <c:v>45655.0</c:v>
                </c:pt>
                <c:pt idx="75">
                  <c:v>45662.0</c:v>
                </c:pt>
                <c:pt idx="76">
                  <c:v>45669.0</c:v>
                </c:pt>
                <c:pt idx="77">
                  <c:v>45683.0</c:v>
                </c:pt>
              </c:numCache>
            </c:numRef>
          </c:cat>
          <c:val>
            <c:numRef>
              <c:f>Sheet1!$C$2:$C$79</c:f>
              <c:numCache>
                <c:formatCode>General</c:formatCode>
                <c:ptCount val="78"/>
                <c:pt idx="0">
                  <c:v>450.0</c:v>
                </c:pt>
                <c:pt idx="1">
                  <c:v>333.0</c:v>
                </c:pt>
                <c:pt idx="2">
                  <c:v>185.0</c:v>
                </c:pt>
                <c:pt idx="3">
                  <c:v>594.0</c:v>
                </c:pt>
                <c:pt idx="4">
                  <c:v>370.0</c:v>
                </c:pt>
                <c:pt idx="5">
                  <c:v>187.0</c:v>
                </c:pt>
                <c:pt idx="6">
                  <c:v>481.0</c:v>
                </c:pt>
                <c:pt idx="7">
                  <c:v>335.0</c:v>
                </c:pt>
                <c:pt idx="8">
                  <c:v>409.0</c:v>
                </c:pt>
                <c:pt idx="9">
                  <c:v>185.0</c:v>
                </c:pt>
                <c:pt idx="10">
                  <c:v>333.0</c:v>
                </c:pt>
                <c:pt idx="11">
                  <c:v>259.0</c:v>
                </c:pt>
                <c:pt idx="12">
                  <c:v>671.0</c:v>
                </c:pt>
                <c:pt idx="13">
                  <c:v>518.0</c:v>
                </c:pt>
                <c:pt idx="14">
                  <c:v>296.0</c:v>
                </c:pt>
                <c:pt idx="15">
                  <c:v>148.0</c:v>
                </c:pt>
                <c:pt idx="16">
                  <c:v>449.0</c:v>
                </c:pt>
                <c:pt idx="17">
                  <c:v>372.0</c:v>
                </c:pt>
                <c:pt idx="18">
                  <c:v>298.0</c:v>
                </c:pt>
                <c:pt idx="19">
                  <c:v>1404.0</c:v>
                </c:pt>
                <c:pt idx="20">
                  <c:v>444.0</c:v>
                </c:pt>
                <c:pt idx="21">
                  <c:v>370.0</c:v>
                </c:pt>
                <c:pt idx="22">
                  <c:v>815.0</c:v>
                </c:pt>
                <c:pt idx="23">
                  <c:v>926.0</c:v>
                </c:pt>
                <c:pt idx="24">
                  <c:v>298.0</c:v>
                </c:pt>
                <c:pt idx="25">
                  <c:v>259.0</c:v>
                </c:pt>
                <c:pt idx="26">
                  <c:v>520.0</c:v>
                </c:pt>
                <c:pt idx="27">
                  <c:v>189.0</c:v>
                </c:pt>
                <c:pt idx="28">
                  <c:v>259.0</c:v>
                </c:pt>
                <c:pt idx="29">
                  <c:v>261.0</c:v>
                </c:pt>
                <c:pt idx="30">
                  <c:v>409.0</c:v>
                </c:pt>
                <c:pt idx="31">
                  <c:v>484.0</c:v>
                </c:pt>
                <c:pt idx="32">
                  <c:v>37.0</c:v>
                </c:pt>
                <c:pt idx="33">
                  <c:v>222.0</c:v>
                </c:pt>
                <c:pt idx="34">
                  <c:v>294.0</c:v>
                </c:pt>
                <c:pt idx="35">
                  <c:v>962.0</c:v>
                </c:pt>
                <c:pt idx="36">
                  <c:v>333.0</c:v>
                </c:pt>
                <c:pt idx="37">
                  <c:v>1182.0</c:v>
                </c:pt>
                <c:pt idx="38">
                  <c:v>148.0</c:v>
                </c:pt>
                <c:pt idx="39">
                  <c:v>74.0</c:v>
                </c:pt>
                <c:pt idx="40">
                  <c:v>0.0</c:v>
                </c:pt>
                <c:pt idx="41">
                  <c:v>0.0</c:v>
                </c:pt>
                <c:pt idx="42">
                  <c:v>0.0</c:v>
                </c:pt>
                <c:pt idx="43">
                  <c:v>407.0</c:v>
                </c:pt>
                <c:pt idx="44">
                  <c:v>259.0</c:v>
                </c:pt>
                <c:pt idx="45">
                  <c:v>333.0</c:v>
                </c:pt>
                <c:pt idx="46">
                  <c:v>187.0</c:v>
                </c:pt>
                <c:pt idx="47">
                  <c:v>786.0</c:v>
                </c:pt>
                <c:pt idx="48">
                  <c:v>409.0</c:v>
                </c:pt>
                <c:pt idx="49">
                  <c:v>444.0</c:v>
                </c:pt>
                <c:pt idx="50">
                  <c:v>259.0</c:v>
                </c:pt>
                <c:pt idx="51">
                  <c:v>335.0</c:v>
                </c:pt>
                <c:pt idx="52">
                  <c:v>185.0</c:v>
                </c:pt>
                <c:pt idx="53">
                  <c:v>148.0</c:v>
                </c:pt>
                <c:pt idx="54">
                  <c:v>76.0</c:v>
                </c:pt>
                <c:pt idx="55">
                  <c:v>222.0</c:v>
                </c:pt>
                <c:pt idx="56">
                  <c:v>259.0</c:v>
                </c:pt>
                <c:pt idx="57">
                  <c:v>369.0</c:v>
                </c:pt>
                <c:pt idx="58">
                  <c:v>187.0</c:v>
                </c:pt>
                <c:pt idx="59">
                  <c:v>336.0</c:v>
                </c:pt>
                <c:pt idx="60">
                  <c:v>259.0</c:v>
                </c:pt>
                <c:pt idx="61">
                  <c:v>289.0</c:v>
                </c:pt>
                <c:pt idx="62">
                  <c:v>222.0</c:v>
                </c:pt>
                <c:pt idx="63">
                  <c:v>259.0</c:v>
                </c:pt>
                <c:pt idx="64">
                  <c:v>148.0</c:v>
                </c:pt>
                <c:pt idx="65">
                  <c:v>222.0</c:v>
                </c:pt>
                <c:pt idx="66">
                  <c:v>111.0</c:v>
                </c:pt>
                <c:pt idx="67">
                  <c:v>150.0</c:v>
                </c:pt>
                <c:pt idx="68">
                  <c:v>261.0</c:v>
                </c:pt>
                <c:pt idx="69">
                  <c:v>296.0</c:v>
                </c:pt>
                <c:pt idx="70">
                  <c:v>259.0</c:v>
                </c:pt>
                <c:pt idx="71">
                  <c:v>75.0</c:v>
                </c:pt>
                <c:pt idx="72">
                  <c:v>545.0</c:v>
                </c:pt>
                <c:pt idx="73">
                  <c:v>111.0</c:v>
                </c:pt>
                <c:pt idx="74">
                  <c:v>37.0</c:v>
                </c:pt>
                <c:pt idx="75">
                  <c:v>37.0</c:v>
                </c:pt>
                <c:pt idx="76">
                  <c:v>76.0</c:v>
                </c:pt>
                <c:pt idx="77">
                  <c:v>18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9</c:f>
              <c:numCache>
                <c:formatCode>yyyy\-mm\-dd</c:formatCode>
                <c:ptCount val="7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8.0</c:v>
                </c:pt>
                <c:pt idx="74">
                  <c:v>45655.0</c:v>
                </c:pt>
                <c:pt idx="75">
                  <c:v>45662.0</c:v>
                </c:pt>
                <c:pt idx="76">
                  <c:v>45669.0</c:v>
                </c:pt>
                <c:pt idx="77">
                  <c:v>45683.0</c:v>
                </c:pt>
              </c:numCache>
            </c:numRef>
          </c:cat>
          <c:val>
            <c:numRef>
              <c:f>Sheet1!$D$2:$D$79</c:f>
              <c:numCache>
                <c:formatCode>General</c:formatCode>
                <c:ptCount val="78"/>
                <c:pt idx="0">
                  <c:v>450.0</c:v>
                </c:pt>
                <c:pt idx="1">
                  <c:v>333.0</c:v>
                </c:pt>
                <c:pt idx="2">
                  <c:v>185.0</c:v>
                </c:pt>
                <c:pt idx="3">
                  <c:v>594.0</c:v>
                </c:pt>
                <c:pt idx="4">
                  <c:v>370.0</c:v>
                </c:pt>
                <c:pt idx="5">
                  <c:v>187.0</c:v>
                </c:pt>
                <c:pt idx="6">
                  <c:v>481.0</c:v>
                </c:pt>
                <c:pt idx="7">
                  <c:v>335.0</c:v>
                </c:pt>
                <c:pt idx="8">
                  <c:v>409.0</c:v>
                </c:pt>
                <c:pt idx="9">
                  <c:v>185.0</c:v>
                </c:pt>
                <c:pt idx="10">
                  <c:v>333.0</c:v>
                </c:pt>
                <c:pt idx="11">
                  <c:v>259.0</c:v>
                </c:pt>
                <c:pt idx="12">
                  <c:v>671.0</c:v>
                </c:pt>
                <c:pt idx="13">
                  <c:v>518.0</c:v>
                </c:pt>
                <c:pt idx="14">
                  <c:v>296.0</c:v>
                </c:pt>
                <c:pt idx="15">
                  <c:v>148.0</c:v>
                </c:pt>
                <c:pt idx="16">
                  <c:v>449.0</c:v>
                </c:pt>
                <c:pt idx="17">
                  <c:v>372.0</c:v>
                </c:pt>
                <c:pt idx="18">
                  <c:v>298.0</c:v>
                </c:pt>
                <c:pt idx="19">
                  <c:v>1404.0</c:v>
                </c:pt>
                <c:pt idx="20">
                  <c:v>444.0</c:v>
                </c:pt>
                <c:pt idx="21">
                  <c:v>370.0</c:v>
                </c:pt>
                <c:pt idx="22">
                  <c:v>815.0</c:v>
                </c:pt>
                <c:pt idx="23">
                  <c:v>926.0</c:v>
                </c:pt>
                <c:pt idx="24">
                  <c:v>298.0</c:v>
                </c:pt>
                <c:pt idx="25">
                  <c:v>259.0</c:v>
                </c:pt>
                <c:pt idx="26">
                  <c:v>520.0</c:v>
                </c:pt>
                <c:pt idx="27">
                  <c:v>189.0</c:v>
                </c:pt>
                <c:pt idx="28">
                  <c:v>259.0</c:v>
                </c:pt>
                <c:pt idx="29">
                  <c:v>261.0</c:v>
                </c:pt>
                <c:pt idx="30">
                  <c:v>409.0</c:v>
                </c:pt>
                <c:pt idx="31">
                  <c:v>484.0</c:v>
                </c:pt>
                <c:pt idx="32">
                  <c:v>37.0</c:v>
                </c:pt>
                <c:pt idx="33">
                  <c:v>222.0</c:v>
                </c:pt>
                <c:pt idx="34">
                  <c:v>294.0</c:v>
                </c:pt>
                <c:pt idx="35">
                  <c:v>962.0</c:v>
                </c:pt>
                <c:pt idx="36">
                  <c:v>333.0</c:v>
                </c:pt>
                <c:pt idx="37">
                  <c:v>1182.0</c:v>
                </c:pt>
                <c:pt idx="38">
                  <c:v>148.0</c:v>
                </c:pt>
                <c:pt idx="39">
                  <c:v>1486.0</c:v>
                </c:pt>
                <c:pt idx="40">
                  <c:v>2946.0</c:v>
                </c:pt>
                <c:pt idx="41">
                  <c:v>1800.0</c:v>
                </c:pt>
                <c:pt idx="42">
                  <c:v>1620.0</c:v>
                </c:pt>
                <c:pt idx="43">
                  <c:v>767.0</c:v>
                </c:pt>
                <c:pt idx="44">
                  <c:v>259.0</c:v>
                </c:pt>
                <c:pt idx="45">
                  <c:v>333.0</c:v>
                </c:pt>
                <c:pt idx="46">
                  <c:v>187.0</c:v>
                </c:pt>
                <c:pt idx="47">
                  <c:v>786.0</c:v>
                </c:pt>
                <c:pt idx="48">
                  <c:v>409.0</c:v>
                </c:pt>
                <c:pt idx="49">
                  <c:v>444.0</c:v>
                </c:pt>
                <c:pt idx="50">
                  <c:v>259.0</c:v>
                </c:pt>
                <c:pt idx="51">
                  <c:v>335.0</c:v>
                </c:pt>
                <c:pt idx="52">
                  <c:v>185.0</c:v>
                </c:pt>
                <c:pt idx="53">
                  <c:v>148.0</c:v>
                </c:pt>
                <c:pt idx="54">
                  <c:v>76.0</c:v>
                </c:pt>
                <c:pt idx="55">
                  <c:v>222.0</c:v>
                </c:pt>
                <c:pt idx="56">
                  <c:v>259.0</c:v>
                </c:pt>
                <c:pt idx="57">
                  <c:v>369.0</c:v>
                </c:pt>
                <c:pt idx="58">
                  <c:v>187.0</c:v>
                </c:pt>
                <c:pt idx="59">
                  <c:v>336.0</c:v>
                </c:pt>
                <c:pt idx="60">
                  <c:v>259.0</c:v>
                </c:pt>
                <c:pt idx="61">
                  <c:v>289.0</c:v>
                </c:pt>
                <c:pt idx="62">
                  <c:v>222.0</c:v>
                </c:pt>
                <c:pt idx="63">
                  <c:v>259.0</c:v>
                </c:pt>
                <c:pt idx="64">
                  <c:v>148.0</c:v>
                </c:pt>
                <c:pt idx="65">
                  <c:v>222.0</c:v>
                </c:pt>
                <c:pt idx="66">
                  <c:v>111.0</c:v>
                </c:pt>
                <c:pt idx="67">
                  <c:v>150.0</c:v>
                </c:pt>
                <c:pt idx="68">
                  <c:v>261.0</c:v>
                </c:pt>
                <c:pt idx="69">
                  <c:v>296.0</c:v>
                </c:pt>
                <c:pt idx="70">
                  <c:v>259.0</c:v>
                </c:pt>
                <c:pt idx="71">
                  <c:v>2935.0</c:v>
                </c:pt>
                <c:pt idx="72">
                  <c:v>545.0</c:v>
                </c:pt>
                <c:pt idx="73">
                  <c:v>111.0</c:v>
                </c:pt>
                <c:pt idx="74">
                  <c:v>37.0</c:v>
                </c:pt>
                <c:pt idx="75">
                  <c:v>37.0</c:v>
                </c:pt>
                <c:pt idx="76">
                  <c:v>76.0</c:v>
                </c:pt>
                <c:pt idx="77">
                  <c:v>18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9</c:f>
              <c:numCache>
                <c:formatCode>yyyy\-mm\-dd</c:formatCode>
                <c:ptCount val="7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8.0</c:v>
                </c:pt>
                <c:pt idx="74">
                  <c:v>45655.0</c:v>
                </c:pt>
                <c:pt idx="75">
                  <c:v>45662.0</c:v>
                </c:pt>
                <c:pt idx="76">
                  <c:v>45669.0</c:v>
                </c:pt>
                <c:pt idx="77">
                  <c:v>45683.0</c:v>
                </c:pt>
              </c:numCache>
            </c:numRef>
          </c:cat>
          <c:val>
            <c:numRef>
              <c:f>Sheet1!$E$2:$E$79</c:f>
              <c:numCache>
                <c:formatCode>General</c:formatCode>
                <c:ptCount val="78"/>
                <c:pt idx="0">
                  <c:v>670.0</c:v>
                </c:pt>
                <c:pt idx="1">
                  <c:v>518.0</c:v>
                </c:pt>
                <c:pt idx="2">
                  <c:v>482.0</c:v>
                </c:pt>
                <c:pt idx="3">
                  <c:v>596.0</c:v>
                </c:pt>
                <c:pt idx="4">
                  <c:v>444.0</c:v>
                </c:pt>
                <c:pt idx="5">
                  <c:v>560.0</c:v>
                </c:pt>
                <c:pt idx="6">
                  <c:v>408.0</c:v>
                </c:pt>
                <c:pt idx="7">
                  <c:v>522.0</c:v>
                </c:pt>
                <c:pt idx="8">
                  <c:v>486.0</c:v>
                </c:pt>
                <c:pt idx="9">
                  <c:v>334.0</c:v>
                </c:pt>
                <c:pt idx="10">
                  <c:v>296.0</c:v>
                </c:pt>
                <c:pt idx="11">
                  <c:v>296.0</c:v>
                </c:pt>
                <c:pt idx="12">
                  <c:v>486.0</c:v>
                </c:pt>
                <c:pt idx="13">
                  <c:v>334.0</c:v>
                </c:pt>
                <c:pt idx="14">
                  <c:v>334.0</c:v>
                </c:pt>
                <c:pt idx="15">
                  <c:v>296.0</c:v>
                </c:pt>
                <c:pt idx="16">
                  <c:v>448.0</c:v>
                </c:pt>
                <c:pt idx="17">
                  <c:v>448.0</c:v>
                </c:pt>
                <c:pt idx="18">
                  <c:v>448.0</c:v>
                </c:pt>
                <c:pt idx="19">
                  <c:v>1183.0</c:v>
                </c:pt>
                <c:pt idx="20">
                  <c:v>334.0</c:v>
                </c:pt>
                <c:pt idx="21">
                  <c:v>334.0</c:v>
                </c:pt>
                <c:pt idx="22">
                  <c:v>1040.0</c:v>
                </c:pt>
                <c:pt idx="23">
                  <c:v>968.0</c:v>
                </c:pt>
                <c:pt idx="24">
                  <c:v>818.0</c:v>
                </c:pt>
                <c:pt idx="25">
                  <c:v>370.0</c:v>
                </c:pt>
                <c:pt idx="26">
                  <c:v>706.0</c:v>
                </c:pt>
                <c:pt idx="27">
                  <c:v>410.0</c:v>
                </c:pt>
                <c:pt idx="28">
                  <c:v>370.0</c:v>
                </c:pt>
                <c:pt idx="29">
                  <c:v>632.0</c:v>
                </c:pt>
                <c:pt idx="30">
                  <c:v>632.0</c:v>
                </c:pt>
                <c:pt idx="31">
                  <c:v>670.0</c:v>
                </c:pt>
                <c:pt idx="32">
                  <c:v>260.0</c:v>
                </c:pt>
                <c:pt idx="33">
                  <c:v>260.0</c:v>
                </c:pt>
                <c:pt idx="34">
                  <c:v>408.0</c:v>
                </c:pt>
                <c:pt idx="35">
                  <c:v>336.0</c:v>
                </c:pt>
                <c:pt idx="36">
                  <c:v>446.0</c:v>
                </c:pt>
                <c:pt idx="37">
                  <c:v>520.0</c:v>
                </c:pt>
                <c:pt idx="38">
                  <c:v>222.0</c:v>
                </c:pt>
                <c:pt idx="39">
                  <c:v>596.0</c:v>
                </c:pt>
                <c:pt idx="40">
                  <c:v>522.0</c:v>
                </c:pt>
                <c:pt idx="41">
                  <c:v>446.0</c:v>
                </c:pt>
                <c:pt idx="42">
                  <c:v>446.0</c:v>
                </c:pt>
                <c:pt idx="43">
                  <c:v>518.0</c:v>
                </c:pt>
                <c:pt idx="44">
                  <c:v>518.0</c:v>
                </c:pt>
                <c:pt idx="45">
                  <c:v>222.0</c:v>
                </c:pt>
                <c:pt idx="46">
                  <c:v>558.0</c:v>
                </c:pt>
                <c:pt idx="47">
                  <c:v>634.0</c:v>
                </c:pt>
                <c:pt idx="48">
                  <c:v>598.0</c:v>
                </c:pt>
                <c:pt idx="49">
                  <c:v>446.0</c:v>
                </c:pt>
                <c:pt idx="50">
                  <c:v>372.0</c:v>
                </c:pt>
                <c:pt idx="51">
                  <c:v>524.0</c:v>
                </c:pt>
                <c:pt idx="52">
                  <c:v>334.0</c:v>
                </c:pt>
                <c:pt idx="53">
                  <c:v>334.0</c:v>
                </c:pt>
                <c:pt idx="54">
                  <c:v>152.0</c:v>
                </c:pt>
                <c:pt idx="55">
                  <c:v>296.0</c:v>
                </c:pt>
                <c:pt idx="56">
                  <c:v>260.0</c:v>
                </c:pt>
                <c:pt idx="57">
                  <c:v>296.0</c:v>
                </c:pt>
                <c:pt idx="58">
                  <c:v>412.0</c:v>
                </c:pt>
                <c:pt idx="59">
                  <c:v>412.0</c:v>
                </c:pt>
                <c:pt idx="60">
                  <c:v>260.0</c:v>
                </c:pt>
                <c:pt idx="61">
                  <c:v>224.0</c:v>
                </c:pt>
                <c:pt idx="62">
                  <c:v>224.0</c:v>
                </c:pt>
                <c:pt idx="63">
                  <c:v>224.0</c:v>
                </c:pt>
                <c:pt idx="64">
                  <c:v>224.0</c:v>
                </c:pt>
                <c:pt idx="65">
                  <c:v>224.0</c:v>
                </c:pt>
                <c:pt idx="66">
                  <c:v>112.0</c:v>
                </c:pt>
                <c:pt idx="67">
                  <c:v>264.0</c:v>
                </c:pt>
                <c:pt idx="68">
                  <c:v>376.0</c:v>
                </c:pt>
                <c:pt idx="69">
                  <c:v>224.0</c:v>
                </c:pt>
                <c:pt idx="70">
                  <c:v>224.0</c:v>
                </c:pt>
                <c:pt idx="71">
                  <c:v>224.0</c:v>
                </c:pt>
                <c:pt idx="72">
                  <c:v>412.0</c:v>
                </c:pt>
                <c:pt idx="73">
                  <c:v>148.0</c:v>
                </c:pt>
                <c:pt idx="74">
                  <c:v>148.0</c:v>
                </c:pt>
                <c:pt idx="75">
                  <c:v>148.0</c:v>
                </c:pt>
                <c:pt idx="76">
                  <c:v>152.0</c:v>
                </c:pt>
                <c:pt idx="77">
                  <c:v>14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9</c:f>
              <c:numCache>
                <c:formatCode>yyyy\-mm\-dd</c:formatCode>
                <c:ptCount val="78"/>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8.0</c:v>
                </c:pt>
                <c:pt idx="74">
                  <c:v>45655.0</c:v>
                </c:pt>
                <c:pt idx="75">
                  <c:v>45662.0</c:v>
                </c:pt>
                <c:pt idx="76">
                  <c:v>45669.0</c:v>
                </c:pt>
                <c:pt idx="77">
                  <c:v>45683.0</c:v>
                </c:pt>
              </c:numCache>
            </c:numRef>
          </c:cat>
          <c:val>
            <c:numRef>
              <c:f>Sheet1!$F$2:$F$79</c:f>
              <c:numCache>
                <c:formatCode>General</c:formatCode>
                <c:ptCount val="7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5</c:v>
                </c:pt>
                <c:pt idx="40">
                  <c:v>1.0</c:v>
                </c:pt>
                <c:pt idx="41">
                  <c:v>1.0</c:v>
                </c:pt>
                <c:pt idx="42">
                  <c:v>1.0</c:v>
                </c:pt>
                <c:pt idx="43">
                  <c:v>0.47</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99</c:v>
                </c:pt>
                <c:pt idx="72">
                  <c:v>0.0</c:v>
                </c:pt>
                <c:pt idx="73">
                  <c:v>0.0</c:v>
                </c:pt>
                <c:pt idx="74">
                  <c:v>0.0</c:v>
                </c:pt>
                <c:pt idx="75">
                  <c:v>0.0</c:v>
                </c:pt>
                <c:pt idx="76">
                  <c:v>0.0</c:v>
                </c:pt>
                <c:pt idx="77">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0</c:f>
              <c:numCache>
                <c:formatCode>yyyy\-mm\-dd</c:formatCode>
                <c:ptCount val="79"/>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7.0</c:v>
                </c:pt>
                <c:pt idx="61">
                  <c:v>45564.0</c:v>
                </c:pt>
                <c:pt idx="62">
                  <c:v>45571.0</c:v>
                </c:pt>
                <c:pt idx="63">
                  <c:v>45578.0</c:v>
                </c:pt>
                <c:pt idx="64">
                  <c:v>45585.0</c:v>
                </c:pt>
                <c:pt idx="65">
                  <c:v>45592.0</c:v>
                </c:pt>
                <c:pt idx="66">
                  <c:v>45599.0</c:v>
                </c:pt>
                <c:pt idx="67">
                  <c:v>45606.0</c:v>
                </c:pt>
                <c:pt idx="68">
                  <c:v>45613.0</c:v>
                </c:pt>
                <c:pt idx="69">
                  <c:v>45620.0</c:v>
                </c:pt>
                <c:pt idx="70">
                  <c:v>45627.0</c:v>
                </c:pt>
                <c:pt idx="71">
                  <c:v>45634.0</c:v>
                </c:pt>
                <c:pt idx="72">
                  <c:v>45641.0</c:v>
                </c:pt>
                <c:pt idx="73">
                  <c:v>45648.0</c:v>
                </c:pt>
                <c:pt idx="74">
                  <c:v>45655.0</c:v>
                </c:pt>
                <c:pt idx="75">
                  <c:v>45662.0</c:v>
                </c:pt>
                <c:pt idx="76">
                  <c:v>45669.0</c:v>
                </c:pt>
                <c:pt idx="77">
                  <c:v>45676.0</c:v>
                </c:pt>
                <c:pt idx="78">
                  <c:v>45683.0</c:v>
                </c:pt>
              </c:numCache>
            </c:numRef>
          </c:cat>
          <c:val>
            <c:numRef>
              <c:f>Sheet1!$B$2:$B$80</c:f>
              <c:numCache>
                <c:formatCode>General</c:formatCode>
                <c:ptCount val="7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466.0</c:v>
                </c:pt>
                <c:pt idx="40">
                  <c:v>3006.0</c:v>
                </c:pt>
                <c:pt idx="41">
                  <c:v>2916.0</c:v>
                </c:pt>
                <c:pt idx="42">
                  <c:v>2224.0</c:v>
                </c:pt>
                <c:pt idx="43">
                  <c:v>90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3148.0</c:v>
                </c:pt>
                <c:pt idx="71">
                  <c:v>0.0</c:v>
                </c:pt>
                <c:pt idx="72">
                  <c:v>0.0</c:v>
                </c:pt>
                <c:pt idx="73">
                  <c:v>0.0</c:v>
                </c:pt>
                <c:pt idx="74">
                  <c:v>0.0</c:v>
                </c:pt>
                <c:pt idx="75">
                  <c:v>0.0</c:v>
                </c:pt>
                <c:pt idx="76">
                  <c:v>0.0</c:v>
                </c:pt>
                <c:pt idx="77">
                  <c:v>0.0</c:v>
                </c:pt>
                <c:pt idx="78">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0</c:f>
              <c:numCache>
                <c:formatCode>yyyy\-mm\-dd</c:formatCode>
                <c:ptCount val="79"/>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7.0</c:v>
                </c:pt>
                <c:pt idx="61">
                  <c:v>45564.0</c:v>
                </c:pt>
                <c:pt idx="62">
                  <c:v>45571.0</c:v>
                </c:pt>
                <c:pt idx="63">
                  <c:v>45578.0</c:v>
                </c:pt>
                <c:pt idx="64">
                  <c:v>45585.0</c:v>
                </c:pt>
                <c:pt idx="65">
                  <c:v>45592.0</c:v>
                </c:pt>
                <c:pt idx="66">
                  <c:v>45599.0</c:v>
                </c:pt>
                <c:pt idx="67">
                  <c:v>45606.0</c:v>
                </c:pt>
                <c:pt idx="68">
                  <c:v>45613.0</c:v>
                </c:pt>
                <c:pt idx="69">
                  <c:v>45620.0</c:v>
                </c:pt>
                <c:pt idx="70">
                  <c:v>45627.0</c:v>
                </c:pt>
                <c:pt idx="71">
                  <c:v>45634.0</c:v>
                </c:pt>
                <c:pt idx="72">
                  <c:v>45641.0</c:v>
                </c:pt>
                <c:pt idx="73">
                  <c:v>45648.0</c:v>
                </c:pt>
                <c:pt idx="74">
                  <c:v>45655.0</c:v>
                </c:pt>
                <c:pt idx="75">
                  <c:v>45662.0</c:v>
                </c:pt>
                <c:pt idx="76">
                  <c:v>45669.0</c:v>
                </c:pt>
                <c:pt idx="77">
                  <c:v>45676.0</c:v>
                </c:pt>
                <c:pt idx="78">
                  <c:v>45683.0</c:v>
                </c:pt>
              </c:numCache>
            </c:numRef>
          </c:cat>
          <c:val>
            <c:numRef>
              <c:f>Sheet1!$C$2:$C$80</c:f>
              <c:numCache>
                <c:formatCode>General</c:formatCode>
                <c:ptCount val="79"/>
                <c:pt idx="0">
                  <c:v>593.0</c:v>
                </c:pt>
                <c:pt idx="1">
                  <c:v>1267.0</c:v>
                </c:pt>
                <c:pt idx="2">
                  <c:v>448.0</c:v>
                </c:pt>
                <c:pt idx="3">
                  <c:v>1165.0</c:v>
                </c:pt>
                <c:pt idx="4">
                  <c:v>561.0</c:v>
                </c:pt>
                <c:pt idx="5">
                  <c:v>407.0</c:v>
                </c:pt>
                <c:pt idx="6">
                  <c:v>707.0</c:v>
                </c:pt>
                <c:pt idx="7">
                  <c:v>925.0</c:v>
                </c:pt>
                <c:pt idx="8">
                  <c:v>518.0</c:v>
                </c:pt>
                <c:pt idx="9">
                  <c:v>960.0</c:v>
                </c:pt>
                <c:pt idx="10">
                  <c:v>741.0</c:v>
                </c:pt>
                <c:pt idx="11">
                  <c:v>559.0</c:v>
                </c:pt>
                <c:pt idx="12">
                  <c:v>1589.0</c:v>
                </c:pt>
                <c:pt idx="13">
                  <c:v>1000.0</c:v>
                </c:pt>
                <c:pt idx="14">
                  <c:v>520.0</c:v>
                </c:pt>
                <c:pt idx="15">
                  <c:v>259.0</c:v>
                </c:pt>
                <c:pt idx="16">
                  <c:v>598.0</c:v>
                </c:pt>
                <c:pt idx="17">
                  <c:v>333.0</c:v>
                </c:pt>
                <c:pt idx="18">
                  <c:v>705.0</c:v>
                </c:pt>
                <c:pt idx="19">
                  <c:v>594.0</c:v>
                </c:pt>
                <c:pt idx="20">
                  <c:v>522.0</c:v>
                </c:pt>
                <c:pt idx="21">
                  <c:v>670.0</c:v>
                </c:pt>
                <c:pt idx="22">
                  <c:v>1298.0</c:v>
                </c:pt>
                <c:pt idx="23">
                  <c:v>1664.0</c:v>
                </c:pt>
                <c:pt idx="24">
                  <c:v>776.0</c:v>
                </c:pt>
                <c:pt idx="25">
                  <c:v>813.0</c:v>
                </c:pt>
                <c:pt idx="26">
                  <c:v>296.0</c:v>
                </c:pt>
                <c:pt idx="27">
                  <c:v>222.0</c:v>
                </c:pt>
                <c:pt idx="28">
                  <c:v>296.0</c:v>
                </c:pt>
                <c:pt idx="29">
                  <c:v>298.0</c:v>
                </c:pt>
                <c:pt idx="30">
                  <c:v>407.0</c:v>
                </c:pt>
                <c:pt idx="31">
                  <c:v>702.0</c:v>
                </c:pt>
                <c:pt idx="32">
                  <c:v>111.0</c:v>
                </c:pt>
                <c:pt idx="33">
                  <c:v>370.0</c:v>
                </c:pt>
                <c:pt idx="34">
                  <c:v>557.0</c:v>
                </c:pt>
                <c:pt idx="35">
                  <c:v>261.0</c:v>
                </c:pt>
                <c:pt idx="36">
                  <c:v>555.0</c:v>
                </c:pt>
                <c:pt idx="37">
                  <c:v>481.0</c:v>
                </c:pt>
                <c:pt idx="38">
                  <c:v>222.0</c:v>
                </c:pt>
                <c:pt idx="39">
                  <c:v>37.0</c:v>
                </c:pt>
                <c:pt idx="40">
                  <c:v>0.0</c:v>
                </c:pt>
                <c:pt idx="41">
                  <c:v>0.0</c:v>
                </c:pt>
                <c:pt idx="42">
                  <c:v>0.0</c:v>
                </c:pt>
                <c:pt idx="43">
                  <c:v>76.0</c:v>
                </c:pt>
                <c:pt idx="44">
                  <c:v>224.0</c:v>
                </c:pt>
                <c:pt idx="45">
                  <c:v>479.0</c:v>
                </c:pt>
                <c:pt idx="46">
                  <c:v>185.0</c:v>
                </c:pt>
                <c:pt idx="47">
                  <c:v>446.0</c:v>
                </c:pt>
                <c:pt idx="48">
                  <c:v>703.0</c:v>
                </c:pt>
                <c:pt idx="49">
                  <c:v>592.0</c:v>
                </c:pt>
                <c:pt idx="50">
                  <c:v>370.0</c:v>
                </c:pt>
                <c:pt idx="51">
                  <c:v>374.0</c:v>
                </c:pt>
                <c:pt idx="52">
                  <c:v>480.0</c:v>
                </c:pt>
                <c:pt idx="53">
                  <c:v>224.0</c:v>
                </c:pt>
                <c:pt idx="54">
                  <c:v>336.0</c:v>
                </c:pt>
                <c:pt idx="55">
                  <c:v>148.0</c:v>
                </c:pt>
                <c:pt idx="56">
                  <c:v>335.0</c:v>
                </c:pt>
                <c:pt idx="57">
                  <c:v>481.0</c:v>
                </c:pt>
                <c:pt idx="58">
                  <c:v>335.0</c:v>
                </c:pt>
                <c:pt idx="59">
                  <c:v>148.0</c:v>
                </c:pt>
                <c:pt idx="60">
                  <c:v>187.0</c:v>
                </c:pt>
                <c:pt idx="61">
                  <c:v>701.0</c:v>
                </c:pt>
                <c:pt idx="62">
                  <c:v>185.0</c:v>
                </c:pt>
                <c:pt idx="63">
                  <c:v>111.0</c:v>
                </c:pt>
                <c:pt idx="64">
                  <c:v>369.0</c:v>
                </c:pt>
                <c:pt idx="65">
                  <c:v>259.0</c:v>
                </c:pt>
                <c:pt idx="66">
                  <c:v>222.0</c:v>
                </c:pt>
                <c:pt idx="67">
                  <c:v>222.0</c:v>
                </c:pt>
                <c:pt idx="68">
                  <c:v>406.0</c:v>
                </c:pt>
                <c:pt idx="69">
                  <c:v>333.0</c:v>
                </c:pt>
                <c:pt idx="70">
                  <c:v>38.0</c:v>
                </c:pt>
                <c:pt idx="71">
                  <c:v>111.0</c:v>
                </c:pt>
                <c:pt idx="72">
                  <c:v>261.0</c:v>
                </c:pt>
                <c:pt idx="73">
                  <c:v>335.0</c:v>
                </c:pt>
                <c:pt idx="74">
                  <c:v>296.0</c:v>
                </c:pt>
                <c:pt idx="75">
                  <c:v>37.0</c:v>
                </c:pt>
                <c:pt idx="76">
                  <c:v>370.0</c:v>
                </c:pt>
                <c:pt idx="77">
                  <c:v>150.0</c:v>
                </c:pt>
                <c:pt idx="78">
                  <c:v>148.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0</c:f>
              <c:numCache>
                <c:formatCode>yyyy\-mm\-dd</c:formatCode>
                <c:ptCount val="79"/>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7.0</c:v>
                </c:pt>
                <c:pt idx="61">
                  <c:v>45564.0</c:v>
                </c:pt>
                <c:pt idx="62">
                  <c:v>45571.0</c:v>
                </c:pt>
                <c:pt idx="63">
                  <c:v>45578.0</c:v>
                </c:pt>
                <c:pt idx="64">
                  <c:v>45585.0</c:v>
                </c:pt>
                <c:pt idx="65">
                  <c:v>45592.0</c:v>
                </c:pt>
                <c:pt idx="66">
                  <c:v>45599.0</c:v>
                </c:pt>
                <c:pt idx="67">
                  <c:v>45606.0</c:v>
                </c:pt>
                <c:pt idx="68">
                  <c:v>45613.0</c:v>
                </c:pt>
                <c:pt idx="69">
                  <c:v>45620.0</c:v>
                </c:pt>
                <c:pt idx="70">
                  <c:v>45627.0</c:v>
                </c:pt>
                <c:pt idx="71">
                  <c:v>45634.0</c:v>
                </c:pt>
                <c:pt idx="72">
                  <c:v>45641.0</c:v>
                </c:pt>
                <c:pt idx="73">
                  <c:v>45648.0</c:v>
                </c:pt>
                <c:pt idx="74">
                  <c:v>45655.0</c:v>
                </c:pt>
                <c:pt idx="75">
                  <c:v>45662.0</c:v>
                </c:pt>
                <c:pt idx="76">
                  <c:v>45669.0</c:v>
                </c:pt>
                <c:pt idx="77">
                  <c:v>45676.0</c:v>
                </c:pt>
                <c:pt idx="78">
                  <c:v>45683.0</c:v>
                </c:pt>
              </c:numCache>
            </c:numRef>
          </c:cat>
          <c:val>
            <c:numRef>
              <c:f>Sheet1!$D$2:$D$80</c:f>
              <c:numCache>
                <c:formatCode>General</c:formatCode>
                <c:ptCount val="79"/>
                <c:pt idx="0">
                  <c:v>593.0</c:v>
                </c:pt>
                <c:pt idx="1">
                  <c:v>1267.0</c:v>
                </c:pt>
                <c:pt idx="2">
                  <c:v>448.0</c:v>
                </c:pt>
                <c:pt idx="3">
                  <c:v>1165.0</c:v>
                </c:pt>
                <c:pt idx="4">
                  <c:v>561.0</c:v>
                </c:pt>
                <c:pt idx="5">
                  <c:v>407.0</c:v>
                </c:pt>
                <c:pt idx="6">
                  <c:v>707.0</c:v>
                </c:pt>
                <c:pt idx="7">
                  <c:v>925.0</c:v>
                </c:pt>
                <c:pt idx="8">
                  <c:v>518.0</c:v>
                </c:pt>
                <c:pt idx="9">
                  <c:v>960.0</c:v>
                </c:pt>
                <c:pt idx="10">
                  <c:v>741.0</c:v>
                </c:pt>
                <c:pt idx="11">
                  <c:v>559.0</c:v>
                </c:pt>
                <c:pt idx="12">
                  <c:v>1589.0</c:v>
                </c:pt>
                <c:pt idx="13">
                  <c:v>1000.0</c:v>
                </c:pt>
                <c:pt idx="14">
                  <c:v>520.0</c:v>
                </c:pt>
                <c:pt idx="15">
                  <c:v>259.0</c:v>
                </c:pt>
                <c:pt idx="16">
                  <c:v>598.0</c:v>
                </c:pt>
                <c:pt idx="17">
                  <c:v>333.0</c:v>
                </c:pt>
                <c:pt idx="18">
                  <c:v>705.0</c:v>
                </c:pt>
                <c:pt idx="19">
                  <c:v>594.0</c:v>
                </c:pt>
                <c:pt idx="20">
                  <c:v>522.0</c:v>
                </c:pt>
                <c:pt idx="21">
                  <c:v>670.0</c:v>
                </c:pt>
                <c:pt idx="22">
                  <c:v>1298.0</c:v>
                </c:pt>
                <c:pt idx="23">
                  <c:v>1664.0</c:v>
                </c:pt>
                <c:pt idx="24">
                  <c:v>776.0</c:v>
                </c:pt>
                <c:pt idx="25">
                  <c:v>813.0</c:v>
                </c:pt>
                <c:pt idx="26">
                  <c:v>296.0</c:v>
                </c:pt>
                <c:pt idx="27">
                  <c:v>222.0</c:v>
                </c:pt>
                <c:pt idx="28">
                  <c:v>296.0</c:v>
                </c:pt>
                <c:pt idx="29">
                  <c:v>298.0</c:v>
                </c:pt>
                <c:pt idx="30">
                  <c:v>407.0</c:v>
                </c:pt>
                <c:pt idx="31">
                  <c:v>702.0</c:v>
                </c:pt>
                <c:pt idx="32">
                  <c:v>111.0</c:v>
                </c:pt>
                <c:pt idx="33">
                  <c:v>370.0</c:v>
                </c:pt>
                <c:pt idx="34">
                  <c:v>557.0</c:v>
                </c:pt>
                <c:pt idx="35">
                  <c:v>261.0</c:v>
                </c:pt>
                <c:pt idx="36">
                  <c:v>555.0</c:v>
                </c:pt>
                <c:pt idx="37">
                  <c:v>481.0</c:v>
                </c:pt>
                <c:pt idx="38">
                  <c:v>222.0</c:v>
                </c:pt>
                <c:pt idx="39">
                  <c:v>2503.0</c:v>
                </c:pt>
                <c:pt idx="40">
                  <c:v>3006.0</c:v>
                </c:pt>
                <c:pt idx="41">
                  <c:v>2916.0</c:v>
                </c:pt>
                <c:pt idx="42">
                  <c:v>2224.0</c:v>
                </c:pt>
                <c:pt idx="43">
                  <c:v>976.0</c:v>
                </c:pt>
                <c:pt idx="44">
                  <c:v>224.0</c:v>
                </c:pt>
                <c:pt idx="45">
                  <c:v>479.0</c:v>
                </c:pt>
                <c:pt idx="46">
                  <c:v>185.0</c:v>
                </c:pt>
                <c:pt idx="47">
                  <c:v>446.0</c:v>
                </c:pt>
                <c:pt idx="48">
                  <c:v>703.0</c:v>
                </c:pt>
                <c:pt idx="49">
                  <c:v>592.0</c:v>
                </c:pt>
                <c:pt idx="50">
                  <c:v>370.0</c:v>
                </c:pt>
                <c:pt idx="51">
                  <c:v>374.0</c:v>
                </c:pt>
                <c:pt idx="52">
                  <c:v>480.0</c:v>
                </c:pt>
                <c:pt idx="53">
                  <c:v>224.0</c:v>
                </c:pt>
                <c:pt idx="54">
                  <c:v>336.0</c:v>
                </c:pt>
                <c:pt idx="55">
                  <c:v>148.0</c:v>
                </c:pt>
                <c:pt idx="56">
                  <c:v>335.0</c:v>
                </c:pt>
                <c:pt idx="57">
                  <c:v>481.0</c:v>
                </c:pt>
                <c:pt idx="58">
                  <c:v>335.0</c:v>
                </c:pt>
                <c:pt idx="59">
                  <c:v>148.0</c:v>
                </c:pt>
                <c:pt idx="60">
                  <c:v>187.0</c:v>
                </c:pt>
                <c:pt idx="61">
                  <c:v>701.0</c:v>
                </c:pt>
                <c:pt idx="62">
                  <c:v>185.0</c:v>
                </c:pt>
                <c:pt idx="63">
                  <c:v>111.0</c:v>
                </c:pt>
                <c:pt idx="64">
                  <c:v>369.0</c:v>
                </c:pt>
                <c:pt idx="65">
                  <c:v>259.0</c:v>
                </c:pt>
                <c:pt idx="66">
                  <c:v>222.0</c:v>
                </c:pt>
                <c:pt idx="67">
                  <c:v>222.0</c:v>
                </c:pt>
                <c:pt idx="68">
                  <c:v>406.0</c:v>
                </c:pt>
                <c:pt idx="69">
                  <c:v>333.0</c:v>
                </c:pt>
                <c:pt idx="70">
                  <c:v>3186.0</c:v>
                </c:pt>
                <c:pt idx="71">
                  <c:v>111.0</c:v>
                </c:pt>
                <c:pt idx="72">
                  <c:v>261.0</c:v>
                </c:pt>
                <c:pt idx="73">
                  <c:v>335.0</c:v>
                </c:pt>
                <c:pt idx="74">
                  <c:v>296.0</c:v>
                </c:pt>
                <c:pt idx="75">
                  <c:v>37.0</c:v>
                </c:pt>
                <c:pt idx="76">
                  <c:v>370.0</c:v>
                </c:pt>
                <c:pt idx="77">
                  <c:v>150.0</c:v>
                </c:pt>
                <c:pt idx="78">
                  <c:v>148.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0</c:f>
              <c:numCache>
                <c:formatCode>yyyy\-mm\-dd</c:formatCode>
                <c:ptCount val="79"/>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7.0</c:v>
                </c:pt>
                <c:pt idx="61">
                  <c:v>45564.0</c:v>
                </c:pt>
                <c:pt idx="62">
                  <c:v>45571.0</c:v>
                </c:pt>
                <c:pt idx="63">
                  <c:v>45578.0</c:v>
                </c:pt>
                <c:pt idx="64">
                  <c:v>45585.0</c:v>
                </c:pt>
                <c:pt idx="65">
                  <c:v>45592.0</c:v>
                </c:pt>
                <c:pt idx="66">
                  <c:v>45599.0</c:v>
                </c:pt>
                <c:pt idx="67">
                  <c:v>45606.0</c:v>
                </c:pt>
                <c:pt idx="68">
                  <c:v>45613.0</c:v>
                </c:pt>
                <c:pt idx="69">
                  <c:v>45620.0</c:v>
                </c:pt>
                <c:pt idx="70">
                  <c:v>45627.0</c:v>
                </c:pt>
                <c:pt idx="71">
                  <c:v>45634.0</c:v>
                </c:pt>
                <c:pt idx="72">
                  <c:v>45641.0</c:v>
                </c:pt>
                <c:pt idx="73">
                  <c:v>45648.0</c:v>
                </c:pt>
                <c:pt idx="74">
                  <c:v>45655.0</c:v>
                </c:pt>
                <c:pt idx="75">
                  <c:v>45662.0</c:v>
                </c:pt>
                <c:pt idx="76">
                  <c:v>45669.0</c:v>
                </c:pt>
                <c:pt idx="77">
                  <c:v>45676.0</c:v>
                </c:pt>
                <c:pt idx="78">
                  <c:v>45683.0</c:v>
                </c:pt>
              </c:numCache>
            </c:numRef>
          </c:cat>
          <c:val>
            <c:numRef>
              <c:f>Sheet1!$E$2:$E$80</c:f>
              <c:numCache>
                <c:formatCode>General</c:formatCode>
                <c:ptCount val="79"/>
                <c:pt idx="0">
                  <c:v>1229.0</c:v>
                </c:pt>
                <c:pt idx="1">
                  <c:v>1229.0</c:v>
                </c:pt>
                <c:pt idx="2">
                  <c:v>1154.0</c:v>
                </c:pt>
                <c:pt idx="3">
                  <c:v>1117.0</c:v>
                </c:pt>
                <c:pt idx="4">
                  <c:v>1043.0</c:v>
                </c:pt>
                <c:pt idx="5">
                  <c:v>817.0</c:v>
                </c:pt>
                <c:pt idx="6">
                  <c:v>932.0</c:v>
                </c:pt>
                <c:pt idx="7">
                  <c:v>932.0</c:v>
                </c:pt>
                <c:pt idx="8">
                  <c:v>740.0</c:v>
                </c:pt>
                <c:pt idx="9">
                  <c:v>666.0</c:v>
                </c:pt>
                <c:pt idx="10">
                  <c:v>818.0</c:v>
                </c:pt>
                <c:pt idx="11">
                  <c:v>782.0</c:v>
                </c:pt>
                <c:pt idx="12">
                  <c:v>704.0</c:v>
                </c:pt>
                <c:pt idx="13">
                  <c:v>856.0</c:v>
                </c:pt>
                <c:pt idx="14">
                  <c:v>892.0</c:v>
                </c:pt>
                <c:pt idx="15">
                  <c:v>666.0</c:v>
                </c:pt>
                <c:pt idx="16">
                  <c:v>818.0</c:v>
                </c:pt>
                <c:pt idx="17">
                  <c:v>666.0</c:v>
                </c:pt>
                <c:pt idx="18">
                  <c:v>818.0</c:v>
                </c:pt>
                <c:pt idx="19">
                  <c:v>782.0</c:v>
                </c:pt>
                <c:pt idx="20">
                  <c:v>782.0</c:v>
                </c:pt>
                <c:pt idx="21">
                  <c:v>744.0</c:v>
                </c:pt>
                <c:pt idx="22">
                  <c:v>965.0</c:v>
                </c:pt>
                <c:pt idx="23">
                  <c:v>926.0</c:v>
                </c:pt>
                <c:pt idx="24">
                  <c:v>816.0</c:v>
                </c:pt>
                <c:pt idx="25">
                  <c:v>814.0</c:v>
                </c:pt>
                <c:pt idx="26">
                  <c:v>556.0</c:v>
                </c:pt>
                <c:pt idx="27">
                  <c:v>742.0</c:v>
                </c:pt>
                <c:pt idx="28">
                  <c:v>742.0</c:v>
                </c:pt>
                <c:pt idx="29">
                  <c:v>818.0</c:v>
                </c:pt>
                <c:pt idx="30">
                  <c:v>666.0</c:v>
                </c:pt>
                <c:pt idx="31">
                  <c:v>668.0</c:v>
                </c:pt>
                <c:pt idx="32">
                  <c:v>482.0</c:v>
                </c:pt>
                <c:pt idx="33">
                  <c:v>592.0</c:v>
                </c:pt>
                <c:pt idx="34">
                  <c:v>708.0</c:v>
                </c:pt>
                <c:pt idx="35">
                  <c:v>596.0</c:v>
                </c:pt>
                <c:pt idx="36">
                  <c:v>444.0</c:v>
                </c:pt>
                <c:pt idx="37">
                  <c:v>408.0</c:v>
                </c:pt>
                <c:pt idx="38">
                  <c:v>408.0</c:v>
                </c:pt>
                <c:pt idx="39">
                  <c:v>448.0</c:v>
                </c:pt>
                <c:pt idx="40">
                  <c:v>524.0</c:v>
                </c:pt>
                <c:pt idx="41">
                  <c:v>560.0</c:v>
                </c:pt>
                <c:pt idx="42">
                  <c:v>484.0</c:v>
                </c:pt>
                <c:pt idx="43">
                  <c:v>448.0</c:v>
                </c:pt>
                <c:pt idx="44">
                  <c:v>336.0</c:v>
                </c:pt>
                <c:pt idx="45">
                  <c:v>148.0</c:v>
                </c:pt>
                <c:pt idx="46">
                  <c:v>408.0</c:v>
                </c:pt>
                <c:pt idx="47">
                  <c:v>446.0</c:v>
                </c:pt>
                <c:pt idx="48">
                  <c:v>408.0</c:v>
                </c:pt>
                <c:pt idx="49">
                  <c:v>446.0</c:v>
                </c:pt>
                <c:pt idx="50">
                  <c:v>408.0</c:v>
                </c:pt>
                <c:pt idx="51">
                  <c:v>484.0</c:v>
                </c:pt>
                <c:pt idx="52">
                  <c:v>444.0</c:v>
                </c:pt>
                <c:pt idx="53">
                  <c:v>262.0</c:v>
                </c:pt>
                <c:pt idx="54">
                  <c:v>484.0</c:v>
                </c:pt>
                <c:pt idx="55">
                  <c:v>372.0</c:v>
                </c:pt>
                <c:pt idx="56">
                  <c:v>448.0</c:v>
                </c:pt>
                <c:pt idx="57">
                  <c:v>408.0</c:v>
                </c:pt>
                <c:pt idx="58">
                  <c:v>448.0</c:v>
                </c:pt>
                <c:pt idx="59">
                  <c:v>372.0</c:v>
                </c:pt>
                <c:pt idx="60">
                  <c:v>410.0</c:v>
                </c:pt>
                <c:pt idx="61">
                  <c:v>334.0</c:v>
                </c:pt>
                <c:pt idx="62">
                  <c:v>296.0</c:v>
                </c:pt>
                <c:pt idx="63">
                  <c:v>148.0</c:v>
                </c:pt>
                <c:pt idx="64">
                  <c:v>296.0</c:v>
                </c:pt>
                <c:pt idx="65">
                  <c:v>296.0</c:v>
                </c:pt>
                <c:pt idx="66">
                  <c:v>296.0</c:v>
                </c:pt>
                <c:pt idx="67">
                  <c:v>296.0</c:v>
                </c:pt>
                <c:pt idx="68">
                  <c:v>296.0</c:v>
                </c:pt>
                <c:pt idx="69">
                  <c:v>296.0</c:v>
                </c:pt>
                <c:pt idx="70">
                  <c:v>260.0</c:v>
                </c:pt>
                <c:pt idx="71">
                  <c:v>260.0</c:v>
                </c:pt>
                <c:pt idx="72">
                  <c:v>374.0</c:v>
                </c:pt>
                <c:pt idx="73">
                  <c:v>336.0</c:v>
                </c:pt>
                <c:pt idx="74">
                  <c:v>260.0</c:v>
                </c:pt>
                <c:pt idx="75">
                  <c:v>148.0</c:v>
                </c:pt>
                <c:pt idx="76">
                  <c:v>260.0</c:v>
                </c:pt>
                <c:pt idx="77">
                  <c:v>298.0</c:v>
                </c:pt>
                <c:pt idx="78">
                  <c:v>22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0</c:f>
              <c:numCache>
                <c:formatCode>yyyy\-mm\-dd</c:formatCode>
                <c:ptCount val="79"/>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7.0</c:v>
                </c:pt>
                <c:pt idx="61">
                  <c:v>45564.0</c:v>
                </c:pt>
                <c:pt idx="62">
                  <c:v>45571.0</c:v>
                </c:pt>
                <c:pt idx="63">
                  <c:v>45578.0</c:v>
                </c:pt>
                <c:pt idx="64">
                  <c:v>45585.0</c:v>
                </c:pt>
                <c:pt idx="65">
                  <c:v>45592.0</c:v>
                </c:pt>
                <c:pt idx="66">
                  <c:v>45599.0</c:v>
                </c:pt>
                <c:pt idx="67">
                  <c:v>45606.0</c:v>
                </c:pt>
                <c:pt idx="68">
                  <c:v>45613.0</c:v>
                </c:pt>
                <c:pt idx="69">
                  <c:v>45620.0</c:v>
                </c:pt>
                <c:pt idx="70">
                  <c:v>45627.0</c:v>
                </c:pt>
                <c:pt idx="71">
                  <c:v>45634.0</c:v>
                </c:pt>
                <c:pt idx="72">
                  <c:v>45641.0</c:v>
                </c:pt>
                <c:pt idx="73">
                  <c:v>45648.0</c:v>
                </c:pt>
                <c:pt idx="74">
                  <c:v>45655.0</c:v>
                </c:pt>
                <c:pt idx="75">
                  <c:v>45662.0</c:v>
                </c:pt>
                <c:pt idx="76">
                  <c:v>45669.0</c:v>
                </c:pt>
                <c:pt idx="77">
                  <c:v>45676.0</c:v>
                </c:pt>
                <c:pt idx="78">
                  <c:v>45683.0</c:v>
                </c:pt>
              </c:numCache>
            </c:numRef>
          </c:cat>
          <c:val>
            <c:numRef>
              <c:f>Sheet1!$F$2:$F$80</c:f>
              <c:numCache>
                <c:formatCode>General</c:formatCode>
                <c:ptCount val="7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98</c:v>
                </c:pt>
                <c:pt idx="40">
                  <c:v>1.0</c:v>
                </c:pt>
                <c:pt idx="41">
                  <c:v>1.0</c:v>
                </c:pt>
                <c:pt idx="42">
                  <c:v>1.0</c:v>
                </c:pt>
                <c:pt idx="43">
                  <c:v>0.9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99</c:v>
                </c:pt>
                <c:pt idx="71">
                  <c:v>0.0</c:v>
                </c:pt>
                <c:pt idx="72">
                  <c:v>0.0</c:v>
                </c:pt>
                <c:pt idx="73">
                  <c:v>0.0</c:v>
                </c:pt>
                <c:pt idx="74">
                  <c:v>0.0</c:v>
                </c:pt>
                <c:pt idx="75">
                  <c:v>0.0</c:v>
                </c:pt>
                <c:pt idx="76">
                  <c:v>0.0</c:v>
                </c:pt>
                <c:pt idx="77">
                  <c:v>0.0</c:v>
                </c:pt>
                <c:pt idx="78">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007.0</c:v>
                </c:pt>
                <c:pt idx="40">
                  <c:v>8798.0</c:v>
                </c:pt>
                <c:pt idx="41">
                  <c:v>9753.0</c:v>
                </c:pt>
                <c:pt idx="42">
                  <c:v>7730.0</c:v>
                </c:pt>
                <c:pt idx="43">
                  <c:v>299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7494.0</c:v>
                </c:pt>
                <c:pt idx="1">
                  <c:v>8577.0</c:v>
                </c:pt>
                <c:pt idx="2">
                  <c:v>5863.0</c:v>
                </c:pt>
                <c:pt idx="3">
                  <c:v>7692.0</c:v>
                </c:pt>
                <c:pt idx="4">
                  <c:v>5549.0</c:v>
                </c:pt>
                <c:pt idx="5">
                  <c:v>5954.0</c:v>
                </c:pt>
                <c:pt idx="6">
                  <c:v>8059.0</c:v>
                </c:pt>
                <c:pt idx="7">
                  <c:v>8064.0</c:v>
                </c:pt>
                <c:pt idx="8">
                  <c:v>7799.0</c:v>
                </c:pt>
                <c:pt idx="9">
                  <c:v>9081.0</c:v>
                </c:pt>
                <c:pt idx="10">
                  <c:v>7950.0</c:v>
                </c:pt>
                <c:pt idx="11">
                  <c:v>7863.0</c:v>
                </c:pt>
                <c:pt idx="12">
                  <c:v>10896.0</c:v>
                </c:pt>
                <c:pt idx="13">
                  <c:v>10042.0</c:v>
                </c:pt>
                <c:pt idx="14">
                  <c:v>9884.0</c:v>
                </c:pt>
                <c:pt idx="15">
                  <c:v>8516.0</c:v>
                </c:pt>
                <c:pt idx="16">
                  <c:v>7709.0</c:v>
                </c:pt>
                <c:pt idx="17">
                  <c:v>8326.0</c:v>
                </c:pt>
                <c:pt idx="18">
                  <c:v>10411.0</c:v>
                </c:pt>
                <c:pt idx="19">
                  <c:v>11387.0</c:v>
                </c:pt>
                <c:pt idx="20">
                  <c:v>14073.0</c:v>
                </c:pt>
                <c:pt idx="21">
                  <c:v>16366.0</c:v>
                </c:pt>
                <c:pt idx="22">
                  <c:v>33511.0</c:v>
                </c:pt>
                <c:pt idx="23">
                  <c:v>26038.0</c:v>
                </c:pt>
                <c:pt idx="24">
                  <c:v>22637.0</c:v>
                </c:pt>
                <c:pt idx="25">
                  <c:v>6268.0</c:v>
                </c:pt>
                <c:pt idx="26">
                  <c:v>6469.0</c:v>
                </c:pt>
                <c:pt idx="27">
                  <c:v>7945.0</c:v>
                </c:pt>
                <c:pt idx="28">
                  <c:v>6809.0</c:v>
                </c:pt>
                <c:pt idx="29">
                  <c:v>6654.0</c:v>
                </c:pt>
                <c:pt idx="30">
                  <c:v>10226.0</c:v>
                </c:pt>
                <c:pt idx="31">
                  <c:v>6014.0</c:v>
                </c:pt>
                <c:pt idx="32">
                  <c:v>6808.0</c:v>
                </c:pt>
                <c:pt idx="33">
                  <c:v>7318.0</c:v>
                </c:pt>
                <c:pt idx="34">
                  <c:v>6943.0</c:v>
                </c:pt>
                <c:pt idx="35">
                  <c:v>6814.0</c:v>
                </c:pt>
                <c:pt idx="36">
                  <c:v>8876.0</c:v>
                </c:pt>
                <c:pt idx="37">
                  <c:v>6624.0</c:v>
                </c:pt>
                <c:pt idx="38">
                  <c:v>7473.0</c:v>
                </c:pt>
                <c:pt idx="39">
                  <c:v>4799.0</c:v>
                </c:pt>
                <c:pt idx="40">
                  <c:v>4335.0</c:v>
                </c:pt>
                <c:pt idx="41">
                  <c:v>5039.0</c:v>
                </c:pt>
                <c:pt idx="42">
                  <c:v>4823.0</c:v>
                </c:pt>
                <c:pt idx="43">
                  <c:v>7593.0</c:v>
                </c:pt>
                <c:pt idx="44">
                  <c:v>9703.0</c:v>
                </c:pt>
                <c:pt idx="45">
                  <c:v>7124.0</c:v>
                </c:pt>
                <c:pt idx="46">
                  <c:v>8347.0</c:v>
                </c:pt>
                <c:pt idx="47">
                  <c:v>9121.0</c:v>
                </c:pt>
                <c:pt idx="48">
                  <c:v>7518.0</c:v>
                </c:pt>
                <c:pt idx="49">
                  <c:v>9494.0</c:v>
                </c:pt>
                <c:pt idx="50">
                  <c:v>8381.0</c:v>
                </c:pt>
                <c:pt idx="51">
                  <c:v>8662.0</c:v>
                </c:pt>
                <c:pt idx="52">
                  <c:v>6703.0</c:v>
                </c:pt>
                <c:pt idx="53">
                  <c:v>6447.0</c:v>
                </c:pt>
                <c:pt idx="54">
                  <c:v>5362.0</c:v>
                </c:pt>
                <c:pt idx="55">
                  <c:v>4508.0</c:v>
                </c:pt>
                <c:pt idx="56">
                  <c:v>5138.0</c:v>
                </c:pt>
                <c:pt idx="57">
                  <c:v>5648.0</c:v>
                </c:pt>
                <c:pt idx="58">
                  <c:v>6870.0</c:v>
                </c:pt>
                <c:pt idx="59">
                  <c:v>5579.0</c:v>
                </c:pt>
                <c:pt idx="60">
                  <c:v>6483.0</c:v>
                </c:pt>
                <c:pt idx="61">
                  <c:v>6629.0</c:v>
                </c:pt>
                <c:pt idx="62">
                  <c:v>7114.0</c:v>
                </c:pt>
                <c:pt idx="63">
                  <c:v>6766.0</c:v>
                </c:pt>
                <c:pt idx="64">
                  <c:v>6614.0</c:v>
                </c:pt>
                <c:pt idx="65">
                  <c:v>7015.0</c:v>
                </c:pt>
                <c:pt idx="66">
                  <c:v>6060.0</c:v>
                </c:pt>
                <c:pt idx="67">
                  <c:v>8151.0</c:v>
                </c:pt>
                <c:pt idx="68">
                  <c:v>8578.0</c:v>
                </c:pt>
                <c:pt idx="69">
                  <c:v>8968.0</c:v>
                </c:pt>
                <c:pt idx="70">
                  <c:v>7513.0</c:v>
                </c:pt>
                <c:pt idx="71">
                  <c:v>8829.0</c:v>
                </c:pt>
                <c:pt idx="72">
                  <c:v>9599.0</c:v>
                </c:pt>
                <c:pt idx="73">
                  <c:v>12842.0</c:v>
                </c:pt>
                <c:pt idx="74">
                  <c:v>22090.0</c:v>
                </c:pt>
                <c:pt idx="75">
                  <c:v>21082.0</c:v>
                </c:pt>
                <c:pt idx="76">
                  <c:v>4974.0</c:v>
                </c:pt>
                <c:pt idx="77">
                  <c:v>7694.0</c:v>
                </c:pt>
                <c:pt idx="78">
                  <c:v>8332.0</c:v>
                </c:pt>
                <c:pt idx="79">
                  <c:v>6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7494.0</c:v>
                </c:pt>
                <c:pt idx="1">
                  <c:v>8577.0</c:v>
                </c:pt>
                <c:pt idx="2">
                  <c:v>5863.0</c:v>
                </c:pt>
                <c:pt idx="3">
                  <c:v>7692.0</c:v>
                </c:pt>
                <c:pt idx="4">
                  <c:v>5549.0</c:v>
                </c:pt>
                <c:pt idx="5">
                  <c:v>5954.0</c:v>
                </c:pt>
                <c:pt idx="6">
                  <c:v>8059.0</c:v>
                </c:pt>
                <c:pt idx="7">
                  <c:v>8064.0</c:v>
                </c:pt>
                <c:pt idx="8">
                  <c:v>7799.0</c:v>
                </c:pt>
                <c:pt idx="9">
                  <c:v>9081.0</c:v>
                </c:pt>
                <c:pt idx="10">
                  <c:v>7950.0</c:v>
                </c:pt>
                <c:pt idx="11">
                  <c:v>7863.0</c:v>
                </c:pt>
                <c:pt idx="12">
                  <c:v>10896.0</c:v>
                </c:pt>
                <c:pt idx="13">
                  <c:v>10042.0</c:v>
                </c:pt>
                <c:pt idx="14">
                  <c:v>9884.0</c:v>
                </c:pt>
                <c:pt idx="15">
                  <c:v>8516.0</c:v>
                </c:pt>
                <c:pt idx="16">
                  <c:v>7709.0</c:v>
                </c:pt>
                <c:pt idx="17">
                  <c:v>8326.0</c:v>
                </c:pt>
                <c:pt idx="18">
                  <c:v>10411.0</c:v>
                </c:pt>
                <c:pt idx="19">
                  <c:v>11387.0</c:v>
                </c:pt>
                <c:pt idx="20">
                  <c:v>14073.0</c:v>
                </c:pt>
                <c:pt idx="21">
                  <c:v>16366.0</c:v>
                </c:pt>
                <c:pt idx="22">
                  <c:v>33511.0</c:v>
                </c:pt>
                <c:pt idx="23">
                  <c:v>26038.0</c:v>
                </c:pt>
                <c:pt idx="24">
                  <c:v>22637.0</c:v>
                </c:pt>
                <c:pt idx="25">
                  <c:v>6268.0</c:v>
                </c:pt>
                <c:pt idx="26">
                  <c:v>6469.0</c:v>
                </c:pt>
                <c:pt idx="27">
                  <c:v>7945.0</c:v>
                </c:pt>
                <c:pt idx="28">
                  <c:v>6809.0</c:v>
                </c:pt>
                <c:pt idx="29">
                  <c:v>6654.0</c:v>
                </c:pt>
                <c:pt idx="30">
                  <c:v>10226.0</c:v>
                </c:pt>
                <c:pt idx="31">
                  <c:v>6014.0</c:v>
                </c:pt>
                <c:pt idx="32">
                  <c:v>6808.0</c:v>
                </c:pt>
                <c:pt idx="33">
                  <c:v>7318.0</c:v>
                </c:pt>
                <c:pt idx="34">
                  <c:v>6943.0</c:v>
                </c:pt>
                <c:pt idx="35">
                  <c:v>6814.0</c:v>
                </c:pt>
                <c:pt idx="36">
                  <c:v>8876.0</c:v>
                </c:pt>
                <c:pt idx="37">
                  <c:v>6624.0</c:v>
                </c:pt>
                <c:pt idx="38">
                  <c:v>7473.0</c:v>
                </c:pt>
                <c:pt idx="39">
                  <c:v>10806.0</c:v>
                </c:pt>
                <c:pt idx="40">
                  <c:v>13133.0</c:v>
                </c:pt>
                <c:pt idx="41">
                  <c:v>14792.0</c:v>
                </c:pt>
                <c:pt idx="42">
                  <c:v>12553.0</c:v>
                </c:pt>
                <c:pt idx="43">
                  <c:v>10587.0</c:v>
                </c:pt>
                <c:pt idx="44">
                  <c:v>9703.0</c:v>
                </c:pt>
                <c:pt idx="45">
                  <c:v>7124.0</c:v>
                </c:pt>
                <c:pt idx="46">
                  <c:v>8347.0</c:v>
                </c:pt>
                <c:pt idx="47">
                  <c:v>9121.0</c:v>
                </c:pt>
                <c:pt idx="48">
                  <c:v>7518.0</c:v>
                </c:pt>
                <c:pt idx="49">
                  <c:v>9494.0</c:v>
                </c:pt>
                <c:pt idx="50">
                  <c:v>8381.0</c:v>
                </c:pt>
                <c:pt idx="51">
                  <c:v>8662.0</c:v>
                </c:pt>
                <c:pt idx="52">
                  <c:v>6703.0</c:v>
                </c:pt>
                <c:pt idx="53">
                  <c:v>6447.0</c:v>
                </c:pt>
                <c:pt idx="54">
                  <c:v>5362.0</c:v>
                </c:pt>
                <c:pt idx="55">
                  <c:v>4508.0</c:v>
                </c:pt>
                <c:pt idx="56">
                  <c:v>5138.0</c:v>
                </c:pt>
                <c:pt idx="57">
                  <c:v>5648.0</c:v>
                </c:pt>
                <c:pt idx="58">
                  <c:v>6870.0</c:v>
                </c:pt>
                <c:pt idx="59">
                  <c:v>5579.0</c:v>
                </c:pt>
                <c:pt idx="60">
                  <c:v>6483.0</c:v>
                </c:pt>
                <c:pt idx="61">
                  <c:v>6629.0</c:v>
                </c:pt>
                <c:pt idx="62">
                  <c:v>7114.0</c:v>
                </c:pt>
                <c:pt idx="63">
                  <c:v>6766.0</c:v>
                </c:pt>
                <c:pt idx="64">
                  <c:v>6614.0</c:v>
                </c:pt>
                <c:pt idx="65">
                  <c:v>7015.0</c:v>
                </c:pt>
                <c:pt idx="66">
                  <c:v>6060.0</c:v>
                </c:pt>
                <c:pt idx="67">
                  <c:v>8151.0</c:v>
                </c:pt>
                <c:pt idx="68">
                  <c:v>8578.0</c:v>
                </c:pt>
                <c:pt idx="69">
                  <c:v>8968.0</c:v>
                </c:pt>
                <c:pt idx="70">
                  <c:v>7513.0</c:v>
                </c:pt>
                <c:pt idx="71">
                  <c:v>8829.0</c:v>
                </c:pt>
                <c:pt idx="72">
                  <c:v>9599.0</c:v>
                </c:pt>
                <c:pt idx="73">
                  <c:v>12842.0</c:v>
                </c:pt>
                <c:pt idx="74">
                  <c:v>22090.0</c:v>
                </c:pt>
                <c:pt idx="75">
                  <c:v>21082.0</c:v>
                </c:pt>
                <c:pt idx="76">
                  <c:v>4974.0</c:v>
                </c:pt>
                <c:pt idx="77">
                  <c:v>7694.0</c:v>
                </c:pt>
                <c:pt idx="78">
                  <c:v>8332.0</c:v>
                </c:pt>
                <c:pt idx="79">
                  <c:v>695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9443.0</c:v>
                </c:pt>
                <c:pt idx="1">
                  <c:v>9576.0</c:v>
                </c:pt>
                <c:pt idx="2">
                  <c:v>8833.0</c:v>
                </c:pt>
                <c:pt idx="3">
                  <c:v>9186.0</c:v>
                </c:pt>
                <c:pt idx="4">
                  <c:v>8448.0</c:v>
                </c:pt>
                <c:pt idx="5">
                  <c:v>7911.0</c:v>
                </c:pt>
                <c:pt idx="6">
                  <c:v>8273.0</c:v>
                </c:pt>
                <c:pt idx="7">
                  <c:v>7783.0</c:v>
                </c:pt>
                <c:pt idx="8">
                  <c:v>7661.0</c:v>
                </c:pt>
                <c:pt idx="9">
                  <c:v>7590.0</c:v>
                </c:pt>
                <c:pt idx="10">
                  <c:v>7757.0</c:v>
                </c:pt>
                <c:pt idx="11">
                  <c:v>7546.0</c:v>
                </c:pt>
                <c:pt idx="12">
                  <c:v>7713.0</c:v>
                </c:pt>
                <c:pt idx="13">
                  <c:v>8181.0</c:v>
                </c:pt>
                <c:pt idx="14">
                  <c:v>8431.0</c:v>
                </c:pt>
                <c:pt idx="15">
                  <c:v>8739.0</c:v>
                </c:pt>
                <c:pt idx="16">
                  <c:v>8775.0</c:v>
                </c:pt>
                <c:pt idx="17">
                  <c:v>8861.0</c:v>
                </c:pt>
                <c:pt idx="18">
                  <c:v>9107.0</c:v>
                </c:pt>
                <c:pt idx="19">
                  <c:v>9506.0</c:v>
                </c:pt>
                <c:pt idx="20">
                  <c:v>10210.0</c:v>
                </c:pt>
                <c:pt idx="21">
                  <c:v>10204.0</c:v>
                </c:pt>
                <c:pt idx="22">
                  <c:v>13335.0</c:v>
                </c:pt>
                <c:pt idx="23">
                  <c:v>14798.0</c:v>
                </c:pt>
                <c:pt idx="24">
                  <c:v>15793.0</c:v>
                </c:pt>
                <c:pt idx="25">
                  <c:v>14501.0</c:v>
                </c:pt>
                <c:pt idx="26">
                  <c:v>13949.0</c:v>
                </c:pt>
                <c:pt idx="27">
                  <c:v>14295.0</c:v>
                </c:pt>
                <c:pt idx="28">
                  <c:v>14275.0</c:v>
                </c:pt>
                <c:pt idx="29">
                  <c:v>14213.0</c:v>
                </c:pt>
                <c:pt idx="30">
                  <c:v>14327.0</c:v>
                </c:pt>
                <c:pt idx="31">
                  <c:v>13462.0</c:v>
                </c:pt>
                <c:pt idx="32">
                  <c:v>12716.0</c:v>
                </c:pt>
                <c:pt idx="33">
                  <c:v>12559.0</c:v>
                </c:pt>
                <c:pt idx="34">
                  <c:v>10532.0</c:v>
                </c:pt>
                <c:pt idx="35">
                  <c:v>8857.0</c:v>
                </c:pt>
                <c:pt idx="36">
                  <c:v>7653.0</c:v>
                </c:pt>
                <c:pt idx="37">
                  <c:v>7387.0</c:v>
                </c:pt>
                <c:pt idx="38">
                  <c:v>7557.0</c:v>
                </c:pt>
                <c:pt idx="39">
                  <c:v>8268.0</c:v>
                </c:pt>
                <c:pt idx="40">
                  <c:v>8240.0</c:v>
                </c:pt>
                <c:pt idx="41">
                  <c:v>8330.0</c:v>
                </c:pt>
                <c:pt idx="42">
                  <c:v>7618.0</c:v>
                </c:pt>
                <c:pt idx="43">
                  <c:v>7599.0</c:v>
                </c:pt>
                <c:pt idx="44">
                  <c:v>7768.0</c:v>
                </c:pt>
                <c:pt idx="45">
                  <c:v>7605.0</c:v>
                </c:pt>
                <c:pt idx="46">
                  <c:v>7738.0</c:v>
                </c:pt>
                <c:pt idx="47">
                  <c:v>8023.0</c:v>
                </c:pt>
                <c:pt idx="48">
                  <c:v>7734.0</c:v>
                </c:pt>
                <c:pt idx="49">
                  <c:v>7845.0</c:v>
                </c:pt>
                <c:pt idx="50">
                  <c:v>7836.0</c:v>
                </c:pt>
                <c:pt idx="51">
                  <c:v>8244.0</c:v>
                </c:pt>
                <c:pt idx="52">
                  <c:v>7809.0</c:v>
                </c:pt>
                <c:pt idx="53">
                  <c:v>7990.0</c:v>
                </c:pt>
                <c:pt idx="54">
                  <c:v>7944.0</c:v>
                </c:pt>
                <c:pt idx="55">
                  <c:v>7268.0</c:v>
                </c:pt>
                <c:pt idx="56">
                  <c:v>7267.0</c:v>
                </c:pt>
                <c:pt idx="57">
                  <c:v>7478.0</c:v>
                </c:pt>
                <c:pt idx="58">
                  <c:v>7120.0</c:v>
                </c:pt>
                <c:pt idx="59">
                  <c:v>6775.0</c:v>
                </c:pt>
                <c:pt idx="60">
                  <c:v>6436.0</c:v>
                </c:pt>
                <c:pt idx="61">
                  <c:v>6396.0</c:v>
                </c:pt>
                <c:pt idx="62">
                  <c:v>6120.0</c:v>
                </c:pt>
                <c:pt idx="63">
                  <c:v>6147.0</c:v>
                </c:pt>
                <c:pt idx="64">
                  <c:v>5991.0</c:v>
                </c:pt>
                <c:pt idx="65">
                  <c:v>6142.0</c:v>
                </c:pt>
                <c:pt idx="66">
                  <c:v>6002.0</c:v>
                </c:pt>
                <c:pt idx="67">
                  <c:v>6534.0</c:v>
                </c:pt>
                <c:pt idx="68">
                  <c:v>6865.0</c:v>
                </c:pt>
                <c:pt idx="69">
                  <c:v>7108.0</c:v>
                </c:pt>
                <c:pt idx="70">
                  <c:v>7289.0</c:v>
                </c:pt>
                <c:pt idx="71">
                  <c:v>7619.0</c:v>
                </c:pt>
                <c:pt idx="72">
                  <c:v>7669.0</c:v>
                </c:pt>
                <c:pt idx="73">
                  <c:v>8416.0</c:v>
                </c:pt>
                <c:pt idx="74">
                  <c:v>9896.0</c:v>
                </c:pt>
                <c:pt idx="75">
                  <c:v>11062.0</c:v>
                </c:pt>
                <c:pt idx="76">
                  <c:v>10120.0</c:v>
                </c:pt>
                <c:pt idx="77">
                  <c:v>10390.0</c:v>
                </c:pt>
                <c:pt idx="78">
                  <c:v>10630.0</c:v>
                </c:pt>
                <c:pt idx="79">
                  <c:v>10199.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9</c:v>
                </c:pt>
                <c:pt idx="40">
                  <c:v>0.6</c:v>
                </c:pt>
                <c:pt idx="41">
                  <c:v>0.59</c:v>
                </c:pt>
                <c:pt idx="42">
                  <c:v>0.54</c:v>
                </c:pt>
                <c:pt idx="43">
                  <c:v>0.25</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117.0</c:v>
                </c:pt>
                <c:pt idx="40">
                  <c:v>3819.0</c:v>
                </c:pt>
                <c:pt idx="41">
                  <c:v>4310.0</c:v>
                </c:pt>
                <c:pt idx="42">
                  <c:v>3518.0</c:v>
                </c:pt>
                <c:pt idx="43">
                  <c:v>69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192.0</c:v>
                </c:pt>
                <c:pt idx="1">
                  <c:v>3399.0</c:v>
                </c:pt>
                <c:pt idx="2">
                  <c:v>1867.0</c:v>
                </c:pt>
                <c:pt idx="3">
                  <c:v>2097.0</c:v>
                </c:pt>
                <c:pt idx="4">
                  <c:v>1865.0</c:v>
                </c:pt>
                <c:pt idx="5">
                  <c:v>2520.0</c:v>
                </c:pt>
                <c:pt idx="6">
                  <c:v>2616.0</c:v>
                </c:pt>
                <c:pt idx="7">
                  <c:v>3420.0</c:v>
                </c:pt>
                <c:pt idx="8">
                  <c:v>3460.0</c:v>
                </c:pt>
                <c:pt idx="9">
                  <c:v>3952.0</c:v>
                </c:pt>
                <c:pt idx="10">
                  <c:v>3373.0</c:v>
                </c:pt>
                <c:pt idx="11">
                  <c:v>4302.0</c:v>
                </c:pt>
                <c:pt idx="12">
                  <c:v>4655.0</c:v>
                </c:pt>
                <c:pt idx="13">
                  <c:v>3988.0</c:v>
                </c:pt>
                <c:pt idx="14">
                  <c:v>4146.0</c:v>
                </c:pt>
                <c:pt idx="15">
                  <c:v>3768.0</c:v>
                </c:pt>
                <c:pt idx="16">
                  <c:v>4147.0</c:v>
                </c:pt>
                <c:pt idx="17">
                  <c:v>4005.0</c:v>
                </c:pt>
                <c:pt idx="18">
                  <c:v>4965.0</c:v>
                </c:pt>
                <c:pt idx="19">
                  <c:v>5025.0</c:v>
                </c:pt>
                <c:pt idx="20">
                  <c:v>6779.0</c:v>
                </c:pt>
                <c:pt idx="21">
                  <c:v>7399.0</c:v>
                </c:pt>
                <c:pt idx="22">
                  <c:v>14213.0</c:v>
                </c:pt>
                <c:pt idx="23">
                  <c:v>11429.0</c:v>
                </c:pt>
                <c:pt idx="24">
                  <c:v>10545.0</c:v>
                </c:pt>
                <c:pt idx="25">
                  <c:v>3051.0</c:v>
                </c:pt>
                <c:pt idx="26">
                  <c:v>3383.0</c:v>
                </c:pt>
                <c:pt idx="27">
                  <c:v>3251.0</c:v>
                </c:pt>
                <c:pt idx="28">
                  <c:v>3388.0</c:v>
                </c:pt>
                <c:pt idx="29">
                  <c:v>3338.0</c:v>
                </c:pt>
                <c:pt idx="30">
                  <c:v>4839.0</c:v>
                </c:pt>
                <c:pt idx="31">
                  <c:v>3221.0</c:v>
                </c:pt>
                <c:pt idx="32">
                  <c:v>3531.0</c:v>
                </c:pt>
                <c:pt idx="33">
                  <c:v>3511.0</c:v>
                </c:pt>
                <c:pt idx="34">
                  <c:v>2933.0</c:v>
                </c:pt>
                <c:pt idx="35">
                  <c:v>3439.0</c:v>
                </c:pt>
                <c:pt idx="36">
                  <c:v>3997.0</c:v>
                </c:pt>
                <c:pt idx="37">
                  <c:v>3042.0</c:v>
                </c:pt>
                <c:pt idx="38">
                  <c:v>3361.0</c:v>
                </c:pt>
                <c:pt idx="39">
                  <c:v>1881.0</c:v>
                </c:pt>
                <c:pt idx="40">
                  <c:v>2003.0</c:v>
                </c:pt>
                <c:pt idx="41">
                  <c:v>2502.0</c:v>
                </c:pt>
                <c:pt idx="42">
                  <c:v>1951.0</c:v>
                </c:pt>
                <c:pt idx="43">
                  <c:v>3345.0</c:v>
                </c:pt>
                <c:pt idx="44">
                  <c:v>4575.0</c:v>
                </c:pt>
                <c:pt idx="45">
                  <c:v>3155.0</c:v>
                </c:pt>
                <c:pt idx="46">
                  <c:v>3237.0</c:v>
                </c:pt>
                <c:pt idx="47">
                  <c:v>4118.0</c:v>
                </c:pt>
                <c:pt idx="48">
                  <c:v>3480.0</c:v>
                </c:pt>
                <c:pt idx="49">
                  <c:v>3790.0</c:v>
                </c:pt>
                <c:pt idx="50">
                  <c:v>3320.0</c:v>
                </c:pt>
                <c:pt idx="51">
                  <c:v>3469.0</c:v>
                </c:pt>
                <c:pt idx="52">
                  <c:v>2707.0</c:v>
                </c:pt>
                <c:pt idx="53">
                  <c:v>2625.0</c:v>
                </c:pt>
                <c:pt idx="54">
                  <c:v>1650.0</c:v>
                </c:pt>
                <c:pt idx="55">
                  <c:v>1507.0</c:v>
                </c:pt>
                <c:pt idx="56">
                  <c:v>1472.0</c:v>
                </c:pt>
                <c:pt idx="57">
                  <c:v>1919.0</c:v>
                </c:pt>
                <c:pt idx="58">
                  <c:v>2699.0</c:v>
                </c:pt>
                <c:pt idx="59">
                  <c:v>2517.0</c:v>
                </c:pt>
                <c:pt idx="60">
                  <c:v>2520.0</c:v>
                </c:pt>
                <c:pt idx="61">
                  <c:v>2851.0</c:v>
                </c:pt>
                <c:pt idx="62">
                  <c:v>3302.0</c:v>
                </c:pt>
                <c:pt idx="63">
                  <c:v>2738.0</c:v>
                </c:pt>
                <c:pt idx="64">
                  <c:v>3052.0</c:v>
                </c:pt>
                <c:pt idx="65">
                  <c:v>3439.0</c:v>
                </c:pt>
                <c:pt idx="66">
                  <c:v>2711.0</c:v>
                </c:pt>
                <c:pt idx="67">
                  <c:v>3674.0</c:v>
                </c:pt>
                <c:pt idx="68">
                  <c:v>3637.0</c:v>
                </c:pt>
                <c:pt idx="69">
                  <c:v>4132.0</c:v>
                </c:pt>
                <c:pt idx="70">
                  <c:v>3336.0</c:v>
                </c:pt>
                <c:pt idx="71">
                  <c:v>3119.0</c:v>
                </c:pt>
                <c:pt idx="72">
                  <c:v>4026.0</c:v>
                </c:pt>
                <c:pt idx="73">
                  <c:v>6447.0</c:v>
                </c:pt>
                <c:pt idx="74">
                  <c:v>9315.0</c:v>
                </c:pt>
                <c:pt idx="75">
                  <c:v>8559.0</c:v>
                </c:pt>
                <c:pt idx="76">
                  <c:v>2303.0</c:v>
                </c:pt>
                <c:pt idx="77">
                  <c:v>3615.0</c:v>
                </c:pt>
                <c:pt idx="78">
                  <c:v>3513.0</c:v>
                </c:pt>
                <c:pt idx="79">
                  <c:v>308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192.0</c:v>
                </c:pt>
                <c:pt idx="1">
                  <c:v>3399.0</c:v>
                </c:pt>
                <c:pt idx="2">
                  <c:v>1867.0</c:v>
                </c:pt>
                <c:pt idx="3">
                  <c:v>2097.0</c:v>
                </c:pt>
                <c:pt idx="4">
                  <c:v>1865.0</c:v>
                </c:pt>
                <c:pt idx="5">
                  <c:v>2520.0</c:v>
                </c:pt>
                <c:pt idx="6">
                  <c:v>2616.0</c:v>
                </c:pt>
                <c:pt idx="7">
                  <c:v>3420.0</c:v>
                </c:pt>
                <c:pt idx="8">
                  <c:v>3460.0</c:v>
                </c:pt>
                <c:pt idx="9">
                  <c:v>3952.0</c:v>
                </c:pt>
                <c:pt idx="10">
                  <c:v>3373.0</c:v>
                </c:pt>
                <c:pt idx="11">
                  <c:v>4302.0</c:v>
                </c:pt>
                <c:pt idx="12">
                  <c:v>4655.0</c:v>
                </c:pt>
                <c:pt idx="13">
                  <c:v>3988.0</c:v>
                </c:pt>
                <c:pt idx="14">
                  <c:v>4146.0</c:v>
                </c:pt>
                <c:pt idx="15">
                  <c:v>3768.0</c:v>
                </c:pt>
                <c:pt idx="16">
                  <c:v>4147.0</c:v>
                </c:pt>
                <c:pt idx="17">
                  <c:v>4005.0</c:v>
                </c:pt>
                <c:pt idx="18">
                  <c:v>4965.0</c:v>
                </c:pt>
                <c:pt idx="19">
                  <c:v>5025.0</c:v>
                </c:pt>
                <c:pt idx="20">
                  <c:v>6779.0</c:v>
                </c:pt>
                <c:pt idx="21">
                  <c:v>7399.0</c:v>
                </c:pt>
                <c:pt idx="22">
                  <c:v>14213.0</c:v>
                </c:pt>
                <c:pt idx="23">
                  <c:v>11429.0</c:v>
                </c:pt>
                <c:pt idx="24">
                  <c:v>10545.0</c:v>
                </c:pt>
                <c:pt idx="25">
                  <c:v>3051.0</c:v>
                </c:pt>
                <c:pt idx="26">
                  <c:v>3383.0</c:v>
                </c:pt>
                <c:pt idx="27">
                  <c:v>3251.0</c:v>
                </c:pt>
                <c:pt idx="28">
                  <c:v>3388.0</c:v>
                </c:pt>
                <c:pt idx="29">
                  <c:v>3338.0</c:v>
                </c:pt>
                <c:pt idx="30">
                  <c:v>4839.0</c:v>
                </c:pt>
                <c:pt idx="31">
                  <c:v>3221.0</c:v>
                </c:pt>
                <c:pt idx="32">
                  <c:v>3531.0</c:v>
                </c:pt>
                <c:pt idx="33">
                  <c:v>3511.0</c:v>
                </c:pt>
                <c:pt idx="34">
                  <c:v>2933.0</c:v>
                </c:pt>
                <c:pt idx="35">
                  <c:v>3439.0</c:v>
                </c:pt>
                <c:pt idx="36">
                  <c:v>3997.0</c:v>
                </c:pt>
                <c:pt idx="37">
                  <c:v>3042.0</c:v>
                </c:pt>
                <c:pt idx="38">
                  <c:v>3361.0</c:v>
                </c:pt>
                <c:pt idx="39">
                  <c:v>4998.0</c:v>
                </c:pt>
                <c:pt idx="40">
                  <c:v>5822.0</c:v>
                </c:pt>
                <c:pt idx="41">
                  <c:v>6812.0</c:v>
                </c:pt>
                <c:pt idx="42">
                  <c:v>5469.0</c:v>
                </c:pt>
                <c:pt idx="43">
                  <c:v>4041.0</c:v>
                </c:pt>
                <c:pt idx="44">
                  <c:v>4575.0</c:v>
                </c:pt>
                <c:pt idx="45">
                  <c:v>3155.0</c:v>
                </c:pt>
                <c:pt idx="46">
                  <c:v>3237.0</c:v>
                </c:pt>
                <c:pt idx="47">
                  <c:v>4118.0</c:v>
                </c:pt>
                <c:pt idx="48">
                  <c:v>3480.0</c:v>
                </c:pt>
                <c:pt idx="49">
                  <c:v>3790.0</c:v>
                </c:pt>
                <c:pt idx="50">
                  <c:v>3320.0</c:v>
                </c:pt>
                <c:pt idx="51">
                  <c:v>3469.0</c:v>
                </c:pt>
                <c:pt idx="52">
                  <c:v>2707.0</c:v>
                </c:pt>
                <c:pt idx="53">
                  <c:v>2625.0</c:v>
                </c:pt>
                <c:pt idx="54">
                  <c:v>1650.0</c:v>
                </c:pt>
                <c:pt idx="55">
                  <c:v>1507.0</c:v>
                </c:pt>
                <c:pt idx="56">
                  <c:v>1472.0</c:v>
                </c:pt>
                <c:pt idx="57">
                  <c:v>1919.0</c:v>
                </c:pt>
                <c:pt idx="58">
                  <c:v>2699.0</c:v>
                </c:pt>
                <c:pt idx="59">
                  <c:v>2517.0</c:v>
                </c:pt>
                <c:pt idx="60">
                  <c:v>2520.0</c:v>
                </c:pt>
                <c:pt idx="61">
                  <c:v>2851.0</c:v>
                </c:pt>
                <c:pt idx="62">
                  <c:v>3302.0</c:v>
                </c:pt>
                <c:pt idx="63">
                  <c:v>2738.0</c:v>
                </c:pt>
                <c:pt idx="64">
                  <c:v>3052.0</c:v>
                </c:pt>
                <c:pt idx="65">
                  <c:v>3439.0</c:v>
                </c:pt>
                <c:pt idx="66">
                  <c:v>2711.0</c:v>
                </c:pt>
                <c:pt idx="67">
                  <c:v>3674.0</c:v>
                </c:pt>
                <c:pt idx="68">
                  <c:v>3637.0</c:v>
                </c:pt>
                <c:pt idx="69">
                  <c:v>4132.0</c:v>
                </c:pt>
                <c:pt idx="70">
                  <c:v>3336.0</c:v>
                </c:pt>
                <c:pt idx="71">
                  <c:v>3119.0</c:v>
                </c:pt>
                <c:pt idx="72">
                  <c:v>4026.0</c:v>
                </c:pt>
                <c:pt idx="73">
                  <c:v>6447.0</c:v>
                </c:pt>
                <c:pt idx="74">
                  <c:v>9315.0</c:v>
                </c:pt>
                <c:pt idx="75">
                  <c:v>8559.0</c:v>
                </c:pt>
                <c:pt idx="76">
                  <c:v>2303.0</c:v>
                </c:pt>
                <c:pt idx="77">
                  <c:v>3615.0</c:v>
                </c:pt>
                <c:pt idx="78">
                  <c:v>3513.0</c:v>
                </c:pt>
                <c:pt idx="79">
                  <c:v>308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157.0</c:v>
                </c:pt>
                <c:pt idx="1">
                  <c:v>4086.0</c:v>
                </c:pt>
                <c:pt idx="2">
                  <c:v>3725.0</c:v>
                </c:pt>
                <c:pt idx="3">
                  <c:v>3648.0</c:v>
                </c:pt>
                <c:pt idx="4">
                  <c:v>3439.0</c:v>
                </c:pt>
                <c:pt idx="5">
                  <c:v>3322.0</c:v>
                </c:pt>
                <c:pt idx="6">
                  <c:v>3056.0</c:v>
                </c:pt>
                <c:pt idx="7">
                  <c:v>3038.0</c:v>
                </c:pt>
                <c:pt idx="8">
                  <c:v>2998.0</c:v>
                </c:pt>
                <c:pt idx="9">
                  <c:v>3015.0</c:v>
                </c:pt>
                <c:pt idx="10">
                  <c:v>2949.0</c:v>
                </c:pt>
                <c:pt idx="11">
                  <c:v>3002.0</c:v>
                </c:pt>
                <c:pt idx="12">
                  <c:v>3181.0</c:v>
                </c:pt>
                <c:pt idx="13">
                  <c:v>3229.0</c:v>
                </c:pt>
                <c:pt idx="14">
                  <c:v>3412.0</c:v>
                </c:pt>
                <c:pt idx="15">
                  <c:v>3532.0</c:v>
                </c:pt>
                <c:pt idx="16">
                  <c:v>3739.0</c:v>
                </c:pt>
                <c:pt idx="17">
                  <c:v>3858.0</c:v>
                </c:pt>
                <c:pt idx="18">
                  <c:v>4014.0</c:v>
                </c:pt>
                <c:pt idx="19">
                  <c:v>4156.0</c:v>
                </c:pt>
                <c:pt idx="20">
                  <c:v>4452.0</c:v>
                </c:pt>
                <c:pt idx="21">
                  <c:v>4724.0</c:v>
                </c:pt>
                <c:pt idx="22">
                  <c:v>5667.0</c:v>
                </c:pt>
                <c:pt idx="23">
                  <c:v>6289.0</c:v>
                </c:pt>
                <c:pt idx="24">
                  <c:v>6874.0</c:v>
                </c:pt>
                <c:pt idx="25">
                  <c:v>6755.0</c:v>
                </c:pt>
                <c:pt idx="26">
                  <c:v>6731.0</c:v>
                </c:pt>
                <c:pt idx="27">
                  <c:v>6672.0</c:v>
                </c:pt>
                <c:pt idx="28">
                  <c:v>6603.0</c:v>
                </c:pt>
                <c:pt idx="29">
                  <c:v>6554.0</c:v>
                </c:pt>
                <c:pt idx="30">
                  <c:v>6554.0</c:v>
                </c:pt>
                <c:pt idx="31">
                  <c:v>6370.0</c:v>
                </c:pt>
                <c:pt idx="32">
                  <c:v>6179.0</c:v>
                </c:pt>
                <c:pt idx="33">
                  <c:v>5865.0</c:v>
                </c:pt>
                <c:pt idx="34">
                  <c:v>4845.0</c:v>
                </c:pt>
                <c:pt idx="35">
                  <c:v>4109.0</c:v>
                </c:pt>
                <c:pt idx="36">
                  <c:v>3518.0</c:v>
                </c:pt>
                <c:pt idx="37">
                  <c:v>3518.0</c:v>
                </c:pt>
                <c:pt idx="38">
                  <c:v>3534.0</c:v>
                </c:pt>
                <c:pt idx="39">
                  <c:v>3549.0</c:v>
                </c:pt>
                <c:pt idx="40">
                  <c:v>3458.0</c:v>
                </c:pt>
                <c:pt idx="41">
                  <c:v>3499.0</c:v>
                </c:pt>
                <c:pt idx="42">
                  <c:v>3262.0</c:v>
                </c:pt>
                <c:pt idx="43">
                  <c:v>3303.0</c:v>
                </c:pt>
                <c:pt idx="44">
                  <c:v>3418.0</c:v>
                </c:pt>
                <c:pt idx="45">
                  <c:v>3418.0</c:v>
                </c:pt>
                <c:pt idx="46">
                  <c:v>3442.0</c:v>
                </c:pt>
                <c:pt idx="47">
                  <c:v>3491.0</c:v>
                </c:pt>
                <c:pt idx="48">
                  <c:v>3398.0</c:v>
                </c:pt>
                <c:pt idx="49">
                  <c:v>3488.0</c:v>
                </c:pt>
                <c:pt idx="50">
                  <c:v>3530.0</c:v>
                </c:pt>
                <c:pt idx="51">
                  <c:v>3581.0</c:v>
                </c:pt>
                <c:pt idx="52">
                  <c:v>3531.0</c:v>
                </c:pt>
                <c:pt idx="53">
                  <c:v>3458.0</c:v>
                </c:pt>
                <c:pt idx="54">
                  <c:v>3210.0</c:v>
                </c:pt>
                <c:pt idx="55">
                  <c:v>3152.0</c:v>
                </c:pt>
                <c:pt idx="56">
                  <c:v>2789.0</c:v>
                </c:pt>
                <c:pt idx="57">
                  <c:v>2813.0</c:v>
                </c:pt>
                <c:pt idx="58">
                  <c:v>2641.0</c:v>
                </c:pt>
                <c:pt idx="59">
                  <c:v>2625.0</c:v>
                </c:pt>
                <c:pt idx="60">
                  <c:v>2577.0</c:v>
                </c:pt>
                <c:pt idx="61">
                  <c:v>2362.0</c:v>
                </c:pt>
                <c:pt idx="62">
                  <c:v>2486.0</c:v>
                </c:pt>
                <c:pt idx="63">
                  <c:v>2420.0</c:v>
                </c:pt>
                <c:pt idx="64">
                  <c:v>2444.0</c:v>
                </c:pt>
                <c:pt idx="65">
                  <c:v>2412.0</c:v>
                </c:pt>
                <c:pt idx="66">
                  <c:v>2571.0</c:v>
                </c:pt>
                <c:pt idx="67">
                  <c:v>2717.0</c:v>
                </c:pt>
                <c:pt idx="68">
                  <c:v>2999.0</c:v>
                </c:pt>
                <c:pt idx="69">
                  <c:v>3149.0</c:v>
                </c:pt>
                <c:pt idx="70">
                  <c:v>3198.0</c:v>
                </c:pt>
                <c:pt idx="71">
                  <c:v>3264.0</c:v>
                </c:pt>
                <c:pt idx="72">
                  <c:v>3364.0</c:v>
                </c:pt>
                <c:pt idx="73">
                  <c:v>3555.0</c:v>
                </c:pt>
                <c:pt idx="74">
                  <c:v>4172.0</c:v>
                </c:pt>
                <c:pt idx="75">
                  <c:v>4650.0</c:v>
                </c:pt>
                <c:pt idx="76">
                  <c:v>4393.0</c:v>
                </c:pt>
                <c:pt idx="77">
                  <c:v>4609.0</c:v>
                </c:pt>
                <c:pt idx="78">
                  <c:v>4659.0</c:v>
                </c:pt>
                <c:pt idx="79">
                  <c:v>461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55</c:v>
                </c:pt>
                <c:pt idx="40">
                  <c:v>0.59</c:v>
                </c:pt>
                <c:pt idx="41">
                  <c:v>0.56</c:v>
                </c:pt>
                <c:pt idx="42">
                  <c:v>0.57</c:v>
                </c:pt>
                <c:pt idx="43">
                  <c:v>0.14</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22.0</c:v>
                </c:pt>
                <c:pt idx="40">
                  <c:v>760.0</c:v>
                </c:pt>
                <c:pt idx="41">
                  <c:v>496.0</c:v>
                </c:pt>
                <c:pt idx="42">
                  <c:v>390.0</c:v>
                </c:pt>
                <c:pt idx="43">
                  <c:v>23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675.0</c:v>
                </c:pt>
                <c:pt idx="1">
                  <c:v>737.0</c:v>
                </c:pt>
                <c:pt idx="2">
                  <c:v>330.0</c:v>
                </c:pt>
                <c:pt idx="3">
                  <c:v>321.0</c:v>
                </c:pt>
                <c:pt idx="4">
                  <c:v>137.0</c:v>
                </c:pt>
                <c:pt idx="5">
                  <c:v>277.0</c:v>
                </c:pt>
                <c:pt idx="6">
                  <c:v>428.0</c:v>
                </c:pt>
                <c:pt idx="7">
                  <c:v>607.0</c:v>
                </c:pt>
                <c:pt idx="8">
                  <c:v>496.0</c:v>
                </c:pt>
                <c:pt idx="9">
                  <c:v>521.0</c:v>
                </c:pt>
                <c:pt idx="10">
                  <c:v>457.0</c:v>
                </c:pt>
                <c:pt idx="11">
                  <c:v>308.0</c:v>
                </c:pt>
                <c:pt idx="12">
                  <c:v>499.0</c:v>
                </c:pt>
                <c:pt idx="13">
                  <c:v>757.0</c:v>
                </c:pt>
                <c:pt idx="14">
                  <c:v>723.0</c:v>
                </c:pt>
                <c:pt idx="15">
                  <c:v>534.0</c:v>
                </c:pt>
                <c:pt idx="16">
                  <c:v>549.0</c:v>
                </c:pt>
                <c:pt idx="17">
                  <c:v>538.0</c:v>
                </c:pt>
                <c:pt idx="18">
                  <c:v>525.0</c:v>
                </c:pt>
                <c:pt idx="19">
                  <c:v>850.0</c:v>
                </c:pt>
                <c:pt idx="20">
                  <c:v>1171.0</c:v>
                </c:pt>
                <c:pt idx="21">
                  <c:v>778.0</c:v>
                </c:pt>
                <c:pt idx="22">
                  <c:v>1506.0</c:v>
                </c:pt>
                <c:pt idx="23">
                  <c:v>1063.0</c:v>
                </c:pt>
                <c:pt idx="24">
                  <c:v>871.0</c:v>
                </c:pt>
                <c:pt idx="25">
                  <c:v>379.0</c:v>
                </c:pt>
                <c:pt idx="26">
                  <c:v>503.0</c:v>
                </c:pt>
                <c:pt idx="27">
                  <c:v>595.0</c:v>
                </c:pt>
                <c:pt idx="28">
                  <c:v>641.0</c:v>
                </c:pt>
                <c:pt idx="29">
                  <c:v>390.0</c:v>
                </c:pt>
                <c:pt idx="30">
                  <c:v>448.0</c:v>
                </c:pt>
                <c:pt idx="31">
                  <c:v>450.0</c:v>
                </c:pt>
                <c:pt idx="32">
                  <c:v>437.0</c:v>
                </c:pt>
                <c:pt idx="33">
                  <c:v>315.0</c:v>
                </c:pt>
                <c:pt idx="34">
                  <c:v>439.0</c:v>
                </c:pt>
                <c:pt idx="35">
                  <c:v>687.0</c:v>
                </c:pt>
                <c:pt idx="36">
                  <c:v>381.0</c:v>
                </c:pt>
                <c:pt idx="37">
                  <c:v>313.0</c:v>
                </c:pt>
                <c:pt idx="38">
                  <c:v>488.0</c:v>
                </c:pt>
                <c:pt idx="39">
                  <c:v>418.0</c:v>
                </c:pt>
                <c:pt idx="40">
                  <c:v>226.0</c:v>
                </c:pt>
                <c:pt idx="41">
                  <c:v>326.0</c:v>
                </c:pt>
                <c:pt idx="42">
                  <c:v>251.0</c:v>
                </c:pt>
                <c:pt idx="43">
                  <c:v>625.0</c:v>
                </c:pt>
                <c:pt idx="44">
                  <c:v>659.0</c:v>
                </c:pt>
                <c:pt idx="45">
                  <c:v>708.0</c:v>
                </c:pt>
                <c:pt idx="46">
                  <c:v>455.0</c:v>
                </c:pt>
                <c:pt idx="47">
                  <c:v>507.0</c:v>
                </c:pt>
                <c:pt idx="48">
                  <c:v>722.0</c:v>
                </c:pt>
                <c:pt idx="49">
                  <c:v>590.0</c:v>
                </c:pt>
                <c:pt idx="50">
                  <c:v>373.0</c:v>
                </c:pt>
                <c:pt idx="51">
                  <c:v>563.0</c:v>
                </c:pt>
                <c:pt idx="52">
                  <c:v>446.0</c:v>
                </c:pt>
                <c:pt idx="53">
                  <c:v>439.0</c:v>
                </c:pt>
                <c:pt idx="54">
                  <c:v>308.0</c:v>
                </c:pt>
                <c:pt idx="55">
                  <c:v>349.0</c:v>
                </c:pt>
                <c:pt idx="56">
                  <c:v>347.0</c:v>
                </c:pt>
                <c:pt idx="57">
                  <c:v>366.0</c:v>
                </c:pt>
                <c:pt idx="58">
                  <c:v>374.0</c:v>
                </c:pt>
                <c:pt idx="59">
                  <c:v>340.0</c:v>
                </c:pt>
                <c:pt idx="60">
                  <c:v>472.0</c:v>
                </c:pt>
                <c:pt idx="61">
                  <c:v>356.0</c:v>
                </c:pt>
                <c:pt idx="62">
                  <c:v>474.0</c:v>
                </c:pt>
                <c:pt idx="63">
                  <c:v>580.0</c:v>
                </c:pt>
                <c:pt idx="64">
                  <c:v>515.0</c:v>
                </c:pt>
                <c:pt idx="65">
                  <c:v>540.0</c:v>
                </c:pt>
                <c:pt idx="66">
                  <c:v>424.0</c:v>
                </c:pt>
                <c:pt idx="67">
                  <c:v>606.0</c:v>
                </c:pt>
                <c:pt idx="68">
                  <c:v>902.0</c:v>
                </c:pt>
                <c:pt idx="69">
                  <c:v>330.0</c:v>
                </c:pt>
                <c:pt idx="70">
                  <c:v>353.0</c:v>
                </c:pt>
                <c:pt idx="71">
                  <c:v>603.0</c:v>
                </c:pt>
                <c:pt idx="72">
                  <c:v>677.0</c:v>
                </c:pt>
                <c:pt idx="73">
                  <c:v>406.0</c:v>
                </c:pt>
                <c:pt idx="74">
                  <c:v>1183.0</c:v>
                </c:pt>
                <c:pt idx="75">
                  <c:v>1025.0</c:v>
                </c:pt>
                <c:pt idx="76">
                  <c:v>215.0</c:v>
                </c:pt>
                <c:pt idx="77">
                  <c:v>436.0</c:v>
                </c:pt>
                <c:pt idx="78">
                  <c:v>1158.0</c:v>
                </c:pt>
                <c:pt idx="79">
                  <c:v>455.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675.0</c:v>
                </c:pt>
                <c:pt idx="1">
                  <c:v>737.0</c:v>
                </c:pt>
                <c:pt idx="2">
                  <c:v>330.0</c:v>
                </c:pt>
                <c:pt idx="3">
                  <c:v>321.0</c:v>
                </c:pt>
                <c:pt idx="4">
                  <c:v>137.0</c:v>
                </c:pt>
                <c:pt idx="5">
                  <c:v>277.0</c:v>
                </c:pt>
                <c:pt idx="6">
                  <c:v>428.0</c:v>
                </c:pt>
                <c:pt idx="7">
                  <c:v>607.0</c:v>
                </c:pt>
                <c:pt idx="8">
                  <c:v>496.0</c:v>
                </c:pt>
                <c:pt idx="9">
                  <c:v>521.0</c:v>
                </c:pt>
                <c:pt idx="10">
                  <c:v>457.0</c:v>
                </c:pt>
                <c:pt idx="11">
                  <c:v>308.0</c:v>
                </c:pt>
                <c:pt idx="12">
                  <c:v>499.0</c:v>
                </c:pt>
                <c:pt idx="13">
                  <c:v>757.0</c:v>
                </c:pt>
                <c:pt idx="14">
                  <c:v>723.0</c:v>
                </c:pt>
                <c:pt idx="15">
                  <c:v>534.0</c:v>
                </c:pt>
                <c:pt idx="16">
                  <c:v>549.0</c:v>
                </c:pt>
                <c:pt idx="17">
                  <c:v>538.0</c:v>
                </c:pt>
                <c:pt idx="18">
                  <c:v>525.0</c:v>
                </c:pt>
                <c:pt idx="19">
                  <c:v>850.0</c:v>
                </c:pt>
                <c:pt idx="20">
                  <c:v>1171.0</c:v>
                </c:pt>
                <c:pt idx="21">
                  <c:v>778.0</c:v>
                </c:pt>
                <c:pt idx="22">
                  <c:v>1506.0</c:v>
                </c:pt>
                <c:pt idx="23">
                  <c:v>1063.0</c:v>
                </c:pt>
                <c:pt idx="24">
                  <c:v>871.0</c:v>
                </c:pt>
                <c:pt idx="25">
                  <c:v>379.0</c:v>
                </c:pt>
                <c:pt idx="26">
                  <c:v>503.0</c:v>
                </c:pt>
                <c:pt idx="27">
                  <c:v>595.0</c:v>
                </c:pt>
                <c:pt idx="28">
                  <c:v>641.0</c:v>
                </c:pt>
                <c:pt idx="29">
                  <c:v>390.0</c:v>
                </c:pt>
                <c:pt idx="30">
                  <c:v>448.0</c:v>
                </c:pt>
                <c:pt idx="31">
                  <c:v>450.0</c:v>
                </c:pt>
                <c:pt idx="32">
                  <c:v>437.0</c:v>
                </c:pt>
                <c:pt idx="33">
                  <c:v>315.0</c:v>
                </c:pt>
                <c:pt idx="34">
                  <c:v>439.0</c:v>
                </c:pt>
                <c:pt idx="35">
                  <c:v>687.0</c:v>
                </c:pt>
                <c:pt idx="36">
                  <c:v>381.0</c:v>
                </c:pt>
                <c:pt idx="37">
                  <c:v>313.0</c:v>
                </c:pt>
                <c:pt idx="38">
                  <c:v>488.0</c:v>
                </c:pt>
                <c:pt idx="39">
                  <c:v>740.0</c:v>
                </c:pt>
                <c:pt idx="40">
                  <c:v>986.0</c:v>
                </c:pt>
                <c:pt idx="41">
                  <c:v>822.0</c:v>
                </c:pt>
                <c:pt idx="42">
                  <c:v>641.0</c:v>
                </c:pt>
                <c:pt idx="43">
                  <c:v>855.0</c:v>
                </c:pt>
                <c:pt idx="44">
                  <c:v>659.0</c:v>
                </c:pt>
                <c:pt idx="45">
                  <c:v>708.0</c:v>
                </c:pt>
                <c:pt idx="46">
                  <c:v>455.0</c:v>
                </c:pt>
                <c:pt idx="47">
                  <c:v>507.0</c:v>
                </c:pt>
                <c:pt idx="48">
                  <c:v>722.0</c:v>
                </c:pt>
                <c:pt idx="49">
                  <c:v>590.0</c:v>
                </c:pt>
                <c:pt idx="50">
                  <c:v>373.0</c:v>
                </c:pt>
                <c:pt idx="51">
                  <c:v>563.0</c:v>
                </c:pt>
                <c:pt idx="52">
                  <c:v>446.0</c:v>
                </c:pt>
                <c:pt idx="53">
                  <c:v>439.0</c:v>
                </c:pt>
                <c:pt idx="54">
                  <c:v>308.0</c:v>
                </c:pt>
                <c:pt idx="55">
                  <c:v>349.0</c:v>
                </c:pt>
                <c:pt idx="56">
                  <c:v>347.0</c:v>
                </c:pt>
                <c:pt idx="57">
                  <c:v>366.0</c:v>
                </c:pt>
                <c:pt idx="58">
                  <c:v>374.0</c:v>
                </c:pt>
                <c:pt idx="59">
                  <c:v>340.0</c:v>
                </c:pt>
                <c:pt idx="60">
                  <c:v>472.0</c:v>
                </c:pt>
                <c:pt idx="61">
                  <c:v>356.0</c:v>
                </c:pt>
                <c:pt idx="62">
                  <c:v>474.0</c:v>
                </c:pt>
                <c:pt idx="63">
                  <c:v>580.0</c:v>
                </c:pt>
                <c:pt idx="64">
                  <c:v>515.0</c:v>
                </c:pt>
                <c:pt idx="65">
                  <c:v>540.0</c:v>
                </c:pt>
                <c:pt idx="66">
                  <c:v>424.0</c:v>
                </c:pt>
                <c:pt idx="67">
                  <c:v>606.0</c:v>
                </c:pt>
                <c:pt idx="68">
                  <c:v>902.0</c:v>
                </c:pt>
                <c:pt idx="69">
                  <c:v>330.0</c:v>
                </c:pt>
                <c:pt idx="70">
                  <c:v>353.0</c:v>
                </c:pt>
                <c:pt idx="71">
                  <c:v>603.0</c:v>
                </c:pt>
                <c:pt idx="72">
                  <c:v>677.0</c:v>
                </c:pt>
                <c:pt idx="73">
                  <c:v>406.0</c:v>
                </c:pt>
                <c:pt idx="74">
                  <c:v>1183.0</c:v>
                </c:pt>
                <c:pt idx="75">
                  <c:v>1025.0</c:v>
                </c:pt>
                <c:pt idx="76">
                  <c:v>215.0</c:v>
                </c:pt>
                <c:pt idx="77">
                  <c:v>436.0</c:v>
                </c:pt>
                <c:pt idx="78">
                  <c:v>1158.0</c:v>
                </c:pt>
                <c:pt idx="79">
                  <c:v>455.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640.0</c:v>
                </c:pt>
                <c:pt idx="1">
                  <c:v>662.0</c:v>
                </c:pt>
                <c:pt idx="2">
                  <c:v>380.0</c:v>
                </c:pt>
                <c:pt idx="3">
                  <c:v>580.0</c:v>
                </c:pt>
                <c:pt idx="4">
                  <c:v>556.0</c:v>
                </c:pt>
                <c:pt idx="5">
                  <c:v>532.0</c:v>
                </c:pt>
                <c:pt idx="6">
                  <c:v>384.0</c:v>
                </c:pt>
                <c:pt idx="7">
                  <c:v>508.0</c:v>
                </c:pt>
                <c:pt idx="8">
                  <c:v>408.0</c:v>
                </c:pt>
                <c:pt idx="9">
                  <c:v>408.0</c:v>
                </c:pt>
                <c:pt idx="10">
                  <c:v>491.0</c:v>
                </c:pt>
                <c:pt idx="11">
                  <c:v>384.0</c:v>
                </c:pt>
                <c:pt idx="12">
                  <c:v>408.0</c:v>
                </c:pt>
                <c:pt idx="13">
                  <c:v>591.0</c:v>
                </c:pt>
                <c:pt idx="14">
                  <c:v>596.0</c:v>
                </c:pt>
                <c:pt idx="15">
                  <c:v>721.0</c:v>
                </c:pt>
                <c:pt idx="16">
                  <c:v>785.0</c:v>
                </c:pt>
                <c:pt idx="17">
                  <c:v>602.0</c:v>
                </c:pt>
                <c:pt idx="18">
                  <c:v>702.0</c:v>
                </c:pt>
                <c:pt idx="19">
                  <c:v>768.0</c:v>
                </c:pt>
                <c:pt idx="20">
                  <c:v>691.0</c:v>
                </c:pt>
                <c:pt idx="21">
                  <c:v>632.0</c:v>
                </c:pt>
                <c:pt idx="22">
                  <c:v>911.0</c:v>
                </c:pt>
                <c:pt idx="23">
                  <c:v>834.0</c:v>
                </c:pt>
                <c:pt idx="24">
                  <c:v>704.0</c:v>
                </c:pt>
                <c:pt idx="25">
                  <c:v>680.0</c:v>
                </c:pt>
                <c:pt idx="26">
                  <c:v>947.0</c:v>
                </c:pt>
                <c:pt idx="27">
                  <c:v>864.0</c:v>
                </c:pt>
                <c:pt idx="28">
                  <c:v>888.0</c:v>
                </c:pt>
                <c:pt idx="29">
                  <c:v>846.0</c:v>
                </c:pt>
                <c:pt idx="30">
                  <c:v>656.0</c:v>
                </c:pt>
                <c:pt idx="31">
                  <c:v>739.0</c:v>
                </c:pt>
                <c:pt idx="32">
                  <c:v>679.0</c:v>
                </c:pt>
                <c:pt idx="33">
                  <c:v>655.0</c:v>
                </c:pt>
                <c:pt idx="34">
                  <c:v>581.0</c:v>
                </c:pt>
                <c:pt idx="35">
                  <c:v>573.0</c:v>
                </c:pt>
                <c:pt idx="36">
                  <c:v>440.0</c:v>
                </c:pt>
                <c:pt idx="37">
                  <c:v>457.0</c:v>
                </c:pt>
                <c:pt idx="38">
                  <c:v>481.0</c:v>
                </c:pt>
                <c:pt idx="39">
                  <c:v>541.0</c:v>
                </c:pt>
                <c:pt idx="40">
                  <c:v>515.0</c:v>
                </c:pt>
                <c:pt idx="41">
                  <c:v>541.0</c:v>
                </c:pt>
                <c:pt idx="42">
                  <c:v>473.0</c:v>
                </c:pt>
                <c:pt idx="43">
                  <c:v>458.0</c:v>
                </c:pt>
                <c:pt idx="44">
                  <c:v>481.0</c:v>
                </c:pt>
                <c:pt idx="45">
                  <c:v>523.0</c:v>
                </c:pt>
                <c:pt idx="46">
                  <c:v>523.0</c:v>
                </c:pt>
                <c:pt idx="47">
                  <c:v>501.0</c:v>
                </c:pt>
                <c:pt idx="48">
                  <c:v>573.0</c:v>
                </c:pt>
                <c:pt idx="49">
                  <c:v>516.0</c:v>
                </c:pt>
                <c:pt idx="50">
                  <c:v>448.0</c:v>
                </c:pt>
                <c:pt idx="51">
                  <c:v>532.0</c:v>
                </c:pt>
                <c:pt idx="52">
                  <c:v>474.0</c:v>
                </c:pt>
                <c:pt idx="53">
                  <c:v>516.0</c:v>
                </c:pt>
                <c:pt idx="54">
                  <c:v>510.0</c:v>
                </c:pt>
                <c:pt idx="55">
                  <c:v>448.0</c:v>
                </c:pt>
                <c:pt idx="56">
                  <c:v>424.0</c:v>
                </c:pt>
                <c:pt idx="57">
                  <c:v>460.0</c:v>
                </c:pt>
                <c:pt idx="58">
                  <c:v>424.0</c:v>
                </c:pt>
                <c:pt idx="59">
                  <c:v>440.0</c:v>
                </c:pt>
                <c:pt idx="60">
                  <c:v>398.0</c:v>
                </c:pt>
                <c:pt idx="61">
                  <c:v>416.0</c:v>
                </c:pt>
                <c:pt idx="62">
                  <c:v>374.0</c:v>
                </c:pt>
                <c:pt idx="63">
                  <c:v>458.0</c:v>
                </c:pt>
                <c:pt idx="64">
                  <c:v>409.0</c:v>
                </c:pt>
                <c:pt idx="65">
                  <c:v>433.0</c:v>
                </c:pt>
                <c:pt idx="66">
                  <c:v>398.0</c:v>
                </c:pt>
                <c:pt idx="67">
                  <c:v>524.0</c:v>
                </c:pt>
                <c:pt idx="68">
                  <c:v>508.0</c:v>
                </c:pt>
                <c:pt idx="69">
                  <c:v>550.0</c:v>
                </c:pt>
                <c:pt idx="70">
                  <c:v>482.0</c:v>
                </c:pt>
                <c:pt idx="71">
                  <c:v>508.0</c:v>
                </c:pt>
                <c:pt idx="72">
                  <c:v>550.0</c:v>
                </c:pt>
                <c:pt idx="73">
                  <c:v>466.0</c:v>
                </c:pt>
                <c:pt idx="74">
                  <c:v>623.0</c:v>
                </c:pt>
                <c:pt idx="75">
                  <c:v>689.0</c:v>
                </c:pt>
                <c:pt idx="76">
                  <c:v>623.0</c:v>
                </c:pt>
                <c:pt idx="77">
                  <c:v>514.0</c:v>
                </c:pt>
                <c:pt idx="78">
                  <c:v>755.0</c:v>
                </c:pt>
                <c:pt idx="79">
                  <c:v>67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37</c:v>
                </c:pt>
                <c:pt idx="40">
                  <c:v>0.71</c:v>
                </c:pt>
                <c:pt idx="41">
                  <c:v>0.55</c:v>
                </c:pt>
                <c:pt idx="42">
                  <c:v>0.5</c:v>
                </c:pt>
                <c:pt idx="43">
                  <c:v>0.22</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28.0</c:v>
                </c:pt>
                <c:pt idx="40">
                  <c:v>592.0</c:v>
                </c:pt>
                <c:pt idx="41">
                  <c:v>350.0</c:v>
                </c:pt>
                <c:pt idx="42">
                  <c:v>818.0</c:v>
                </c:pt>
                <c:pt idx="43">
                  <c:v>8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301.0</c:v>
                </c:pt>
                <c:pt idx="1">
                  <c:v>327.0</c:v>
                </c:pt>
                <c:pt idx="2">
                  <c:v>519.0</c:v>
                </c:pt>
                <c:pt idx="3">
                  <c:v>873.0</c:v>
                </c:pt>
                <c:pt idx="4">
                  <c:v>395.0</c:v>
                </c:pt>
                <c:pt idx="5">
                  <c:v>371.0</c:v>
                </c:pt>
                <c:pt idx="6">
                  <c:v>521.0</c:v>
                </c:pt>
                <c:pt idx="7">
                  <c:v>309.0</c:v>
                </c:pt>
                <c:pt idx="8">
                  <c:v>189.0</c:v>
                </c:pt>
                <c:pt idx="9">
                  <c:v>384.0</c:v>
                </c:pt>
                <c:pt idx="10">
                  <c:v>396.0</c:v>
                </c:pt>
                <c:pt idx="11">
                  <c:v>119.0</c:v>
                </c:pt>
                <c:pt idx="12">
                  <c:v>543.0</c:v>
                </c:pt>
                <c:pt idx="13">
                  <c:v>495.0</c:v>
                </c:pt>
                <c:pt idx="14">
                  <c:v>423.0</c:v>
                </c:pt>
                <c:pt idx="15">
                  <c:v>183.0</c:v>
                </c:pt>
                <c:pt idx="16">
                  <c:v>237.0</c:v>
                </c:pt>
                <c:pt idx="17">
                  <c:v>357.0</c:v>
                </c:pt>
                <c:pt idx="18">
                  <c:v>321.0</c:v>
                </c:pt>
                <c:pt idx="19">
                  <c:v>1065.0</c:v>
                </c:pt>
                <c:pt idx="20">
                  <c:v>521.0</c:v>
                </c:pt>
                <c:pt idx="21">
                  <c:v>969.0</c:v>
                </c:pt>
                <c:pt idx="22">
                  <c:v>2604.0</c:v>
                </c:pt>
                <c:pt idx="23">
                  <c:v>2315.0</c:v>
                </c:pt>
                <c:pt idx="24">
                  <c:v>1414.0</c:v>
                </c:pt>
                <c:pt idx="25">
                  <c:v>302.0</c:v>
                </c:pt>
                <c:pt idx="26">
                  <c:v>336.0</c:v>
                </c:pt>
                <c:pt idx="27">
                  <c:v>319.0</c:v>
                </c:pt>
                <c:pt idx="28">
                  <c:v>179.0</c:v>
                </c:pt>
                <c:pt idx="29">
                  <c:v>342.0</c:v>
                </c:pt>
                <c:pt idx="30">
                  <c:v>581.0</c:v>
                </c:pt>
                <c:pt idx="31">
                  <c:v>238.0</c:v>
                </c:pt>
                <c:pt idx="32">
                  <c:v>507.0</c:v>
                </c:pt>
                <c:pt idx="33">
                  <c:v>315.0</c:v>
                </c:pt>
                <c:pt idx="34">
                  <c:v>475.0</c:v>
                </c:pt>
                <c:pt idx="35">
                  <c:v>563.0</c:v>
                </c:pt>
                <c:pt idx="36">
                  <c:v>432.0</c:v>
                </c:pt>
                <c:pt idx="37">
                  <c:v>439.0</c:v>
                </c:pt>
                <c:pt idx="38">
                  <c:v>324.0</c:v>
                </c:pt>
                <c:pt idx="39">
                  <c:v>326.0</c:v>
                </c:pt>
                <c:pt idx="40">
                  <c:v>278.0</c:v>
                </c:pt>
                <c:pt idx="41">
                  <c:v>401.0</c:v>
                </c:pt>
                <c:pt idx="42">
                  <c:v>301.0</c:v>
                </c:pt>
                <c:pt idx="43">
                  <c:v>573.0</c:v>
                </c:pt>
                <c:pt idx="44">
                  <c:v>366.0</c:v>
                </c:pt>
                <c:pt idx="45">
                  <c:v>369.0</c:v>
                </c:pt>
                <c:pt idx="46">
                  <c:v>356.0</c:v>
                </c:pt>
                <c:pt idx="47">
                  <c:v>214.0</c:v>
                </c:pt>
                <c:pt idx="48">
                  <c:v>279.0</c:v>
                </c:pt>
                <c:pt idx="49">
                  <c:v>324.0</c:v>
                </c:pt>
                <c:pt idx="50">
                  <c:v>321.0</c:v>
                </c:pt>
                <c:pt idx="51">
                  <c:v>468.0</c:v>
                </c:pt>
                <c:pt idx="52">
                  <c:v>447.0</c:v>
                </c:pt>
                <c:pt idx="53">
                  <c:v>297.0</c:v>
                </c:pt>
                <c:pt idx="54">
                  <c:v>420.0</c:v>
                </c:pt>
                <c:pt idx="55">
                  <c:v>532.0</c:v>
                </c:pt>
                <c:pt idx="56">
                  <c:v>403.0</c:v>
                </c:pt>
                <c:pt idx="57">
                  <c:v>307.0</c:v>
                </c:pt>
                <c:pt idx="58">
                  <c:v>670.0</c:v>
                </c:pt>
                <c:pt idx="59">
                  <c:v>149.0</c:v>
                </c:pt>
                <c:pt idx="60">
                  <c:v>166.0</c:v>
                </c:pt>
                <c:pt idx="61">
                  <c:v>505.0</c:v>
                </c:pt>
                <c:pt idx="62">
                  <c:v>463.0</c:v>
                </c:pt>
                <c:pt idx="63">
                  <c:v>223.0</c:v>
                </c:pt>
                <c:pt idx="64">
                  <c:v>240.0</c:v>
                </c:pt>
                <c:pt idx="65">
                  <c:v>597.0</c:v>
                </c:pt>
                <c:pt idx="66">
                  <c:v>315.0</c:v>
                </c:pt>
                <c:pt idx="67">
                  <c:v>472.0</c:v>
                </c:pt>
                <c:pt idx="68">
                  <c:v>246.0</c:v>
                </c:pt>
                <c:pt idx="69">
                  <c:v>430.0</c:v>
                </c:pt>
                <c:pt idx="70">
                  <c:v>530.0</c:v>
                </c:pt>
                <c:pt idx="71">
                  <c:v>486.0</c:v>
                </c:pt>
                <c:pt idx="72">
                  <c:v>746.0</c:v>
                </c:pt>
                <c:pt idx="73">
                  <c:v>1548.0</c:v>
                </c:pt>
                <c:pt idx="74">
                  <c:v>1930.0</c:v>
                </c:pt>
                <c:pt idx="75">
                  <c:v>2042.0</c:v>
                </c:pt>
                <c:pt idx="76">
                  <c:v>349.0</c:v>
                </c:pt>
                <c:pt idx="77">
                  <c:v>770.0</c:v>
                </c:pt>
                <c:pt idx="78">
                  <c:v>370.0</c:v>
                </c:pt>
                <c:pt idx="79">
                  <c:v>54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301.0</c:v>
                </c:pt>
                <c:pt idx="1">
                  <c:v>327.0</c:v>
                </c:pt>
                <c:pt idx="2">
                  <c:v>519.0</c:v>
                </c:pt>
                <c:pt idx="3">
                  <c:v>873.0</c:v>
                </c:pt>
                <c:pt idx="4">
                  <c:v>395.0</c:v>
                </c:pt>
                <c:pt idx="5">
                  <c:v>371.0</c:v>
                </c:pt>
                <c:pt idx="6">
                  <c:v>521.0</c:v>
                </c:pt>
                <c:pt idx="7">
                  <c:v>309.0</c:v>
                </c:pt>
                <c:pt idx="8">
                  <c:v>189.0</c:v>
                </c:pt>
                <c:pt idx="9">
                  <c:v>384.0</c:v>
                </c:pt>
                <c:pt idx="10">
                  <c:v>396.0</c:v>
                </c:pt>
                <c:pt idx="11">
                  <c:v>119.0</c:v>
                </c:pt>
                <c:pt idx="12">
                  <c:v>543.0</c:v>
                </c:pt>
                <c:pt idx="13">
                  <c:v>495.0</c:v>
                </c:pt>
                <c:pt idx="14">
                  <c:v>423.0</c:v>
                </c:pt>
                <c:pt idx="15">
                  <c:v>183.0</c:v>
                </c:pt>
                <c:pt idx="16">
                  <c:v>237.0</c:v>
                </c:pt>
                <c:pt idx="17">
                  <c:v>357.0</c:v>
                </c:pt>
                <c:pt idx="18">
                  <c:v>321.0</c:v>
                </c:pt>
                <c:pt idx="19">
                  <c:v>1065.0</c:v>
                </c:pt>
                <c:pt idx="20">
                  <c:v>521.0</c:v>
                </c:pt>
                <c:pt idx="21">
                  <c:v>969.0</c:v>
                </c:pt>
                <c:pt idx="22">
                  <c:v>2604.0</c:v>
                </c:pt>
                <c:pt idx="23">
                  <c:v>2315.0</c:v>
                </c:pt>
                <c:pt idx="24">
                  <c:v>1414.0</c:v>
                </c:pt>
                <c:pt idx="25">
                  <c:v>302.0</c:v>
                </c:pt>
                <c:pt idx="26">
                  <c:v>336.0</c:v>
                </c:pt>
                <c:pt idx="27">
                  <c:v>319.0</c:v>
                </c:pt>
                <c:pt idx="28">
                  <c:v>179.0</c:v>
                </c:pt>
                <c:pt idx="29">
                  <c:v>342.0</c:v>
                </c:pt>
                <c:pt idx="30">
                  <c:v>581.0</c:v>
                </c:pt>
                <c:pt idx="31">
                  <c:v>238.0</c:v>
                </c:pt>
                <c:pt idx="32">
                  <c:v>507.0</c:v>
                </c:pt>
                <c:pt idx="33">
                  <c:v>315.0</c:v>
                </c:pt>
                <c:pt idx="34">
                  <c:v>475.0</c:v>
                </c:pt>
                <c:pt idx="35">
                  <c:v>563.0</c:v>
                </c:pt>
                <c:pt idx="36">
                  <c:v>432.0</c:v>
                </c:pt>
                <c:pt idx="37">
                  <c:v>439.0</c:v>
                </c:pt>
                <c:pt idx="38">
                  <c:v>324.0</c:v>
                </c:pt>
                <c:pt idx="39">
                  <c:v>754.0</c:v>
                </c:pt>
                <c:pt idx="40">
                  <c:v>870.0</c:v>
                </c:pt>
                <c:pt idx="41">
                  <c:v>751.0</c:v>
                </c:pt>
                <c:pt idx="42">
                  <c:v>1119.0</c:v>
                </c:pt>
                <c:pt idx="43">
                  <c:v>657.0</c:v>
                </c:pt>
                <c:pt idx="44">
                  <c:v>366.0</c:v>
                </c:pt>
                <c:pt idx="45">
                  <c:v>369.0</c:v>
                </c:pt>
                <c:pt idx="46">
                  <c:v>356.0</c:v>
                </c:pt>
                <c:pt idx="47">
                  <c:v>214.0</c:v>
                </c:pt>
                <c:pt idx="48">
                  <c:v>279.0</c:v>
                </c:pt>
                <c:pt idx="49">
                  <c:v>324.0</c:v>
                </c:pt>
                <c:pt idx="50">
                  <c:v>321.0</c:v>
                </c:pt>
                <c:pt idx="51">
                  <c:v>468.0</c:v>
                </c:pt>
                <c:pt idx="52">
                  <c:v>447.0</c:v>
                </c:pt>
                <c:pt idx="53">
                  <c:v>297.0</c:v>
                </c:pt>
                <c:pt idx="54">
                  <c:v>420.0</c:v>
                </c:pt>
                <c:pt idx="55">
                  <c:v>532.0</c:v>
                </c:pt>
                <c:pt idx="56">
                  <c:v>403.0</c:v>
                </c:pt>
                <c:pt idx="57">
                  <c:v>307.0</c:v>
                </c:pt>
                <c:pt idx="58">
                  <c:v>670.0</c:v>
                </c:pt>
                <c:pt idx="59">
                  <c:v>149.0</c:v>
                </c:pt>
                <c:pt idx="60">
                  <c:v>166.0</c:v>
                </c:pt>
                <c:pt idx="61">
                  <c:v>505.0</c:v>
                </c:pt>
                <c:pt idx="62">
                  <c:v>463.0</c:v>
                </c:pt>
                <c:pt idx="63">
                  <c:v>223.0</c:v>
                </c:pt>
                <c:pt idx="64">
                  <c:v>240.0</c:v>
                </c:pt>
                <c:pt idx="65">
                  <c:v>597.0</c:v>
                </c:pt>
                <c:pt idx="66">
                  <c:v>315.0</c:v>
                </c:pt>
                <c:pt idx="67">
                  <c:v>472.0</c:v>
                </c:pt>
                <c:pt idx="68">
                  <c:v>246.0</c:v>
                </c:pt>
                <c:pt idx="69">
                  <c:v>430.0</c:v>
                </c:pt>
                <c:pt idx="70">
                  <c:v>530.0</c:v>
                </c:pt>
                <c:pt idx="71">
                  <c:v>486.0</c:v>
                </c:pt>
                <c:pt idx="72">
                  <c:v>746.0</c:v>
                </c:pt>
                <c:pt idx="73">
                  <c:v>1548.0</c:v>
                </c:pt>
                <c:pt idx="74">
                  <c:v>1930.0</c:v>
                </c:pt>
                <c:pt idx="75">
                  <c:v>2042.0</c:v>
                </c:pt>
                <c:pt idx="76">
                  <c:v>349.0</c:v>
                </c:pt>
                <c:pt idx="77">
                  <c:v>770.0</c:v>
                </c:pt>
                <c:pt idx="78">
                  <c:v>370.0</c:v>
                </c:pt>
                <c:pt idx="79">
                  <c:v>54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419.0</c:v>
                </c:pt>
                <c:pt idx="1">
                  <c:v>418.0</c:v>
                </c:pt>
                <c:pt idx="2">
                  <c:v>418.0</c:v>
                </c:pt>
                <c:pt idx="3">
                  <c:v>691.0</c:v>
                </c:pt>
                <c:pt idx="4">
                  <c:v>501.0</c:v>
                </c:pt>
                <c:pt idx="5">
                  <c:v>418.0</c:v>
                </c:pt>
                <c:pt idx="6">
                  <c:v>602.0</c:v>
                </c:pt>
                <c:pt idx="7">
                  <c:v>311.0</c:v>
                </c:pt>
                <c:pt idx="8">
                  <c:v>311.0</c:v>
                </c:pt>
                <c:pt idx="9">
                  <c:v>322.0</c:v>
                </c:pt>
                <c:pt idx="10">
                  <c:v>370.0</c:v>
                </c:pt>
                <c:pt idx="11">
                  <c:v>263.0</c:v>
                </c:pt>
                <c:pt idx="12">
                  <c:v>430.0</c:v>
                </c:pt>
                <c:pt idx="13">
                  <c:v>287.0</c:v>
                </c:pt>
                <c:pt idx="14">
                  <c:v>239.0</c:v>
                </c:pt>
                <c:pt idx="15">
                  <c:v>370.0</c:v>
                </c:pt>
                <c:pt idx="16">
                  <c:v>412.0</c:v>
                </c:pt>
                <c:pt idx="17">
                  <c:v>288.0</c:v>
                </c:pt>
                <c:pt idx="18">
                  <c:v>495.0</c:v>
                </c:pt>
                <c:pt idx="19">
                  <c:v>484.0</c:v>
                </c:pt>
                <c:pt idx="20">
                  <c:v>526.0</c:v>
                </c:pt>
                <c:pt idx="21">
                  <c:v>508.0</c:v>
                </c:pt>
                <c:pt idx="22">
                  <c:v>759.0</c:v>
                </c:pt>
                <c:pt idx="23">
                  <c:v>1070.0</c:v>
                </c:pt>
                <c:pt idx="24">
                  <c:v>1137.0</c:v>
                </c:pt>
                <c:pt idx="25">
                  <c:v>863.0</c:v>
                </c:pt>
                <c:pt idx="26">
                  <c:v>962.0</c:v>
                </c:pt>
                <c:pt idx="27">
                  <c:v>862.0</c:v>
                </c:pt>
                <c:pt idx="28">
                  <c:v>822.0</c:v>
                </c:pt>
                <c:pt idx="29">
                  <c:v>796.0</c:v>
                </c:pt>
                <c:pt idx="30">
                  <c:v>905.0</c:v>
                </c:pt>
                <c:pt idx="31">
                  <c:v>669.0</c:v>
                </c:pt>
                <c:pt idx="32">
                  <c:v>778.0</c:v>
                </c:pt>
                <c:pt idx="33">
                  <c:v>794.0</c:v>
                </c:pt>
                <c:pt idx="34">
                  <c:v>628.0</c:v>
                </c:pt>
                <c:pt idx="35">
                  <c:v>646.0</c:v>
                </c:pt>
                <c:pt idx="36">
                  <c:v>416.0</c:v>
                </c:pt>
                <c:pt idx="37">
                  <c:v>429.0</c:v>
                </c:pt>
                <c:pt idx="38">
                  <c:v>348.0</c:v>
                </c:pt>
                <c:pt idx="39">
                  <c:v>557.0</c:v>
                </c:pt>
                <c:pt idx="40">
                  <c:v>663.0</c:v>
                </c:pt>
                <c:pt idx="41">
                  <c:v>648.0</c:v>
                </c:pt>
                <c:pt idx="42">
                  <c:v>621.0</c:v>
                </c:pt>
                <c:pt idx="43">
                  <c:v>496.0</c:v>
                </c:pt>
                <c:pt idx="44">
                  <c:v>538.0</c:v>
                </c:pt>
                <c:pt idx="45">
                  <c:v>454.0</c:v>
                </c:pt>
                <c:pt idx="46">
                  <c:v>536.0</c:v>
                </c:pt>
                <c:pt idx="47">
                  <c:v>406.0</c:v>
                </c:pt>
                <c:pt idx="48">
                  <c:v>446.0</c:v>
                </c:pt>
                <c:pt idx="49">
                  <c:v>298.0</c:v>
                </c:pt>
                <c:pt idx="50">
                  <c:v>322.0</c:v>
                </c:pt>
                <c:pt idx="51">
                  <c:v>322.0</c:v>
                </c:pt>
                <c:pt idx="52">
                  <c:v>446.0</c:v>
                </c:pt>
                <c:pt idx="53">
                  <c:v>380.0</c:v>
                </c:pt>
                <c:pt idx="54">
                  <c:v>464.0</c:v>
                </c:pt>
                <c:pt idx="55">
                  <c:v>334.0</c:v>
                </c:pt>
                <c:pt idx="56">
                  <c:v>404.0</c:v>
                </c:pt>
                <c:pt idx="57">
                  <c:v>332.0</c:v>
                </c:pt>
                <c:pt idx="58">
                  <c:v>488.0</c:v>
                </c:pt>
                <c:pt idx="59">
                  <c:v>322.0</c:v>
                </c:pt>
                <c:pt idx="60">
                  <c:v>332.0</c:v>
                </c:pt>
                <c:pt idx="61">
                  <c:v>406.0</c:v>
                </c:pt>
                <c:pt idx="62">
                  <c:v>404.0</c:v>
                </c:pt>
                <c:pt idx="63">
                  <c:v>322.0</c:v>
                </c:pt>
                <c:pt idx="64">
                  <c:v>404.0</c:v>
                </c:pt>
                <c:pt idx="65">
                  <c:v>406.0</c:v>
                </c:pt>
                <c:pt idx="66">
                  <c:v>406.0</c:v>
                </c:pt>
                <c:pt idx="67">
                  <c:v>490.0</c:v>
                </c:pt>
                <c:pt idx="68">
                  <c:v>322.0</c:v>
                </c:pt>
                <c:pt idx="69">
                  <c:v>406.0</c:v>
                </c:pt>
                <c:pt idx="70">
                  <c:v>490.0</c:v>
                </c:pt>
                <c:pt idx="71">
                  <c:v>516.0</c:v>
                </c:pt>
                <c:pt idx="72">
                  <c:v>372.0</c:v>
                </c:pt>
                <c:pt idx="73">
                  <c:v>700.0</c:v>
                </c:pt>
                <c:pt idx="74">
                  <c:v>824.0</c:v>
                </c:pt>
                <c:pt idx="75">
                  <c:v>840.0</c:v>
                </c:pt>
                <c:pt idx="76">
                  <c:v>696.0</c:v>
                </c:pt>
                <c:pt idx="77">
                  <c:v>890.0</c:v>
                </c:pt>
                <c:pt idx="78">
                  <c:v>722.0</c:v>
                </c:pt>
                <c:pt idx="79">
                  <c:v>71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53</c:v>
                </c:pt>
                <c:pt idx="40">
                  <c:v>0.62</c:v>
                </c:pt>
                <c:pt idx="41">
                  <c:v>0.4</c:v>
                </c:pt>
                <c:pt idx="42">
                  <c:v>0.68</c:v>
                </c:pt>
                <c:pt idx="43">
                  <c:v>0.13</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utz</c:v>
                </c:pt>
                <c:pt idx="2">
                  <c:v>Laurent Perrier</c:v>
                </c:pt>
                <c:pt idx="3">
                  <c:v>Demoiselle</c:v>
                </c:pt>
                <c:pt idx="4">
                  <c:v>Pommery</c:v>
                </c:pt>
                <c:pt idx="5">
                  <c:v>Nicolas</c:v>
                </c:pt>
              </c:strCache>
            </c:strRef>
          </c:cat>
          <c:val>
            <c:numRef>
              <c:f>Sheet1!$B$2:$B$7</c:f>
              <c:numCache>
                <c:formatCode>General</c:formatCode>
                <c:ptCount val="6"/>
                <c:pt idx="0">
                  <c:v>2.0</c:v>
                </c:pt>
                <c:pt idx="1">
                  <c:v>-0.30200000000000005</c:v>
                </c:pt>
                <c:pt idx="2">
                  <c:v>7.800000000000001</c:v>
                </c:pt>
                <c:pt idx="3">
                  <c:v>-0.21599999999999997</c:v>
                </c:pt>
                <c:pt idx="4">
                  <c:v>0.21199999999999997</c:v>
                </c:pt>
                <c:pt idx="5">
                  <c:v>-0.2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866.0</c:v>
                </c:pt>
                <c:pt idx="40">
                  <c:v>2525.0</c:v>
                </c:pt>
                <c:pt idx="41">
                  <c:v>2782.0</c:v>
                </c:pt>
                <c:pt idx="42">
                  <c:v>2450.0</c:v>
                </c:pt>
                <c:pt idx="43">
                  <c:v>224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030.0</c:v>
                </c:pt>
                <c:pt idx="1">
                  <c:v>2380.0</c:v>
                </c:pt>
                <c:pt idx="2">
                  <c:v>2123.0</c:v>
                </c:pt>
                <c:pt idx="3">
                  <c:v>2612.0</c:v>
                </c:pt>
                <c:pt idx="4">
                  <c:v>1807.0</c:v>
                </c:pt>
                <c:pt idx="5">
                  <c:v>1882.0</c:v>
                </c:pt>
                <c:pt idx="6">
                  <c:v>2665.0</c:v>
                </c:pt>
                <c:pt idx="7">
                  <c:v>2085.0</c:v>
                </c:pt>
                <c:pt idx="8">
                  <c:v>2609.0</c:v>
                </c:pt>
                <c:pt idx="9">
                  <c:v>2212.0</c:v>
                </c:pt>
                <c:pt idx="10">
                  <c:v>1581.0</c:v>
                </c:pt>
                <c:pt idx="11">
                  <c:v>2303.0</c:v>
                </c:pt>
                <c:pt idx="12">
                  <c:v>3828.0</c:v>
                </c:pt>
                <c:pt idx="13">
                  <c:v>3413.0</c:v>
                </c:pt>
                <c:pt idx="14">
                  <c:v>2368.0</c:v>
                </c:pt>
                <c:pt idx="15">
                  <c:v>1895.0</c:v>
                </c:pt>
                <c:pt idx="16">
                  <c:v>1731.0</c:v>
                </c:pt>
                <c:pt idx="17">
                  <c:v>2248.0</c:v>
                </c:pt>
                <c:pt idx="18">
                  <c:v>2321.0</c:v>
                </c:pt>
                <c:pt idx="19">
                  <c:v>3267.0</c:v>
                </c:pt>
                <c:pt idx="20">
                  <c:v>3594.0</c:v>
                </c:pt>
                <c:pt idx="21">
                  <c:v>4096.0</c:v>
                </c:pt>
                <c:pt idx="22">
                  <c:v>7452.0</c:v>
                </c:pt>
                <c:pt idx="23">
                  <c:v>6229.0</c:v>
                </c:pt>
                <c:pt idx="24">
                  <c:v>6088.0</c:v>
                </c:pt>
                <c:pt idx="25">
                  <c:v>1882.0</c:v>
                </c:pt>
                <c:pt idx="26">
                  <c:v>1736.0</c:v>
                </c:pt>
                <c:pt idx="27">
                  <c:v>1999.0</c:v>
                </c:pt>
                <c:pt idx="28">
                  <c:v>2083.0</c:v>
                </c:pt>
                <c:pt idx="29">
                  <c:v>1692.0</c:v>
                </c:pt>
                <c:pt idx="30">
                  <c:v>2816.0</c:v>
                </c:pt>
                <c:pt idx="31">
                  <c:v>1824.0</c:v>
                </c:pt>
                <c:pt idx="32">
                  <c:v>2136.0</c:v>
                </c:pt>
                <c:pt idx="33">
                  <c:v>2451.0</c:v>
                </c:pt>
                <c:pt idx="34">
                  <c:v>1604.0</c:v>
                </c:pt>
                <c:pt idx="35">
                  <c:v>1850.0</c:v>
                </c:pt>
                <c:pt idx="36">
                  <c:v>2330.0</c:v>
                </c:pt>
                <c:pt idx="37">
                  <c:v>1409.0</c:v>
                </c:pt>
                <c:pt idx="38">
                  <c:v>1654.0</c:v>
                </c:pt>
                <c:pt idx="39">
                  <c:v>1446.0</c:v>
                </c:pt>
                <c:pt idx="40">
                  <c:v>1121.0</c:v>
                </c:pt>
                <c:pt idx="41">
                  <c:v>2076.0</c:v>
                </c:pt>
                <c:pt idx="42">
                  <c:v>1571.0</c:v>
                </c:pt>
                <c:pt idx="43">
                  <c:v>2030.0</c:v>
                </c:pt>
                <c:pt idx="44">
                  <c:v>2483.0</c:v>
                </c:pt>
                <c:pt idx="45">
                  <c:v>2152.0</c:v>
                </c:pt>
                <c:pt idx="46">
                  <c:v>2287.0</c:v>
                </c:pt>
                <c:pt idx="47">
                  <c:v>2374.0</c:v>
                </c:pt>
                <c:pt idx="48">
                  <c:v>1623.0</c:v>
                </c:pt>
                <c:pt idx="49">
                  <c:v>2584.0</c:v>
                </c:pt>
                <c:pt idx="50">
                  <c:v>2616.0</c:v>
                </c:pt>
                <c:pt idx="51">
                  <c:v>2485.0</c:v>
                </c:pt>
                <c:pt idx="52">
                  <c:v>2011.0</c:v>
                </c:pt>
                <c:pt idx="53">
                  <c:v>1908.0</c:v>
                </c:pt>
                <c:pt idx="54">
                  <c:v>1627.0</c:v>
                </c:pt>
                <c:pt idx="55">
                  <c:v>1606.0</c:v>
                </c:pt>
                <c:pt idx="56">
                  <c:v>1496.0</c:v>
                </c:pt>
                <c:pt idx="57">
                  <c:v>1688.0</c:v>
                </c:pt>
                <c:pt idx="58">
                  <c:v>2014.0</c:v>
                </c:pt>
                <c:pt idx="59">
                  <c:v>1395.0</c:v>
                </c:pt>
                <c:pt idx="60">
                  <c:v>1888.0</c:v>
                </c:pt>
                <c:pt idx="61">
                  <c:v>1907.0</c:v>
                </c:pt>
                <c:pt idx="62">
                  <c:v>2135.0</c:v>
                </c:pt>
                <c:pt idx="63">
                  <c:v>1634.0</c:v>
                </c:pt>
                <c:pt idx="64">
                  <c:v>1410.0</c:v>
                </c:pt>
                <c:pt idx="65">
                  <c:v>1838.0</c:v>
                </c:pt>
                <c:pt idx="66">
                  <c:v>1852.0</c:v>
                </c:pt>
                <c:pt idx="67">
                  <c:v>2304.0</c:v>
                </c:pt>
                <c:pt idx="68">
                  <c:v>2403.0</c:v>
                </c:pt>
                <c:pt idx="69">
                  <c:v>2899.0</c:v>
                </c:pt>
                <c:pt idx="70">
                  <c:v>1800.0</c:v>
                </c:pt>
                <c:pt idx="71">
                  <c:v>1962.0</c:v>
                </c:pt>
                <c:pt idx="72">
                  <c:v>2223.0</c:v>
                </c:pt>
                <c:pt idx="73">
                  <c:v>2814.0</c:v>
                </c:pt>
                <c:pt idx="74">
                  <c:v>4620.0</c:v>
                </c:pt>
                <c:pt idx="75">
                  <c:v>4690.0</c:v>
                </c:pt>
                <c:pt idx="76">
                  <c:v>1658.0</c:v>
                </c:pt>
                <c:pt idx="77">
                  <c:v>2072.0</c:v>
                </c:pt>
                <c:pt idx="78">
                  <c:v>2589.0</c:v>
                </c:pt>
                <c:pt idx="79">
                  <c:v>2479.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030.0</c:v>
                </c:pt>
                <c:pt idx="1">
                  <c:v>2380.0</c:v>
                </c:pt>
                <c:pt idx="2">
                  <c:v>2123.0</c:v>
                </c:pt>
                <c:pt idx="3">
                  <c:v>2612.0</c:v>
                </c:pt>
                <c:pt idx="4">
                  <c:v>1807.0</c:v>
                </c:pt>
                <c:pt idx="5">
                  <c:v>1882.0</c:v>
                </c:pt>
                <c:pt idx="6">
                  <c:v>2665.0</c:v>
                </c:pt>
                <c:pt idx="7">
                  <c:v>2085.0</c:v>
                </c:pt>
                <c:pt idx="8">
                  <c:v>2609.0</c:v>
                </c:pt>
                <c:pt idx="9">
                  <c:v>2212.0</c:v>
                </c:pt>
                <c:pt idx="10">
                  <c:v>1581.0</c:v>
                </c:pt>
                <c:pt idx="11">
                  <c:v>2303.0</c:v>
                </c:pt>
                <c:pt idx="12">
                  <c:v>3828.0</c:v>
                </c:pt>
                <c:pt idx="13">
                  <c:v>3413.0</c:v>
                </c:pt>
                <c:pt idx="14">
                  <c:v>2368.0</c:v>
                </c:pt>
                <c:pt idx="15">
                  <c:v>1895.0</c:v>
                </c:pt>
                <c:pt idx="16">
                  <c:v>1731.0</c:v>
                </c:pt>
                <c:pt idx="17">
                  <c:v>2248.0</c:v>
                </c:pt>
                <c:pt idx="18">
                  <c:v>2321.0</c:v>
                </c:pt>
                <c:pt idx="19">
                  <c:v>3267.0</c:v>
                </c:pt>
                <c:pt idx="20">
                  <c:v>3594.0</c:v>
                </c:pt>
                <c:pt idx="21">
                  <c:v>4096.0</c:v>
                </c:pt>
                <c:pt idx="22">
                  <c:v>7452.0</c:v>
                </c:pt>
                <c:pt idx="23">
                  <c:v>6229.0</c:v>
                </c:pt>
                <c:pt idx="24">
                  <c:v>6088.0</c:v>
                </c:pt>
                <c:pt idx="25">
                  <c:v>1882.0</c:v>
                </c:pt>
                <c:pt idx="26">
                  <c:v>1736.0</c:v>
                </c:pt>
                <c:pt idx="27">
                  <c:v>1999.0</c:v>
                </c:pt>
                <c:pt idx="28">
                  <c:v>2083.0</c:v>
                </c:pt>
                <c:pt idx="29">
                  <c:v>1692.0</c:v>
                </c:pt>
                <c:pt idx="30">
                  <c:v>2816.0</c:v>
                </c:pt>
                <c:pt idx="31">
                  <c:v>1824.0</c:v>
                </c:pt>
                <c:pt idx="32">
                  <c:v>2136.0</c:v>
                </c:pt>
                <c:pt idx="33">
                  <c:v>2451.0</c:v>
                </c:pt>
                <c:pt idx="34">
                  <c:v>1604.0</c:v>
                </c:pt>
                <c:pt idx="35">
                  <c:v>1850.0</c:v>
                </c:pt>
                <c:pt idx="36">
                  <c:v>2330.0</c:v>
                </c:pt>
                <c:pt idx="37">
                  <c:v>1409.0</c:v>
                </c:pt>
                <c:pt idx="38">
                  <c:v>1654.0</c:v>
                </c:pt>
                <c:pt idx="39">
                  <c:v>3312.0</c:v>
                </c:pt>
                <c:pt idx="40">
                  <c:v>3646.0</c:v>
                </c:pt>
                <c:pt idx="41">
                  <c:v>4858.0</c:v>
                </c:pt>
                <c:pt idx="42">
                  <c:v>4021.0</c:v>
                </c:pt>
                <c:pt idx="43">
                  <c:v>4274.0</c:v>
                </c:pt>
                <c:pt idx="44">
                  <c:v>2483.0</c:v>
                </c:pt>
                <c:pt idx="45">
                  <c:v>2152.0</c:v>
                </c:pt>
                <c:pt idx="46">
                  <c:v>2287.0</c:v>
                </c:pt>
                <c:pt idx="47">
                  <c:v>2374.0</c:v>
                </c:pt>
                <c:pt idx="48">
                  <c:v>1623.0</c:v>
                </c:pt>
                <c:pt idx="49">
                  <c:v>2584.0</c:v>
                </c:pt>
                <c:pt idx="50">
                  <c:v>2616.0</c:v>
                </c:pt>
                <c:pt idx="51">
                  <c:v>2485.0</c:v>
                </c:pt>
                <c:pt idx="52">
                  <c:v>2011.0</c:v>
                </c:pt>
                <c:pt idx="53">
                  <c:v>1908.0</c:v>
                </c:pt>
                <c:pt idx="54">
                  <c:v>1627.0</c:v>
                </c:pt>
                <c:pt idx="55">
                  <c:v>1606.0</c:v>
                </c:pt>
                <c:pt idx="56">
                  <c:v>1496.0</c:v>
                </c:pt>
                <c:pt idx="57">
                  <c:v>1688.0</c:v>
                </c:pt>
                <c:pt idx="58">
                  <c:v>2014.0</c:v>
                </c:pt>
                <c:pt idx="59">
                  <c:v>1395.0</c:v>
                </c:pt>
                <c:pt idx="60">
                  <c:v>1888.0</c:v>
                </c:pt>
                <c:pt idx="61">
                  <c:v>1907.0</c:v>
                </c:pt>
                <c:pt idx="62">
                  <c:v>2135.0</c:v>
                </c:pt>
                <c:pt idx="63">
                  <c:v>1634.0</c:v>
                </c:pt>
                <c:pt idx="64">
                  <c:v>1410.0</c:v>
                </c:pt>
                <c:pt idx="65">
                  <c:v>1838.0</c:v>
                </c:pt>
                <c:pt idx="66">
                  <c:v>1852.0</c:v>
                </c:pt>
                <c:pt idx="67">
                  <c:v>2304.0</c:v>
                </c:pt>
                <c:pt idx="68">
                  <c:v>2403.0</c:v>
                </c:pt>
                <c:pt idx="69">
                  <c:v>2899.0</c:v>
                </c:pt>
                <c:pt idx="70">
                  <c:v>1800.0</c:v>
                </c:pt>
                <c:pt idx="71">
                  <c:v>1962.0</c:v>
                </c:pt>
                <c:pt idx="72">
                  <c:v>2223.0</c:v>
                </c:pt>
                <c:pt idx="73">
                  <c:v>2814.0</c:v>
                </c:pt>
                <c:pt idx="74">
                  <c:v>4620.0</c:v>
                </c:pt>
                <c:pt idx="75">
                  <c:v>4690.0</c:v>
                </c:pt>
                <c:pt idx="76">
                  <c:v>1658.0</c:v>
                </c:pt>
                <c:pt idx="77">
                  <c:v>2072.0</c:v>
                </c:pt>
                <c:pt idx="78">
                  <c:v>2589.0</c:v>
                </c:pt>
                <c:pt idx="79">
                  <c:v>2479.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731.0</c:v>
                </c:pt>
                <c:pt idx="1">
                  <c:v>2628.0</c:v>
                </c:pt>
                <c:pt idx="2">
                  <c:v>2556.0</c:v>
                </c:pt>
                <c:pt idx="3">
                  <c:v>2622.0</c:v>
                </c:pt>
                <c:pt idx="4">
                  <c:v>2518.0</c:v>
                </c:pt>
                <c:pt idx="5">
                  <c:v>2257.0</c:v>
                </c:pt>
                <c:pt idx="6">
                  <c:v>2448.0</c:v>
                </c:pt>
                <c:pt idx="7">
                  <c:v>2317.0</c:v>
                </c:pt>
                <c:pt idx="8">
                  <c:v>2406.0</c:v>
                </c:pt>
                <c:pt idx="9">
                  <c:v>2316.0</c:v>
                </c:pt>
                <c:pt idx="10">
                  <c:v>2063.0</c:v>
                </c:pt>
                <c:pt idx="11">
                  <c:v>2204.0</c:v>
                </c:pt>
                <c:pt idx="12">
                  <c:v>2435.0</c:v>
                </c:pt>
                <c:pt idx="13">
                  <c:v>2548.0</c:v>
                </c:pt>
                <c:pt idx="14">
                  <c:v>2506.0</c:v>
                </c:pt>
                <c:pt idx="15">
                  <c:v>2500.0</c:v>
                </c:pt>
                <c:pt idx="16">
                  <c:v>2359.0</c:v>
                </c:pt>
                <c:pt idx="17">
                  <c:v>2382.0</c:v>
                </c:pt>
                <c:pt idx="18">
                  <c:v>2442.0</c:v>
                </c:pt>
                <c:pt idx="19">
                  <c:v>2454.0</c:v>
                </c:pt>
                <c:pt idx="20">
                  <c:v>2584.0</c:v>
                </c:pt>
                <c:pt idx="21">
                  <c:v>2811.0</c:v>
                </c:pt>
                <c:pt idx="22">
                  <c:v>3231.0</c:v>
                </c:pt>
                <c:pt idx="23">
                  <c:v>3566.0</c:v>
                </c:pt>
                <c:pt idx="24">
                  <c:v>3696.0</c:v>
                </c:pt>
                <c:pt idx="25">
                  <c:v>3623.0</c:v>
                </c:pt>
                <c:pt idx="26">
                  <c:v>3532.0</c:v>
                </c:pt>
                <c:pt idx="27">
                  <c:v>3556.0</c:v>
                </c:pt>
                <c:pt idx="28">
                  <c:v>3556.0</c:v>
                </c:pt>
                <c:pt idx="29">
                  <c:v>3530.0</c:v>
                </c:pt>
                <c:pt idx="30">
                  <c:v>3719.0</c:v>
                </c:pt>
                <c:pt idx="31">
                  <c:v>3594.0</c:v>
                </c:pt>
                <c:pt idx="32">
                  <c:v>3508.0</c:v>
                </c:pt>
                <c:pt idx="33">
                  <c:v>3242.0</c:v>
                </c:pt>
                <c:pt idx="34">
                  <c:v>2920.0</c:v>
                </c:pt>
                <c:pt idx="35">
                  <c:v>2542.0</c:v>
                </c:pt>
                <c:pt idx="36">
                  <c:v>2062.0</c:v>
                </c:pt>
                <c:pt idx="37">
                  <c:v>2136.0</c:v>
                </c:pt>
                <c:pt idx="38">
                  <c:v>1903.0</c:v>
                </c:pt>
                <c:pt idx="39">
                  <c:v>2151.0</c:v>
                </c:pt>
                <c:pt idx="40">
                  <c:v>2101.0</c:v>
                </c:pt>
                <c:pt idx="41">
                  <c:v>2151.0</c:v>
                </c:pt>
                <c:pt idx="42">
                  <c:v>1997.0</c:v>
                </c:pt>
                <c:pt idx="43">
                  <c:v>1980.0</c:v>
                </c:pt>
                <c:pt idx="44">
                  <c:v>2086.0</c:v>
                </c:pt>
                <c:pt idx="45">
                  <c:v>1955.0</c:v>
                </c:pt>
                <c:pt idx="46">
                  <c:v>2088.0</c:v>
                </c:pt>
                <c:pt idx="47">
                  <c:v>2138.0</c:v>
                </c:pt>
                <c:pt idx="48">
                  <c:v>1981.0</c:v>
                </c:pt>
                <c:pt idx="49">
                  <c:v>2021.0</c:v>
                </c:pt>
                <c:pt idx="50">
                  <c:v>2330.0</c:v>
                </c:pt>
                <c:pt idx="51">
                  <c:v>2289.0</c:v>
                </c:pt>
                <c:pt idx="52">
                  <c:v>2354.0</c:v>
                </c:pt>
                <c:pt idx="53">
                  <c:v>2263.0</c:v>
                </c:pt>
                <c:pt idx="54">
                  <c:v>2230.0</c:v>
                </c:pt>
                <c:pt idx="55">
                  <c:v>2122.0</c:v>
                </c:pt>
                <c:pt idx="56">
                  <c:v>2046.0</c:v>
                </c:pt>
                <c:pt idx="57">
                  <c:v>2065.0</c:v>
                </c:pt>
                <c:pt idx="58">
                  <c:v>1954.0</c:v>
                </c:pt>
                <c:pt idx="59">
                  <c:v>1922.0</c:v>
                </c:pt>
                <c:pt idx="60">
                  <c:v>2006.0</c:v>
                </c:pt>
                <c:pt idx="61">
                  <c:v>1898.0</c:v>
                </c:pt>
                <c:pt idx="62">
                  <c:v>1932.0</c:v>
                </c:pt>
                <c:pt idx="63">
                  <c:v>1742.0</c:v>
                </c:pt>
                <c:pt idx="64">
                  <c:v>1715.0</c:v>
                </c:pt>
                <c:pt idx="65">
                  <c:v>1715.0</c:v>
                </c:pt>
                <c:pt idx="66">
                  <c:v>1825.0</c:v>
                </c:pt>
                <c:pt idx="67">
                  <c:v>1833.0</c:v>
                </c:pt>
                <c:pt idx="68">
                  <c:v>1947.0</c:v>
                </c:pt>
                <c:pt idx="69">
                  <c:v>2047.0</c:v>
                </c:pt>
                <c:pt idx="70">
                  <c:v>2022.0</c:v>
                </c:pt>
                <c:pt idx="71">
                  <c:v>2030.0</c:v>
                </c:pt>
                <c:pt idx="72">
                  <c:v>2079.0</c:v>
                </c:pt>
                <c:pt idx="73">
                  <c:v>2154.0</c:v>
                </c:pt>
                <c:pt idx="74">
                  <c:v>2310.0</c:v>
                </c:pt>
                <c:pt idx="75">
                  <c:v>2591.0</c:v>
                </c:pt>
                <c:pt idx="76">
                  <c:v>2549.0</c:v>
                </c:pt>
                <c:pt idx="77">
                  <c:v>2549.0</c:v>
                </c:pt>
                <c:pt idx="78">
                  <c:v>2690.0</c:v>
                </c:pt>
                <c:pt idx="79">
                  <c:v>263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8</c:v>
                </c:pt>
                <c:pt idx="40">
                  <c:v>0.62</c:v>
                </c:pt>
                <c:pt idx="41">
                  <c:v>0.5</c:v>
                </c:pt>
                <c:pt idx="42">
                  <c:v>0.53</c:v>
                </c:pt>
                <c:pt idx="43">
                  <c:v>0.49</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866.0</c:v>
                </c:pt>
                <c:pt idx="40">
                  <c:v>2525.0</c:v>
                </c:pt>
                <c:pt idx="41">
                  <c:v>2782.0</c:v>
                </c:pt>
                <c:pt idx="42">
                  <c:v>2450.0</c:v>
                </c:pt>
                <c:pt idx="43">
                  <c:v>224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2030.0</c:v>
                </c:pt>
                <c:pt idx="1">
                  <c:v>2380.0</c:v>
                </c:pt>
                <c:pt idx="2">
                  <c:v>2123.0</c:v>
                </c:pt>
                <c:pt idx="3">
                  <c:v>2612.0</c:v>
                </c:pt>
                <c:pt idx="4">
                  <c:v>1807.0</c:v>
                </c:pt>
                <c:pt idx="5">
                  <c:v>1882.0</c:v>
                </c:pt>
                <c:pt idx="6">
                  <c:v>2665.0</c:v>
                </c:pt>
                <c:pt idx="7">
                  <c:v>2085.0</c:v>
                </c:pt>
                <c:pt idx="8">
                  <c:v>2609.0</c:v>
                </c:pt>
                <c:pt idx="9">
                  <c:v>2212.0</c:v>
                </c:pt>
                <c:pt idx="10">
                  <c:v>1581.0</c:v>
                </c:pt>
                <c:pt idx="11">
                  <c:v>2303.0</c:v>
                </c:pt>
                <c:pt idx="12">
                  <c:v>3828.0</c:v>
                </c:pt>
                <c:pt idx="13">
                  <c:v>3413.0</c:v>
                </c:pt>
                <c:pt idx="14">
                  <c:v>2368.0</c:v>
                </c:pt>
                <c:pt idx="15">
                  <c:v>1895.0</c:v>
                </c:pt>
                <c:pt idx="16">
                  <c:v>1731.0</c:v>
                </c:pt>
                <c:pt idx="17">
                  <c:v>2248.0</c:v>
                </c:pt>
                <c:pt idx="18">
                  <c:v>2321.0</c:v>
                </c:pt>
                <c:pt idx="19">
                  <c:v>3267.0</c:v>
                </c:pt>
                <c:pt idx="20">
                  <c:v>3594.0</c:v>
                </c:pt>
                <c:pt idx="21">
                  <c:v>4096.0</c:v>
                </c:pt>
                <c:pt idx="22">
                  <c:v>7452.0</c:v>
                </c:pt>
                <c:pt idx="23">
                  <c:v>6229.0</c:v>
                </c:pt>
                <c:pt idx="24">
                  <c:v>6088.0</c:v>
                </c:pt>
                <c:pt idx="25">
                  <c:v>1882.0</c:v>
                </c:pt>
                <c:pt idx="26">
                  <c:v>1736.0</c:v>
                </c:pt>
                <c:pt idx="27">
                  <c:v>1999.0</c:v>
                </c:pt>
                <c:pt idx="28">
                  <c:v>2083.0</c:v>
                </c:pt>
                <c:pt idx="29">
                  <c:v>1692.0</c:v>
                </c:pt>
                <c:pt idx="30">
                  <c:v>2816.0</c:v>
                </c:pt>
                <c:pt idx="31">
                  <c:v>1824.0</c:v>
                </c:pt>
                <c:pt idx="32">
                  <c:v>2136.0</c:v>
                </c:pt>
                <c:pt idx="33">
                  <c:v>2451.0</c:v>
                </c:pt>
                <c:pt idx="34">
                  <c:v>1604.0</c:v>
                </c:pt>
                <c:pt idx="35">
                  <c:v>1850.0</c:v>
                </c:pt>
                <c:pt idx="36">
                  <c:v>2330.0</c:v>
                </c:pt>
                <c:pt idx="37">
                  <c:v>1409.0</c:v>
                </c:pt>
                <c:pt idx="38">
                  <c:v>1654.0</c:v>
                </c:pt>
                <c:pt idx="39">
                  <c:v>1446.0</c:v>
                </c:pt>
                <c:pt idx="40">
                  <c:v>1121.0</c:v>
                </c:pt>
                <c:pt idx="41">
                  <c:v>2076.0</c:v>
                </c:pt>
                <c:pt idx="42">
                  <c:v>1571.0</c:v>
                </c:pt>
                <c:pt idx="43">
                  <c:v>2030.0</c:v>
                </c:pt>
                <c:pt idx="44">
                  <c:v>2483.0</c:v>
                </c:pt>
                <c:pt idx="45">
                  <c:v>2152.0</c:v>
                </c:pt>
                <c:pt idx="46">
                  <c:v>2287.0</c:v>
                </c:pt>
                <c:pt idx="47">
                  <c:v>2374.0</c:v>
                </c:pt>
                <c:pt idx="48">
                  <c:v>1623.0</c:v>
                </c:pt>
                <c:pt idx="49">
                  <c:v>2584.0</c:v>
                </c:pt>
                <c:pt idx="50">
                  <c:v>2616.0</c:v>
                </c:pt>
                <c:pt idx="51">
                  <c:v>2485.0</c:v>
                </c:pt>
                <c:pt idx="52">
                  <c:v>2011.0</c:v>
                </c:pt>
                <c:pt idx="53">
                  <c:v>1908.0</c:v>
                </c:pt>
                <c:pt idx="54">
                  <c:v>1627.0</c:v>
                </c:pt>
                <c:pt idx="55">
                  <c:v>1606.0</c:v>
                </c:pt>
                <c:pt idx="56">
                  <c:v>1496.0</c:v>
                </c:pt>
                <c:pt idx="57">
                  <c:v>1688.0</c:v>
                </c:pt>
                <c:pt idx="58">
                  <c:v>2014.0</c:v>
                </c:pt>
                <c:pt idx="59">
                  <c:v>1395.0</c:v>
                </c:pt>
                <c:pt idx="60">
                  <c:v>1888.0</c:v>
                </c:pt>
                <c:pt idx="61">
                  <c:v>1907.0</c:v>
                </c:pt>
                <c:pt idx="62">
                  <c:v>2135.0</c:v>
                </c:pt>
                <c:pt idx="63">
                  <c:v>1634.0</c:v>
                </c:pt>
                <c:pt idx="64">
                  <c:v>1410.0</c:v>
                </c:pt>
                <c:pt idx="65">
                  <c:v>1838.0</c:v>
                </c:pt>
                <c:pt idx="66">
                  <c:v>1852.0</c:v>
                </c:pt>
                <c:pt idx="67">
                  <c:v>2304.0</c:v>
                </c:pt>
                <c:pt idx="68">
                  <c:v>2403.0</c:v>
                </c:pt>
                <c:pt idx="69">
                  <c:v>2899.0</c:v>
                </c:pt>
                <c:pt idx="70">
                  <c:v>1800.0</c:v>
                </c:pt>
                <c:pt idx="71">
                  <c:v>1962.0</c:v>
                </c:pt>
                <c:pt idx="72">
                  <c:v>2223.0</c:v>
                </c:pt>
                <c:pt idx="73">
                  <c:v>2814.0</c:v>
                </c:pt>
                <c:pt idx="74">
                  <c:v>4620.0</c:v>
                </c:pt>
                <c:pt idx="75">
                  <c:v>4690.0</c:v>
                </c:pt>
                <c:pt idx="76">
                  <c:v>1658.0</c:v>
                </c:pt>
                <c:pt idx="77">
                  <c:v>2072.0</c:v>
                </c:pt>
                <c:pt idx="78">
                  <c:v>2589.0</c:v>
                </c:pt>
                <c:pt idx="79">
                  <c:v>2479.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2030.0</c:v>
                </c:pt>
                <c:pt idx="1">
                  <c:v>2380.0</c:v>
                </c:pt>
                <c:pt idx="2">
                  <c:v>2123.0</c:v>
                </c:pt>
                <c:pt idx="3">
                  <c:v>2612.0</c:v>
                </c:pt>
                <c:pt idx="4">
                  <c:v>1807.0</c:v>
                </c:pt>
                <c:pt idx="5">
                  <c:v>1882.0</c:v>
                </c:pt>
                <c:pt idx="6">
                  <c:v>2665.0</c:v>
                </c:pt>
                <c:pt idx="7">
                  <c:v>2085.0</c:v>
                </c:pt>
                <c:pt idx="8">
                  <c:v>2609.0</c:v>
                </c:pt>
                <c:pt idx="9">
                  <c:v>2212.0</c:v>
                </c:pt>
                <c:pt idx="10">
                  <c:v>1581.0</c:v>
                </c:pt>
                <c:pt idx="11">
                  <c:v>2303.0</c:v>
                </c:pt>
                <c:pt idx="12">
                  <c:v>3828.0</c:v>
                </c:pt>
                <c:pt idx="13">
                  <c:v>3413.0</c:v>
                </c:pt>
                <c:pt idx="14">
                  <c:v>2368.0</c:v>
                </c:pt>
                <c:pt idx="15">
                  <c:v>1895.0</c:v>
                </c:pt>
                <c:pt idx="16">
                  <c:v>1731.0</c:v>
                </c:pt>
                <c:pt idx="17">
                  <c:v>2248.0</c:v>
                </c:pt>
                <c:pt idx="18">
                  <c:v>2321.0</c:v>
                </c:pt>
                <c:pt idx="19">
                  <c:v>3267.0</c:v>
                </c:pt>
                <c:pt idx="20">
                  <c:v>3594.0</c:v>
                </c:pt>
                <c:pt idx="21">
                  <c:v>4096.0</c:v>
                </c:pt>
                <c:pt idx="22">
                  <c:v>7452.0</c:v>
                </c:pt>
                <c:pt idx="23">
                  <c:v>6229.0</c:v>
                </c:pt>
                <c:pt idx="24">
                  <c:v>6088.0</c:v>
                </c:pt>
                <c:pt idx="25">
                  <c:v>1882.0</c:v>
                </c:pt>
                <c:pt idx="26">
                  <c:v>1736.0</c:v>
                </c:pt>
                <c:pt idx="27">
                  <c:v>1999.0</c:v>
                </c:pt>
                <c:pt idx="28">
                  <c:v>2083.0</c:v>
                </c:pt>
                <c:pt idx="29">
                  <c:v>1692.0</c:v>
                </c:pt>
                <c:pt idx="30">
                  <c:v>2816.0</c:v>
                </c:pt>
                <c:pt idx="31">
                  <c:v>1824.0</c:v>
                </c:pt>
                <c:pt idx="32">
                  <c:v>2136.0</c:v>
                </c:pt>
                <c:pt idx="33">
                  <c:v>2451.0</c:v>
                </c:pt>
                <c:pt idx="34">
                  <c:v>1604.0</c:v>
                </c:pt>
                <c:pt idx="35">
                  <c:v>1850.0</c:v>
                </c:pt>
                <c:pt idx="36">
                  <c:v>2330.0</c:v>
                </c:pt>
                <c:pt idx="37">
                  <c:v>1409.0</c:v>
                </c:pt>
                <c:pt idx="38">
                  <c:v>1654.0</c:v>
                </c:pt>
                <c:pt idx="39">
                  <c:v>3312.0</c:v>
                </c:pt>
                <c:pt idx="40">
                  <c:v>3646.0</c:v>
                </c:pt>
                <c:pt idx="41">
                  <c:v>4858.0</c:v>
                </c:pt>
                <c:pt idx="42">
                  <c:v>4021.0</c:v>
                </c:pt>
                <c:pt idx="43">
                  <c:v>4274.0</c:v>
                </c:pt>
                <c:pt idx="44">
                  <c:v>2483.0</c:v>
                </c:pt>
                <c:pt idx="45">
                  <c:v>2152.0</c:v>
                </c:pt>
                <c:pt idx="46">
                  <c:v>2287.0</c:v>
                </c:pt>
                <c:pt idx="47">
                  <c:v>2374.0</c:v>
                </c:pt>
                <c:pt idx="48">
                  <c:v>1623.0</c:v>
                </c:pt>
                <c:pt idx="49">
                  <c:v>2584.0</c:v>
                </c:pt>
                <c:pt idx="50">
                  <c:v>2616.0</c:v>
                </c:pt>
                <c:pt idx="51">
                  <c:v>2485.0</c:v>
                </c:pt>
                <c:pt idx="52">
                  <c:v>2011.0</c:v>
                </c:pt>
                <c:pt idx="53">
                  <c:v>1908.0</c:v>
                </c:pt>
                <c:pt idx="54">
                  <c:v>1627.0</c:v>
                </c:pt>
                <c:pt idx="55">
                  <c:v>1606.0</c:v>
                </c:pt>
                <c:pt idx="56">
                  <c:v>1496.0</c:v>
                </c:pt>
                <c:pt idx="57">
                  <c:v>1688.0</c:v>
                </c:pt>
                <c:pt idx="58">
                  <c:v>2014.0</c:v>
                </c:pt>
                <c:pt idx="59">
                  <c:v>1395.0</c:v>
                </c:pt>
                <c:pt idx="60">
                  <c:v>1888.0</c:v>
                </c:pt>
                <c:pt idx="61">
                  <c:v>1907.0</c:v>
                </c:pt>
                <c:pt idx="62">
                  <c:v>2135.0</c:v>
                </c:pt>
                <c:pt idx="63">
                  <c:v>1634.0</c:v>
                </c:pt>
                <c:pt idx="64">
                  <c:v>1410.0</c:v>
                </c:pt>
                <c:pt idx="65">
                  <c:v>1838.0</c:v>
                </c:pt>
                <c:pt idx="66">
                  <c:v>1852.0</c:v>
                </c:pt>
                <c:pt idx="67">
                  <c:v>2304.0</c:v>
                </c:pt>
                <c:pt idx="68">
                  <c:v>2403.0</c:v>
                </c:pt>
                <c:pt idx="69">
                  <c:v>2899.0</c:v>
                </c:pt>
                <c:pt idx="70">
                  <c:v>1800.0</c:v>
                </c:pt>
                <c:pt idx="71">
                  <c:v>1962.0</c:v>
                </c:pt>
                <c:pt idx="72">
                  <c:v>2223.0</c:v>
                </c:pt>
                <c:pt idx="73">
                  <c:v>2814.0</c:v>
                </c:pt>
                <c:pt idx="74">
                  <c:v>4620.0</c:v>
                </c:pt>
                <c:pt idx="75">
                  <c:v>4690.0</c:v>
                </c:pt>
                <c:pt idx="76">
                  <c:v>1658.0</c:v>
                </c:pt>
                <c:pt idx="77">
                  <c:v>2072.0</c:v>
                </c:pt>
                <c:pt idx="78">
                  <c:v>2589.0</c:v>
                </c:pt>
                <c:pt idx="79">
                  <c:v>2479.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2731.0</c:v>
                </c:pt>
                <c:pt idx="1">
                  <c:v>2628.0</c:v>
                </c:pt>
                <c:pt idx="2">
                  <c:v>2556.0</c:v>
                </c:pt>
                <c:pt idx="3">
                  <c:v>2622.0</c:v>
                </c:pt>
                <c:pt idx="4">
                  <c:v>2518.0</c:v>
                </c:pt>
                <c:pt idx="5">
                  <c:v>2257.0</c:v>
                </c:pt>
                <c:pt idx="6">
                  <c:v>2448.0</c:v>
                </c:pt>
                <c:pt idx="7">
                  <c:v>2317.0</c:v>
                </c:pt>
                <c:pt idx="8">
                  <c:v>2406.0</c:v>
                </c:pt>
                <c:pt idx="9">
                  <c:v>2316.0</c:v>
                </c:pt>
                <c:pt idx="10">
                  <c:v>2063.0</c:v>
                </c:pt>
                <c:pt idx="11">
                  <c:v>2204.0</c:v>
                </c:pt>
                <c:pt idx="12">
                  <c:v>2435.0</c:v>
                </c:pt>
                <c:pt idx="13">
                  <c:v>2548.0</c:v>
                </c:pt>
                <c:pt idx="14">
                  <c:v>2506.0</c:v>
                </c:pt>
                <c:pt idx="15">
                  <c:v>2500.0</c:v>
                </c:pt>
                <c:pt idx="16">
                  <c:v>2359.0</c:v>
                </c:pt>
                <c:pt idx="17">
                  <c:v>2382.0</c:v>
                </c:pt>
                <c:pt idx="18">
                  <c:v>2442.0</c:v>
                </c:pt>
                <c:pt idx="19">
                  <c:v>2454.0</c:v>
                </c:pt>
                <c:pt idx="20">
                  <c:v>2584.0</c:v>
                </c:pt>
                <c:pt idx="21">
                  <c:v>2811.0</c:v>
                </c:pt>
                <c:pt idx="22">
                  <c:v>3231.0</c:v>
                </c:pt>
                <c:pt idx="23">
                  <c:v>3566.0</c:v>
                </c:pt>
                <c:pt idx="24">
                  <c:v>3696.0</c:v>
                </c:pt>
                <c:pt idx="25">
                  <c:v>3623.0</c:v>
                </c:pt>
                <c:pt idx="26">
                  <c:v>3532.0</c:v>
                </c:pt>
                <c:pt idx="27">
                  <c:v>3556.0</c:v>
                </c:pt>
                <c:pt idx="28">
                  <c:v>3556.0</c:v>
                </c:pt>
                <c:pt idx="29">
                  <c:v>3530.0</c:v>
                </c:pt>
                <c:pt idx="30">
                  <c:v>3719.0</c:v>
                </c:pt>
                <c:pt idx="31">
                  <c:v>3594.0</c:v>
                </c:pt>
                <c:pt idx="32">
                  <c:v>3508.0</c:v>
                </c:pt>
                <c:pt idx="33">
                  <c:v>3242.0</c:v>
                </c:pt>
                <c:pt idx="34">
                  <c:v>2920.0</c:v>
                </c:pt>
                <c:pt idx="35">
                  <c:v>2542.0</c:v>
                </c:pt>
                <c:pt idx="36">
                  <c:v>2062.0</c:v>
                </c:pt>
                <c:pt idx="37">
                  <c:v>2136.0</c:v>
                </c:pt>
                <c:pt idx="38">
                  <c:v>1903.0</c:v>
                </c:pt>
                <c:pt idx="39">
                  <c:v>2151.0</c:v>
                </c:pt>
                <c:pt idx="40">
                  <c:v>2101.0</c:v>
                </c:pt>
                <c:pt idx="41">
                  <c:v>2151.0</c:v>
                </c:pt>
                <c:pt idx="42">
                  <c:v>1997.0</c:v>
                </c:pt>
                <c:pt idx="43">
                  <c:v>1980.0</c:v>
                </c:pt>
                <c:pt idx="44">
                  <c:v>2086.0</c:v>
                </c:pt>
                <c:pt idx="45">
                  <c:v>1955.0</c:v>
                </c:pt>
                <c:pt idx="46">
                  <c:v>2088.0</c:v>
                </c:pt>
                <c:pt idx="47">
                  <c:v>2138.0</c:v>
                </c:pt>
                <c:pt idx="48">
                  <c:v>1981.0</c:v>
                </c:pt>
                <c:pt idx="49">
                  <c:v>2021.0</c:v>
                </c:pt>
                <c:pt idx="50">
                  <c:v>2330.0</c:v>
                </c:pt>
                <c:pt idx="51">
                  <c:v>2289.0</c:v>
                </c:pt>
                <c:pt idx="52">
                  <c:v>2354.0</c:v>
                </c:pt>
                <c:pt idx="53">
                  <c:v>2263.0</c:v>
                </c:pt>
                <c:pt idx="54">
                  <c:v>2230.0</c:v>
                </c:pt>
                <c:pt idx="55">
                  <c:v>2122.0</c:v>
                </c:pt>
                <c:pt idx="56">
                  <c:v>2046.0</c:v>
                </c:pt>
                <c:pt idx="57">
                  <c:v>2065.0</c:v>
                </c:pt>
                <c:pt idx="58">
                  <c:v>1954.0</c:v>
                </c:pt>
                <c:pt idx="59">
                  <c:v>1922.0</c:v>
                </c:pt>
                <c:pt idx="60">
                  <c:v>2006.0</c:v>
                </c:pt>
                <c:pt idx="61">
                  <c:v>1898.0</c:v>
                </c:pt>
                <c:pt idx="62">
                  <c:v>1932.0</c:v>
                </c:pt>
                <c:pt idx="63">
                  <c:v>1742.0</c:v>
                </c:pt>
                <c:pt idx="64">
                  <c:v>1715.0</c:v>
                </c:pt>
                <c:pt idx="65">
                  <c:v>1715.0</c:v>
                </c:pt>
                <c:pt idx="66">
                  <c:v>1825.0</c:v>
                </c:pt>
                <c:pt idx="67">
                  <c:v>1833.0</c:v>
                </c:pt>
                <c:pt idx="68">
                  <c:v>1947.0</c:v>
                </c:pt>
                <c:pt idx="69">
                  <c:v>2047.0</c:v>
                </c:pt>
                <c:pt idx="70">
                  <c:v>2022.0</c:v>
                </c:pt>
                <c:pt idx="71">
                  <c:v>2030.0</c:v>
                </c:pt>
                <c:pt idx="72">
                  <c:v>2079.0</c:v>
                </c:pt>
                <c:pt idx="73">
                  <c:v>2154.0</c:v>
                </c:pt>
                <c:pt idx="74">
                  <c:v>2310.0</c:v>
                </c:pt>
                <c:pt idx="75">
                  <c:v>2591.0</c:v>
                </c:pt>
                <c:pt idx="76">
                  <c:v>2549.0</c:v>
                </c:pt>
                <c:pt idx="77">
                  <c:v>2549.0</c:v>
                </c:pt>
                <c:pt idx="78">
                  <c:v>2690.0</c:v>
                </c:pt>
                <c:pt idx="79">
                  <c:v>263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8</c:v>
                </c:pt>
                <c:pt idx="40">
                  <c:v>0.62</c:v>
                </c:pt>
                <c:pt idx="41">
                  <c:v>0.5</c:v>
                </c:pt>
                <c:pt idx="42">
                  <c:v>0.53</c:v>
                </c:pt>
                <c:pt idx="43">
                  <c:v>0.49</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798.0</c:v>
                </c:pt>
                <c:pt idx="40">
                  <c:v>1683.0</c:v>
                </c:pt>
                <c:pt idx="41">
                  <c:v>1803.0</c:v>
                </c:pt>
                <c:pt idx="42">
                  <c:v>1247.0</c:v>
                </c:pt>
                <c:pt idx="43">
                  <c:v>23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316.0</c:v>
                </c:pt>
                <c:pt idx="1">
                  <c:v>1380.0</c:v>
                </c:pt>
                <c:pt idx="2">
                  <c:v>639.0</c:v>
                </c:pt>
                <c:pt idx="3">
                  <c:v>845.0</c:v>
                </c:pt>
                <c:pt idx="4">
                  <c:v>766.0</c:v>
                </c:pt>
                <c:pt idx="5">
                  <c:v>986.0</c:v>
                </c:pt>
                <c:pt idx="6">
                  <c:v>1635.0</c:v>
                </c:pt>
                <c:pt idx="7">
                  <c:v>1354.0</c:v>
                </c:pt>
                <c:pt idx="8">
                  <c:v>1353.0</c:v>
                </c:pt>
                <c:pt idx="9">
                  <c:v>1609.0</c:v>
                </c:pt>
                <c:pt idx="10">
                  <c:v>1491.0</c:v>
                </c:pt>
                <c:pt idx="11">
                  <c:v>1068.0</c:v>
                </c:pt>
                <c:pt idx="12">
                  <c:v>1966.0</c:v>
                </c:pt>
                <c:pt idx="13">
                  <c:v>1708.0</c:v>
                </c:pt>
                <c:pt idx="14">
                  <c:v>1703.0</c:v>
                </c:pt>
                <c:pt idx="15">
                  <c:v>1629.0</c:v>
                </c:pt>
                <c:pt idx="16">
                  <c:v>1466.0</c:v>
                </c:pt>
                <c:pt idx="17">
                  <c:v>1521.0</c:v>
                </c:pt>
                <c:pt idx="18">
                  <c:v>1803.0</c:v>
                </c:pt>
                <c:pt idx="19">
                  <c:v>1877.0</c:v>
                </c:pt>
                <c:pt idx="20">
                  <c:v>1985.0</c:v>
                </c:pt>
                <c:pt idx="21">
                  <c:v>3150.0</c:v>
                </c:pt>
                <c:pt idx="22">
                  <c:v>6022.0</c:v>
                </c:pt>
                <c:pt idx="23">
                  <c:v>5495.0</c:v>
                </c:pt>
                <c:pt idx="24">
                  <c:v>4512.0</c:v>
                </c:pt>
                <c:pt idx="25">
                  <c:v>1005.0</c:v>
                </c:pt>
                <c:pt idx="26">
                  <c:v>950.0</c:v>
                </c:pt>
                <c:pt idx="27">
                  <c:v>917.0</c:v>
                </c:pt>
                <c:pt idx="28">
                  <c:v>1549.0</c:v>
                </c:pt>
                <c:pt idx="29">
                  <c:v>1347.0</c:v>
                </c:pt>
                <c:pt idx="30">
                  <c:v>1569.0</c:v>
                </c:pt>
                <c:pt idx="31">
                  <c:v>666.0</c:v>
                </c:pt>
                <c:pt idx="32">
                  <c:v>1009.0</c:v>
                </c:pt>
                <c:pt idx="33">
                  <c:v>1579.0</c:v>
                </c:pt>
                <c:pt idx="34">
                  <c:v>1430.0</c:v>
                </c:pt>
                <c:pt idx="35">
                  <c:v>1352.0</c:v>
                </c:pt>
                <c:pt idx="36">
                  <c:v>1553.0</c:v>
                </c:pt>
                <c:pt idx="37">
                  <c:v>1158.0</c:v>
                </c:pt>
                <c:pt idx="38">
                  <c:v>1467.0</c:v>
                </c:pt>
                <c:pt idx="39">
                  <c:v>643.0</c:v>
                </c:pt>
                <c:pt idx="40">
                  <c:v>677.0</c:v>
                </c:pt>
                <c:pt idx="41">
                  <c:v>977.0</c:v>
                </c:pt>
                <c:pt idx="42">
                  <c:v>624.0</c:v>
                </c:pt>
                <c:pt idx="43">
                  <c:v>1550.0</c:v>
                </c:pt>
                <c:pt idx="44">
                  <c:v>1799.0</c:v>
                </c:pt>
                <c:pt idx="45">
                  <c:v>1521.0</c:v>
                </c:pt>
                <c:pt idx="46">
                  <c:v>1775.0</c:v>
                </c:pt>
                <c:pt idx="47">
                  <c:v>1633.0</c:v>
                </c:pt>
                <c:pt idx="48">
                  <c:v>1937.0</c:v>
                </c:pt>
                <c:pt idx="49">
                  <c:v>1542.0</c:v>
                </c:pt>
                <c:pt idx="50">
                  <c:v>1629.0</c:v>
                </c:pt>
                <c:pt idx="51">
                  <c:v>1655.0</c:v>
                </c:pt>
                <c:pt idx="52">
                  <c:v>1108.0</c:v>
                </c:pt>
                <c:pt idx="53">
                  <c:v>1178.0</c:v>
                </c:pt>
                <c:pt idx="54">
                  <c:v>909.0</c:v>
                </c:pt>
                <c:pt idx="55">
                  <c:v>1012.0</c:v>
                </c:pt>
                <c:pt idx="56">
                  <c:v>746.0</c:v>
                </c:pt>
                <c:pt idx="57">
                  <c:v>1090.0</c:v>
                </c:pt>
                <c:pt idx="58">
                  <c:v>1541.0</c:v>
                </c:pt>
                <c:pt idx="59">
                  <c:v>1030.0</c:v>
                </c:pt>
                <c:pt idx="60">
                  <c:v>1577.0</c:v>
                </c:pt>
                <c:pt idx="61">
                  <c:v>1151.0</c:v>
                </c:pt>
                <c:pt idx="62">
                  <c:v>1243.0</c:v>
                </c:pt>
                <c:pt idx="63">
                  <c:v>1740.0</c:v>
                </c:pt>
                <c:pt idx="64">
                  <c:v>1671.0</c:v>
                </c:pt>
                <c:pt idx="65">
                  <c:v>1024.0</c:v>
                </c:pt>
                <c:pt idx="66">
                  <c:v>1163.0</c:v>
                </c:pt>
                <c:pt idx="67">
                  <c:v>1595.0</c:v>
                </c:pt>
                <c:pt idx="68">
                  <c:v>1566.0</c:v>
                </c:pt>
                <c:pt idx="69">
                  <c:v>1183.0</c:v>
                </c:pt>
                <c:pt idx="70">
                  <c:v>1637.0</c:v>
                </c:pt>
                <c:pt idx="71">
                  <c:v>1710.0</c:v>
                </c:pt>
                <c:pt idx="72">
                  <c:v>1927.0</c:v>
                </c:pt>
                <c:pt idx="73">
                  <c:v>2623.0</c:v>
                </c:pt>
                <c:pt idx="74">
                  <c:v>4069.0</c:v>
                </c:pt>
                <c:pt idx="75">
                  <c:v>4940.0</c:v>
                </c:pt>
                <c:pt idx="76">
                  <c:v>826.0</c:v>
                </c:pt>
                <c:pt idx="77">
                  <c:v>1248.0</c:v>
                </c:pt>
                <c:pt idx="78">
                  <c:v>1326.0</c:v>
                </c:pt>
                <c:pt idx="79">
                  <c:v>1201.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316.0</c:v>
                </c:pt>
                <c:pt idx="1">
                  <c:v>1380.0</c:v>
                </c:pt>
                <c:pt idx="2">
                  <c:v>639.0</c:v>
                </c:pt>
                <c:pt idx="3">
                  <c:v>845.0</c:v>
                </c:pt>
                <c:pt idx="4">
                  <c:v>766.0</c:v>
                </c:pt>
                <c:pt idx="5">
                  <c:v>986.0</c:v>
                </c:pt>
                <c:pt idx="6">
                  <c:v>1635.0</c:v>
                </c:pt>
                <c:pt idx="7">
                  <c:v>1354.0</c:v>
                </c:pt>
                <c:pt idx="8">
                  <c:v>1353.0</c:v>
                </c:pt>
                <c:pt idx="9">
                  <c:v>1609.0</c:v>
                </c:pt>
                <c:pt idx="10">
                  <c:v>1491.0</c:v>
                </c:pt>
                <c:pt idx="11">
                  <c:v>1068.0</c:v>
                </c:pt>
                <c:pt idx="12">
                  <c:v>1966.0</c:v>
                </c:pt>
                <c:pt idx="13">
                  <c:v>1708.0</c:v>
                </c:pt>
                <c:pt idx="14">
                  <c:v>1703.0</c:v>
                </c:pt>
                <c:pt idx="15">
                  <c:v>1629.0</c:v>
                </c:pt>
                <c:pt idx="16">
                  <c:v>1466.0</c:v>
                </c:pt>
                <c:pt idx="17">
                  <c:v>1521.0</c:v>
                </c:pt>
                <c:pt idx="18">
                  <c:v>1803.0</c:v>
                </c:pt>
                <c:pt idx="19">
                  <c:v>1877.0</c:v>
                </c:pt>
                <c:pt idx="20">
                  <c:v>1985.0</c:v>
                </c:pt>
                <c:pt idx="21">
                  <c:v>3150.0</c:v>
                </c:pt>
                <c:pt idx="22">
                  <c:v>6022.0</c:v>
                </c:pt>
                <c:pt idx="23">
                  <c:v>5495.0</c:v>
                </c:pt>
                <c:pt idx="24">
                  <c:v>4512.0</c:v>
                </c:pt>
                <c:pt idx="25">
                  <c:v>1005.0</c:v>
                </c:pt>
                <c:pt idx="26">
                  <c:v>950.0</c:v>
                </c:pt>
                <c:pt idx="27">
                  <c:v>917.0</c:v>
                </c:pt>
                <c:pt idx="28">
                  <c:v>1549.0</c:v>
                </c:pt>
                <c:pt idx="29">
                  <c:v>1347.0</c:v>
                </c:pt>
                <c:pt idx="30">
                  <c:v>1569.0</c:v>
                </c:pt>
                <c:pt idx="31">
                  <c:v>666.0</c:v>
                </c:pt>
                <c:pt idx="32">
                  <c:v>1009.0</c:v>
                </c:pt>
                <c:pt idx="33">
                  <c:v>1579.0</c:v>
                </c:pt>
                <c:pt idx="34">
                  <c:v>1430.0</c:v>
                </c:pt>
                <c:pt idx="35">
                  <c:v>1352.0</c:v>
                </c:pt>
                <c:pt idx="36">
                  <c:v>1553.0</c:v>
                </c:pt>
                <c:pt idx="37">
                  <c:v>1158.0</c:v>
                </c:pt>
                <c:pt idx="38">
                  <c:v>1467.0</c:v>
                </c:pt>
                <c:pt idx="39">
                  <c:v>1441.0</c:v>
                </c:pt>
                <c:pt idx="40">
                  <c:v>2360.0</c:v>
                </c:pt>
                <c:pt idx="41">
                  <c:v>2780.0</c:v>
                </c:pt>
                <c:pt idx="42">
                  <c:v>1871.0</c:v>
                </c:pt>
                <c:pt idx="43">
                  <c:v>1788.0</c:v>
                </c:pt>
                <c:pt idx="44">
                  <c:v>1799.0</c:v>
                </c:pt>
                <c:pt idx="45">
                  <c:v>1521.0</c:v>
                </c:pt>
                <c:pt idx="46">
                  <c:v>1775.0</c:v>
                </c:pt>
                <c:pt idx="47">
                  <c:v>1633.0</c:v>
                </c:pt>
                <c:pt idx="48">
                  <c:v>1937.0</c:v>
                </c:pt>
                <c:pt idx="49">
                  <c:v>1542.0</c:v>
                </c:pt>
                <c:pt idx="50">
                  <c:v>1629.0</c:v>
                </c:pt>
                <c:pt idx="51">
                  <c:v>1655.0</c:v>
                </c:pt>
                <c:pt idx="52">
                  <c:v>1108.0</c:v>
                </c:pt>
                <c:pt idx="53">
                  <c:v>1178.0</c:v>
                </c:pt>
                <c:pt idx="54">
                  <c:v>909.0</c:v>
                </c:pt>
                <c:pt idx="55">
                  <c:v>1012.0</c:v>
                </c:pt>
                <c:pt idx="56">
                  <c:v>746.0</c:v>
                </c:pt>
                <c:pt idx="57">
                  <c:v>1090.0</c:v>
                </c:pt>
                <c:pt idx="58">
                  <c:v>1541.0</c:v>
                </c:pt>
                <c:pt idx="59">
                  <c:v>1030.0</c:v>
                </c:pt>
                <c:pt idx="60">
                  <c:v>1577.0</c:v>
                </c:pt>
                <c:pt idx="61">
                  <c:v>1151.0</c:v>
                </c:pt>
                <c:pt idx="62">
                  <c:v>1243.0</c:v>
                </c:pt>
                <c:pt idx="63">
                  <c:v>1740.0</c:v>
                </c:pt>
                <c:pt idx="64">
                  <c:v>1671.0</c:v>
                </c:pt>
                <c:pt idx="65">
                  <c:v>1024.0</c:v>
                </c:pt>
                <c:pt idx="66">
                  <c:v>1163.0</c:v>
                </c:pt>
                <c:pt idx="67">
                  <c:v>1595.0</c:v>
                </c:pt>
                <c:pt idx="68">
                  <c:v>1566.0</c:v>
                </c:pt>
                <c:pt idx="69">
                  <c:v>1183.0</c:v>
                </c:pt>
                <c:pt idx="70">
                  <c:v>1637.0</c:v>
                </c:pt>
                <c:pt idx="71">
                  <c:v>1710.0</c:v>
                </c:pt>
                <c:pt idx="72">
                  <c:v>1927.0</c:v>
                </c:pt>
                <c:pt idx="73">
                  <c:v>2623.0</c:v>
                </c:pt>
                <c:pt idx="74">
                  <c:v>4069.0</c:v>
                </c:pt>
                <c:pt idx="75">
                  <c:v>4940.0</c:v>
                </c:pt>
                <c:pt idx="76">
                  <c:v>826.0</c:v>
                </c:pt>
                <c:pt idx="77">
                  <c:v>1248.0</c:v>
                </c:pt>
                <c:pt idx="78">
                  <c:v>1326.0</c:v>
                </c:pt>
                <c:pt idx="79">
                  <c:v>1201.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607.0</c:v>
                </c:pt>
                <c:pt idx="1">
                  <c:v>1518.0</c:v>
                </c:pt>
                <c:pt idx="2">
                  <c:v>1471.0</c:v>
                </c:pt>
                <c:pt idx="3">
                  <c:v>1423.0</c:v>
                </c:pt>
                <c:pt idx="4">
                  <c:v>1210.0</c:v>
                </c:pt>
                <c:pt idx="5">
                  <c:v>1245.0</c:v>
                </c:pt>
                <c:pt idx="6">
                  <c:v>1335.0</c:v>
                </c:pt>
                <c:pt idx="7">
                  <c:v>1311.0</c:v>
                </c:pt>
                <c:pt idx="8">
                  <c:v>1286.0</c:v>
                </c:pt>
                <c:pt idx="9">
                  <c:v>1221.0</c:v>
                </c:pt>
                <c:pt idx="10">
                  <c:v>1245.0</c:v>
                </c:pt>
                <c:pt idx="11">
                  <c:v>1221.0</c:v>
                </c:pt>
                <c:pt idx="12">
                  <c:v>1244.0</c:v>
                </c:pt>
                <c:pt idx="13">
                  <c:v>1350.0</c:v>
                </c:pt>
                <c:pt idx="14">
                  <c:v>1404.0</c:v>
                </c:pt>
                <c:pt idx="15">
                  <c:v>1454.0</c:v>
                </c:pt>
                <c:pt idx="16">
                  <c:v>1560.0</c:v>
                </c:pt>
                <c:pt idx="17">
                  <c:v>1525.0</c:v>
                </c:pt>
                <c:pt idx="18">
                  <c:v>1609.0</c:v>
                </c:pt>
                <c:pt idx="19">
                  <c:v>1549.0</c:v>
                </c:pt>
                <c:pt idx="20">
                  <c:v>1603.0</c:v>
                </c:pt>
                <c:pt idx="21">
                  <c:v>1816.0</c:v>
                </c:pt>
                <c:pt idx="22">
                  <c:v>2209.0</c:v>
                </c:pt>
                <c:pt idx="23">
                  <c:v>2582.0</c:v>
                </c:pt>
                <c:pt idx="24">
                  <c:v>2809.0</c:v>
                </c:pt>
                <c:pt idx="25">
                  <c:v>2700.0</c:v>
                </c:pt>
                <c:pt idx="26">
                  <c:v>2735.0</c:v>
                </c:pt>
                <c:pt idx="27">
                  <c:v>2395.0</c:v>
                </c:pt>
                <c:pt idx="28">
                  <c:v>2710.0</c:v>
                </c:pt>
                <c:pt idx="29">
                  <c:v>2561.0</c:v>
                </c:pt>
                <c:pt idx="30">
                  <c:v>2686.0</c:v>
                </c:pt>
                <c:pt idx="31">
                  <c:v>2454.0</c:v>
                </c:pt>
                <c:pt idx="32">
                  <c:v>2203.0</c:v>
                </c:pt>
                <c:pt idx="33">
                  <c:v>2376.0</c:v>
                </c:pt>
                <c:pt idx="34">
                  <c:v>1845.0</c:v>
                </c:pt>
                <c:pt idx="35">
                  <c:v>1647.0</c:v>
                </c:pt>
                <c:pt idx="36">
                  <c:v>1366.0</c:v>
                </c:pt>
                <c:pt idx="37">
                  <c:v>1392.0</c:v>
                </c:pt>
                <c:pt idx="38">
                  <c:v>1374.0</c:v>
                </c:pt>
                <c:pt idx="39">
                  <c:v>1327.0</c:v>
                </c:pt>
                <c:pt idx="40">
                  <c:v>1324.0</c:v>
                </c:pt>
                <c:pt idx="41">
                  <c:v>1348.0</c:v>
                </c:pt>
                <c:pt idx="42">
                  <c:v>1340.0</c:v>
                </c:pt>
                <c:pt idx="43">
                  <c:v>1308.0</c:v>
                </c:pt>
                <c:pt idx="44">
                  <c:v>1400.0</c:v>
                </c:pt>
                <c:pt idx="45">
                  <c:v>1275.0</c:v>
                </c:pt>
                <c:pt idx="46">
                  <c:v>1467.0</c:v>
                </c:pt>
                <c:pt idx="47">
                  <c:v>1408.0</c:v>
                </c:pt>
                <c:pt idx="48">
                  <c:v>1541.0</c:v>
                </c:pt>
                <c:pt idx="49">
                  <c:v>1483.0</c:v>
                </c:pt>
                <c:pt idx="50">
                  <c:v>1533.0</c:v>
                </c:pt>
                <c:pt idx="51">
                  <c:v>1666.0</c:v>
                </c:pt>
                <c:pt idx="52">
                  <c:v>1458.0</c:v>
                </c:pt>
                <c:pt idx="53">
                  <c:v>1434.0</c:v>
                </c:pt>
                <c:pt idx="54">
                  <c:v>1434.0</c:v>
                </c:pt>
                <c:pt idx="55">
                  <c:v>1410.0</c:v>
                </c:pt>
                <c:pt idx="56">
                  <c:v>1170.0</c:v>
                </c:pt>
                <c:pt idx="57">
                  <c:v>1369.0</c:v>
                </c:pt>
                <c:pt idx="58">
                  <c:v>1426.0</c:v>
                </c:pt>
                <c:pt idx="59">
                  <c:v>1336.0</c:v>
                </c:pt>
                <c:pt idx="60">
                  <c:v>1188.0</c:v>
                </c:pt>
                <c:pt idx="61">
                  <c:v>1221.0</c:v>
                </c:pt>
                <c:pt idx="62">
                  <c:v>1236.0</c:v>
                </c:pt>
                <c:pt idx="63">
                  <c:v>1162.0</c:v>
                </c:pt>
                <c:pt idx="64">
                  <c:v>1369.0</c:v>
                </c:pt>
                <c:pt idx="65">
                  <c:v>1262.0</c:v>
                </c:pt>
                <c:pt idx="66">
                  <c:v>1286.0</c:v>
                </c:pt>
                <c:pt idx="67">
                  <c:v>1212.0</c:v>
                </c:pt>
                <c:pt idx="68">
                  <c:v>1386.0</c:v>
                </c:pt>
                <c:pt idx="69">
                  <c:v>1369.0</c:v>
                </c:pt>
                <c:pt idx="70">
                  <c:v>1436.0</c:v>
                </c:pt>
                <c:pt idx="71">
                  <c:v>1360.0</c:v>
                </c:pt>
                <c:pt idx="72">
                  <c:v>1610.0</c:v>
                </c:pt>
                <c:pt idx="73">
                  <c:v>1710.0</c:v>
                </c:pt>
                <c:pt idx="74">
                  <c:v>1926.0</c:v>
                </c:pt>
                <c:pt idx="75">
                  <c:v>2165.0</c:v>
                </c:pt>
                <c:pt idx="76">
                  <c:v>1990.0</c:v>
                </c:pt>
                <c:pt idx="77">
                  <c:v>2040.0</c:v>
                </c:pt>
                <c:pt idx="78">
                  <c:v>2014.0</c:v>
                </c:pt>
                <c:pt idx="79">
                  <c:v>1990.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9</c:v>
                </c:pt>
                <c:pt idx="40">
                  <c:v>0.66</c:v>
                </c:pt>
                <c:pt idx="41">
                  <c:v>0.57</c:v>
                </c:pt>
                <c:pt idx="42">
                  <c:v>0.6</c:v>
                </c:pt>
                <c:pt idx="43">
                  <c:v>0.11</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utz</c:v>
                </c:pt>
                <c:pt idx="2">
                  <c:v>Laurent Perrier</c:v>
                </c:pt>
                <c:pt idx="3">
                  <c:v>Demoiselle</c:v>
                </c:pt>
                <c:pt idx="4">
                  <c:v>Pommery</c:v>
                </c:pt>
                <c:pt idx="5">
                  <c:v>Nicolas</c:v>
                </c:pt>
              </c:strCache>
            </c:strRef>
          </c:cat>
          <c:val>
            <c:numRef>
              <c:f>Sheet1!$B$2:$B$7</c:f>
              <c:numCache>
                <c:formatCode>General</c:formatCode>
                <c:ptCount val="6"/>
                <c:pt idx="0">
                  <c:v>0.47437988874609527</c:v>
                </c:pt>
                <c:pt idx="1">
                  <c:v>-0.5460339221003818</c:v>
                </c:pt>
                <c:pt idx="2">
                  <c:v>4.75722655755408</c:v>
                </c:pt>
                <c:pt idx="3">
                  <c:v>-0.5411220761189521</c:v>
                </c:pt>
                <c:pt idx="4">
                  <c:v>-0.6554936308446289</c:v>
                </c:pt>
                <c:pt idx="5">
                  <c:v>-0.3690000666343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127.0</c:v>
                </c:pt>
                <c:pt idx="40">
                  <c:v>1188.0</c:v>
                </c:pt>
                <c:pt idx="41">
                  <c:v>1262.0</c:v>
                </c:pt>
                <c:pt idx="42">
                  <c:v>949.0</c:v>
                </c:pt>
                <c:pt idx="43">
                  <c:v>2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1390.0</c:v>
                </c:pt>
                <c:pt idx="1">
                  <c:v>1954.0</c:v>
                </c:pt>
                <c:pt idx="2">
                  <c:v>823.0</c:v>
                </c:pt>
                <c:pt idx="3">
                  <c:v>1724.0</c:v>
                </c:pt>
                <c:pt idx="4">
                  <c:v>646.0</c:v>
                </c:pt>
                <c:pt idx="5">
                  <c:v>952.0</c:v>
                </c:pt>
                <c:pt idx="6">
                  <c:v>984.0</c:v>
                </c:pt>
                <c:pt idx="7">
                  <c:v>1223.0</c:v>
                </c:pt>
                <c:pt idx="8">
                  <c:v>1446.0</c:v>
                </c:pt>
                <c:pt idx="9">
                  <c:v>1452.0</c:v>
                </c:pt>
                <c:pt idx="10">
                  <c:v>1465.0</c:v>
                </c:pt>
                <c:pt idx="11">
                  <c:v>1311.0</c:v>
                </c:pt>
                <c:pt idx="12">
                  <c:v>1605.0</c:v>
                </c:pt>
                <c:pt idx="13">
                  <c:v>1812.0</c:v>
                </c:pt>
                <c:pt idx="14">
                  <c:v>2248.0</c:v>
                </c:pt>
                <c:pt idx="15">
                  <c:v>1618.0</c:v>
                </c:pt>
                <c:pt idx="16">
                  <c:v>1553.0</c:v>
                </c:pt>
                <c:pt idx="17">
                  <c:v>1151.0</c:v>
                </c:pt>
                <c:pt idx="18">
                  <c:v>1710.0</c:v>
                </c:pt>
                <c:pt idx="19">
                  <c:v>2106.0</c:v>
                </c:pt>
                <c:pt idx="20">
                  <c:v>2288.0</c:v>
                </c:pt>
                <c:pt idx="21">
                  <c:v>3466.0</c:v>
                </c:pt>
                <c:pt idx="22">
                  <c:v>7742.0</c:v>
                </c:pt>
                <c:pt idx="23">
                  <c:v>6318.0</c:v>
                </c:pt>
                <c:pt idx="24">
                  <c:v>4426.0</c:v>
                </c:pt>
                <c:pt idx="25">
                  <c:v>946.0</c:v>
                </c:pt>
                <c:pt idx="26">
                  <c:v>986.0</c:v>
                </c:pt>
                <c:pt idx="27">
                  <c:v>1691.0</c:v>
                </c:pt>
                <c:pt idx="28">
                  <c:v>1232.0</c:v>
                </c:pt>
                <c:pt idx="29">
                  <c:v>1099.0</c:v>
                </c:pt>
                <c:pt idx="30">
                  <c:v>2222.0</c:v>
                </c:pt>
                <c:pt idx="31">
                  <c:v>710.0</c:v>
                </c:pt>
                <c:pt idx="32">
                  <c:v>1309.0</c:v>
                </c:pt>
                <c:pt idx="33">
                  <c:v>945.0</c:v>
                </c:pt>
                <c:pt idx="34">
                  <c:v>1049.0</c:v>
                </c:pt>
                <c:pt idx="35">
                  <c:v>1448.0</c:v>
                </c:pt>
                <c:pt idx="36">
                  <c:v>1292.0</c:v>
                </c:pt>
                <c:pt idx="37">
                  <c:v>1323.0</c:v>
                </c:pt>
                <c:pt idx="38">
                  <c:v>1391.0</c:v>
                </c:pt>
                <c:pt idx="39">
                  <c:v>977.0</c:v>
                </c:pt>
                <c:pt idx="40">
                  <c:v>827.0</c:v>
                </c:pt>
                <c:pt idx="41">
                  <c:v>852.0</c:v>
                </c:pt>
                <c:pt idx="42">
                  <c:v>703.0</c:v>
                </c:pt>
                <c:pt idx="43">
                  <c:v>1405.0</c:v>
                </c:pt>
                <c:pt idx="44">
                  <c:v>1806.0</c:v>
                </c:pt>
                <c:pt idx="45">
                  <c:v>1138.0</c:v>
                </c:pt>
                <c:pt idx="46">
                  <c:v>1676.0</c:v>
                </c:pt>
                <c:pt idx="47">
                  <c:v>1892.0</c:v>
                </c:pt>
                <c:pt idx="48">
                  <c:v>976.0</c:v>
                </c:pt>
                <c:pt idx="49">
                  <c:v>2241.0</c:v>
                </c:pt>
                <c:pt idx="50">
                  <c:v>1177.0</c:v>
                </c:pt>
                <c:pt idx="51">
                  <c:v>1740.0</c:v>
                </c:pt>
                <c:pt idx="52">
                  <c:v>1196.0</c:v>
                </c:pt>
                <c:pt idx="53">
                  <c:v>1142.0</c:v>
                </c:pt>
                <c:pt idx="54">
                  <c:v>1168.0</c:v>
                </c:pt>
                <c:pt idx="55">
                  <c:v>656.0</c:v>
                </c:pt>
                <c:pt idx="56">
                  <c:v>878.0</c:v>
                </c:pt>
                <c:pt idx="57">
                  <c:v>852.0</c:v>
                </c:pt>
                <c:pt idx="58">
                  <c:v>1607.0</c:v>
                </c:pt>
                <c:pt idx="59">
                  <c:v>1455.0</c:v>
                </c:pt>
                <c:pt idx="60">
                  <c:v>792.0</c:v>
                </c:pt>
                <c:pt idx="61">
                  <c:v>1179.0</c:v>
                </c:pt>
                <c:pt idx="62">
                  <c:v>1154.0</c:v>
                </c:pt>
                <c:pt idx="63">
                  <c:v>1418.0</c:v>
                </c:pt>
                <c:pt idx="64">
                  <c:v>1005.0</c:v>
                </c:pt>
                <c:pt idx="65">
                  <c:v>1285.0</c:v>
                </c:pt>
                <c:pt idx="66">
                  <c:v>934.0</c:v>
                </c:pt>
                <c:pt idx="67">
                  <c:v>1559.0</c:v>
                </c:pt>
                <c:pt idx="68">
                  <c:v>1722.0</c:v>
                </c:pt>
                <c:pt idx="69">
                  <c:v>1835.0</c:v>
                </c:pt>
                <c:pt idx="70">
                  <c:v>1419.0</c:v>
                </c:pt>
                <c:pt idx="71">
                  <c:v>1740.0</c:v>
                </c:pt>
                <c:pt idx="72">
                  <c:v>2088.0</c:v>
                </c:pt>
                <c:pt idx="73">
                  <c:v>1818.0</c:v>
                </c:pt>
                <c:pt idx="74">
                  <c:v>5483.0</c:v>
                </c:pt>
                <c:pt idx="75">
                  <c:v>4402.0</c:v>
                </c:pt>
                <c:pt idx="76">
                  <c:v>622.0</c:v>
                </c:pt>
                <c:pt idx="77">
                  <c:v>1504.0</c:v>
                </c:pt>
                <c:pt idx="78">
                  <c:v>1265.0</c:v>
                </c:pt>
                <c:pt idx="79">
                  <c:v>1158.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D$2:$D$81</c:f>
              <c:numCache>
                <c:formatCode>General</c:formatCode>
                <c:ptCount val="80"/>
                <c:pt idx="0">
                  <c:v>1390.0</c:v>
                </c:pt>
                <c:pt idx="1">
                  <c:v>1954.0</c:v>
                </c:pt>
                <c:pt idx="2">
                  <c:v>823.0</c:v>
                </c:pt>
                <c:pt idx="3">
                  <c:v>1724.0</c:v>
                </c:pt>
                <c:pt idx="4">
                  <c:v>646.0</c:v>
                </c:pt>
                <c:pt idx="5">
                  <c:v>952.0</c:v>
                </c:pt>
                <c:pt idx="6">
                  <c:v>984.0</c:v>
                </c:pt>
                <c:pt idx="7">
                  <c:v>1223.0</c:v>
                </c:pt>
                <c:pt idx="8">
                  <c:v>1446.0</c:v>
                </c:pt>
                <c:pt idx="9">
                  <c:v>1452.0</c:v>
                </c:pt>
                <c:pt idx="10">
                  <c:v>1465.0</c:v>
                </c:pt>
                <c:pt idx="11">
                  <c:v>1311.0</c:v>
                </c:pt>
                <c:pt idx="12">
                  <c:v>1605.0</c:v>
                </c:pt>
                <c:pt idx="13">
                  <c:v>1812.0</c:v>
                </c:pt>
                <c:pt idx="14">
                  <c:v>2248.0</c:v>
                </c:pt>
                <c:pt idx="15">
                  <c:v>1618.0</c:v>
                </c:pt>
                <c:pt idx="16">
                  <c:v>1553.0</c:v>
                </c:pt>
                <c:pt idx="17">
                  <c:v>1151.0</c:v>
                </c:pt>
                <c:pt idx="18">
                  <c:v>1710.0</c:v>
                </c:pt>
                <c:pt idx="19">
                  <c:v>2106.0</c:v>
                </c:pt>
                <c:pt idx="20">
                  <c:v>2288.0</c:v>
                </c:pt>
                <c:pt idx="21">
                  <c:v>3466.0</c:v>
                </c:pt>
                <c:pt idx="22">
                  <c:v>7742.0</c:v>
                </c:pt>
                <c:pt idx="23">
                  <c:v>6318.0</c:v>
                </c:pt>
                <c:pt idx="24">
                  <c:v>4426.0</c:v>
                </c:pt>
                <c:pt idx="25">
                  <c:v>946.0</c:v>
                </c:pt>
                <c:pt idx="26">
                  <c:v>986.0</c:v>
                </c:pt>
                <c:pt idx="27">
                  <c:v>1691.0</c:v>
                </c:pt>
                <c:pt idx="28">
                  <c:v>1232.0</c:v>
                </c:pt>
                <c:pt idx="29">
                  <c:v>1099.0</c:v>
                </c:pt>
                <c:pt idx="30">
                  <c:v>2222.0</c:v>
                </c:pt>
                <c:pt idx="31">
                  <c:v>710.0</c:v>
                </c:pt>
                <c:pt idx="32">
                  <c:v>1309.0</c:v>
                </c:pt>
                <c:pt idx="33">
                  <c:v>945.0</c:v>
                </c:pt>
                <c:pt idx="34">
                  <c:v>1049.0</c:v>
                </c:pt>
                <c:pt idx="35">
                  <c:v>1448.0</c:v>
                </c:pt>
                <c:pt idx="36">
                  <c:v>1292.0</c:v>
                </c:pt>
                <c:pt idx="37">
                  <c:v>1323.0</c:v>
                </c:pt>
                <c:pt idx="38">
                  <c:v>1391.0</c:v>
                </c:pt>
                <c:pt idx="39">
                  <c:v>2104.0</c:v>
                </c:pt>
                <c:pt idx="40">
                  <c:v>2015.0</c:v>
                </c:pt>
                <c:pt idx="41">
                  <c:v>2114.0</c:v>
                </c:pt>
                <c:pt idx="42">
                  <c:v>1652.0</c:v>
                </c:pt>
                <c:pt idx="43">
                  <c:v>1425.0</c:v>
                </c:pt>
                <c:pt idx="44">
                  <c:v>1806.0</c:v>
                </c:pt>
                <c:pt idx="45">
                  <c:v>1138.0</c:v>
                </c:pt>
                <c:pt idx="46">
                  <c:v>1676.0</c:v>
                </c:pt>
                <c:pt idx="47">
                  <c:v>1892.0</c:v>
                </c:pt>
                <c:pt idx="48">
                  <c:v>976.0</c:v>
                </c:pt>
                <c:pt idx="49">
                  <c:v>2241.0</c:v>
                </c:pt>
                <c:pt idx="50">
                  <c:v>1177.0</c:v>
                </c:pt>
                <c:pt idx="51">
                  <c:v>1740.0</c:v>
                </c:pt>
                <c:pt idx="52">
                  <c:v>1196.0</c:v>
                </c:pt>
                <c:pt idx="53">
                  <c:v>1142.0</c:v>
                </c:pt>
                <c:pt idx="54">
                  <c:v>1168.0</c:v>
                </c:pt>
                <c:pt idx="55">
                  <c:v>656.0</c:v>
                </c:pt>
                <c:pt idx="56">
                  <c:v>878.0</c:v>
                </c:pt>
                <c:pt idx="57">
                  <c:v>852.0</c:v>
                </c:pt>
                <c:pt idx="58">
                  <c:v>1607.0</c:v>
                </c:pt>
                <c:pt idx="59">
                  <c:v>1455.0</c:v>
                </c:pt>
                <c:pt idx="60">
                  <c:v>792.0</c:v>
                </c:pt>
                <c:pt idx="61">
                  <c:v>1179.0</c:v>
                </c:pt>
                <c:pt idx="62">
                  <c:v>1154.0</c:v>
                </c:pt>
                <c:pt idx="63">
                  <c:v>1418.0</c:v>
                </c:pt>
                <c:pt idx="64">
                  <c:v>1005.0</c:v>
                </c:pt>
                <c:pt idx="65">
                  <c:v>1285.0</c:v>
                </c:pt>
                <c:pt idx="66">
                  <c:v>934.0</c:v>
                </c:pt>
                <c:pt idx="67">
                  <c:v>1559.0</c:v>
                </c:pt>
                <c:pt idx="68">
                  <c:v>1722.0</c:v>
                </c:pt>
                <c:pt idx="69">
                  <c:v>1835.0</c:v>
                </c:pt>
                <c:pt idx="70">
                  <c:v>1419.0</c:v>
                </c:pt>
                <c:pt idx="71">
                  <c:v>1740.0</c:v>
                </c:pt>
                <c:pt idx="72">
                  <c:v>2088.0</c:v>
                </c:pt>
                <c:pt idx="73">
                  <c:v>1818.0</c:v>
                </c:pt>
                <c:pt idx="74">
                  <c:v>5483.0</c:v>
                </c:pt>
                <c:pt idx="75">
                  <c:v>4402.0</c:v>
                </c:pt>
                <c:pt idx="76">
                  <c:v>622.0</c:v>
                </c:pt>
                <c:pt idx="77">
                  <c:v>1504.0</c:v>
                </c:pt>
                <c:pt idx="78">
                  <c:v>1265.0</c:v>
                </c:pt>
                <c:pt idx="79">
                  <c:v>1158.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E$2:$E$81</c:f>
              <c:numCache>
                <c:formatCode>General</c:formatCode>
                <c:ptCount val="80"/>
                <c:pt idx="0">
                  <c:v>1884.0</c:v>
                </c:pt>
                <c:pt idx="1">
                  <c:v>1932.0</c:v>
                </c:pt>
                <c:pt idx="2">
                  <c:v>1796.0</c:v>
                </c:pt>
                <c:pt idx="3">
                  <c:v>1980.0</c:v>
                </c:pt>
                <c:pt idx="4">
                  <c:v>1700.0</c:v>
                </c:pt>
                <c:pt idx="5">
                  <c:v>1588.0</c:v>
                </c:pt>
                <c:pt idx="6">
                  <c:v>1476.0</c:v>
                </c:pt>
                <c:pt idx="7">
                  <c:v>1404.0</c:v>
                </c:pt>
                <c:pt idx="8">
                  <c:v>1398.0</c:v>
                </c:pt>
                <c:pt idx="9">
                  <c:v>1350.0</c:v>
                </c:pt>
                <c:pt idx="10">
                  <c:v>1167.0</c:v>
                </c:pt>
                <c:pt idx="11">
                  <c:v>1476.0</c:v>
                </c:pt>
                <c:pt idx="12">
                  <c:v>1334.0</c:v>
                </c:pt>
                <c:pt idx="13">
                  <c:v>1292.0</c:v>
                </c:pt>
                <c:pt idx="14">
                  <c:v>1411.0</c:v>
                </c:pt>
                <c:pt idx="15">
                  <c:v>1435.0</c:v>
                </c:pt>
                <c:pt idx="16">
                  <c:v>1465.0</c:v>
                </c:pt>
                <c:pt idx="17">
                  <c:v>1489.0</c:v>
                </c:pt>
                <c:pt idx="18">
                  <c:v>1561.0</c:v>
                </c:pt>
                <c:pt idx="19">
                  <c:v>1798.0</c:v>
                </c:pt>
                <c:pt idx="20">
                  <c:v>1721.0</c:v>
                </c:pt>
                <c:pt idx="21">
                  <c:v>1904.0</c:v>
                </c:pt>
                <c:pt idx="22">
                  <c:v>2542.0</c:v>
                </c:pt>
                <c:pt idx="23">
                  <c:v>2940.0</c:v>
                </c:pt>
                <c:pt idx="24">
                  <c:v>3180.0</c:v>
                </c:pt>
                <c:pt idx="25">
                  <c:v>2940.0</c:v>
                </c:pt>
                <c:pt idx="26">
                  <c:v>2741.0</c:v>
                </c:pt>
                <c:pt idx="27">
                  <c:v>3024.0</c:v>
                </c:pt>
                <c:pt idx="28">
                  <c:v>2858.0</c:v>
                </c:pt>
                <c:pt idx="29">
                  <c:v>2692.0</c:v>
                </c:pt>
                <c:pt idx="30">
                  <c:v>2923.0</c:v>
                </c:pt>
                <c:pt idx="31">
                  <c:v>2784.0</c:v>
                </c:pt>
                <c:pt idx="32">
                  <c:v>2760.0</c:v>
                </c:pt>
                <c:pt idx="33">
                  <c:v>2520.0</c:v>
                </c:pt>
                <c:pt idx="34">
                  <c:v>2092.0</c:v>
                </c:pt>
                <c:pt idx="35">
                  <c:v>1554.0</c:v>
                </c:pt>
                <c:pt idx="36">
                  <c:v>1192.0</c:v>
                </c:pt>
                <c:pt idx="37">
                  <c:v>1441.0</c:v>
                </c:pt>
                <c:pt idx="38">
                  <c:v>1367.0</c:v>
                </c:pt>
                <c:pt idx="39">
                  <c:v>1367.0</c:v>
                </c:pt>
                <c:pt idx="40">
                  <c:v>1343.0</c:v>
                </c:pt>
                <c:pt idx="41">
                  <c:v>1385.0</c:v>
                </c:pt>
                <c:pt idx="42">
                  <c:v>1204.0</c:v>
                </c:pt>
                <c:pt idx="43">
                  <c:v>1268.0</c:v>
                </c:pt>
                <c:pt idx="44">
                  <c:v>1292.0</c:v>
                </c:pt>
                <c:pt idx="45">
                  <c:v>1318.0</c:v>
                </c:pt>
                <c:pt idx="46">
                  <c:v>1493.0</c:v>
                </c:pt>
                <c:pt idx="47">
                  <c:v>1476.0</c:v>
                </c:pt>
                <c:pt idx="48">
                  <c:v>1411.0</c:v>
                </c:pt>
                <c:pt idx="49">
                  <c:v>1526.0</c:v>
                </c:pt>
                <c:pt idx="50">
                  <c:v>1394.0</c:v>
                </c:pt>
                <c:pt idx="51">
                  <c:v>1379.0</c:v>
                </c:pt>
                <c:pt idx="52">
                  <c:v>1295.0</c:v>
                </c:pt>
                <c:pt idx="53">
                  <c:v>1320.0</c:v>
                </c:pt>
                <c:pt idx="54">
                  <c:v>1362.0</c:v>
                </c:pt>
                <c:pt idx="55">
                  <c:v>1254.0</c:v>
                </c:pt>
                <c:pt idx="56">
                  <c:v>1286.0</c:v>
                </c:pt>
                <c:pt idx="57">
                  <c:v>1221.0</c:v>
                </c:pt>
                <c:pt idx="58">
                  <c:v>1370.0</c:v>
                </c:pt>
                <c:pt idx="59">
                  <c:v>1178.0</c:v>
                </c:pt>
                <c:pt idx="60">
                  <c:v>1218.0</c:v>
                </c:pt>
                <c:pt idx="61">
                  <c:v>1252.0</c:v>
                </c:pt>
                <c:pt idx="62">
                  <c:v>1168.0</c:v>
                </c:pt>
                <c:pt idx="63">
                  <c:v>1228.0</c:v>
                </c:pt>
                <c:pt idx="64">
                  <c:v>1178.0</c:v>
                </c:pt>
                <c:pt idx="65">
                  <c:v>1202.0</c:v>
                </c:pt>
                <c:pt idx="66">
                  <c:v>1178.0</c:v>
                </c:pt>
                <c:pt idx="67">
                  <c:v>1252.0</c:v>
                </c:pt>
                <c:pt idx="68">
                  <c:v>1302.0</c:v>
                </c:pt>
                <c:pt idx="69">
                  <c:v>1460.0</c:v>
                </c:pt>
                <c:pt idx="70">
                  <c:v>1351.0</c:v>
                </c:pt>
                <c:pt idx="71">
                  <c:v>1435.0</c:v>
                </c:pt>
                <c:pt idx="72">
                  <c:v>1475.0</c:v>
                </c:pt>
                <c:pt idx="73">
                  <c:v>1499.0</c:v>
                </c:pt>
                <c:pt idx="74">
                  <c:v>1946.0</c:v>
                </c:pt>
                <c:pt idx="75">
                  <c:v>2078.0</c:v>
                </c:pt>
                <c:pt idx="76">
                  <c:v>1762.0</c:v>
                </c:pt>
                <c:pt idx="77">
                  <c:v>2078.0</c:v>
                </c:pt>
                <c:pt idx="78">
                  <c:v>2102.0</c:v>
                </c:pt>
                <c:pt idx="79">
                  <c:v>1979.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F$2:$F$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48</c:v>
                </c:pt>
                <c:pt idx="40">
                  <c:v>0.52</c:v>
                </c:pt>
                <c:pt idx="41">
                  <c:v>0.5</c:v>
                </c:pt>
                <c:pt idx="42">
                  <c:v>0.5</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353.0</c:v>
                </c:pt>
                <c:pt idx="1">
                  <c:v>358.0</c:v>
                </c:pt>
                <c:pt idx="2">
                  <c:v>290.0</c:v>
                </c:pt>
                <c:pt idx="3">
                  <c:v>283.0</c:v>
                </c:pt>
                <c:pt idx="4">
                  <c:v>271.0</c:v>
                </c:pt>
                <c:pt idx="5">
                  <c:v>301.0</c:v>
                </c:pt>
                <c:pt idx="6">
                  <c:v>395.0</c:v>
                </c:pt>
                <c:pt idx="7">
                  <c:v>495.0</c:v>
                </c:pt>
                <c:pt idx="8">
                  <c:v>449.0</c:v>
                </c:pt>
                <c:pt idx="9">
                  <c:v>542.0</c:v>
                </c:pt>
                <c:pt idx="10">
                  <c:v>456.0</c:v>
                </c:pt>
                <c:pt idx="11">
                  <c:v>404.0</c:v>
                </c:pt>
                <c:pt idx="12">
                  <c:v>560.0</c:v>
                </c:pt>
                <c:pt idx="13">
                  <c:v>489.0</c:v>
                </c:pt>
                <c:pt idx="14">
                  <c:v>468.0</c:v>
                </c:pt>
                <c:pt idx="15">
                  <c:v>546.0</c:v>
                </c:pt>
                <c:pt idx="16">
                  <c:v>465.0</c:v>
                </c:pt>
                <c:pt idx="17">
                  <c:v>616.0</c:v>
                </c:pt>
                <c:pt idx="18">
                  <c:v>556.0</c:v>
                </c:pt>
                <c:pt idx="19">
                  <c:v>791.0</c:v>
                </c:pt>
                <c:pt idx="20">
                  <c:v>668.0</c:v>
                </c:pt>
                <c:pt idx="21">
                  <c:v>967.0</c:v>
                </c:pt>
                <c:pt idx="22">
                  <c:v>1474.0</c:v>
                </c:pt>
                <c:pt idx="23">
                  <c:v>1070.0</c:v>
                </c:pt>
                <c:pt idx="24">
                  <c:v>1009.0</c:v>
                </c:pt>
                <c:pt idx="25">
                  <c:v>380.0</c:v>
                </c:pt>
                <c:pt idx="26">
                  <c:v>410.0</c:v>
                </c:pt>
                <c:pt idx="27">
                  <c:v>375.0</c:v>
                </c:pt>
                <c:pt idx="28">
                  <c:v>388.0</c:v>
                </c:pt>
                <c:pt idx="29">
                  <c:v>433.0</c:v>
                </c:pt>
                <c:pt idx="30">
                  <c:v>495.0</c:v>
                </c:pt>
                <c:pt idx="31">
                  <c:v>392.0</c:v>
                </c:pt>
                <c:pt idx="32">
                  <c:v>401.0</c:v>
                </c:pt>
                <c:pt idx="33">
                  <c:v>460.0</c:v>
                </c:pt>
                <c:pt idx="34">
                  <c:v>431.0</c:v>
                </c:pt>
                <c:pt idx="35">
                  <c:v>403.0</c:v>
                </c:pt>
                <c:pt idx="36">
                  <c:v>522.0</c:v>
                </c:pt>
                <c:pt idx="37">
                  <c:v>445.0</c:v>
                </c:pt>
                <c:pt idx="38">
                  <c:v>388.0</c:v>
                </c:pt>
                <c:pt idx="39">
                  <c:v>363.0</c:v>
                </c:pt>
                <c:pt idx="40">
                  <c:v>323.0</c:v>
                </c:pt>
                <c:pt idx="41">
                  <c:v>410.0</c:v>
                </c:pt>
                <c:pt idx="42">
                  <c:v>307.0</c:v>
                </c:pt>
                <c:pt idx="43">
                  <c:v>461.0</c:v>
                </c:pt>
                <c:pt idx="44">
                  <c:v>405.0</c:v>
                </c:pt>
                <c:pt idx="45">
                  <c:v>466.0</c:v>
                </c:pt>
                <c:pt idx="46">
                  <c:v>460.0</c:v>
                </c:pt>
                <c:pt idx="47">
                  <c:v>1056.0</c:v>
                </c:pt>
                <c:pt idx="48">
                  <c:v>744.0</c:v>
                </c:pt>
                <c:pt idx="49">
                  <c:v>692.0</c:v>
                </c:pt>
                <c:pt idx="50">
                  <c:v>714.0</c:v>
                </c:pt>
                <c:pt idx="51">
                  <c:v>525.0</c:v>
                </c:pt>
                <c:pt idx="52">
                  <c:v>420.0</c:v>
                </c:pt>
                <c:pt idx="53">
                  <c:v>460.0</c:v>
                </c:pt>
                <c:pt idx="54">
                  <c:v>389.0</c:v>
                </c:pt>
                <c:pt idx="55">
                  <c:v>292.0</c:v>
                </c:pt>
                <c:pt idx="56">
                  <c:v>292.0</c:v>
                </c:pt>
                <c:pt idx="57">
                  <c:v>371.0</c:v>
                </c:pt>
                <c:pt idx="58">
                  <c:v>472.0</c:v>
                </c:pt>
                <c:pt idx="59">
                  <c:v>376.0</c:v>
                </c:pt>
                <c:pt idx="60">
                  <c:v>449.0</c:v>
                </c:pt>
                <c:pt idx="61">
                  <c:v>431.0</c:v>
                </c:pt>
                <c:pt idx="62">
                  <c:v>481.0</c:v>
                </c:pt>
                <c:pt idx="63">
                  <c:v>366.0</c:v>
                </c:pt>
                <c:pt idx="64">
                  <c:v>525.0</c:v>
                </c:pt>
                <c:pt idx="65">
                  <c:v>706.0</c:v>
                </c:pt>
                <c:pt idx="66">
                  <c:v>607.0</c:v>
                </c:pt>
                <c:pt idx="67">
                  <c:v>671.0</c:v>
                </c:pt>
                <c:pt idx="68">
                  <c:v>722.0</c:v>
                </c:pt>
                <c:pt idx="69">
                  <c:v>441.0</c:v>
                </c:pt>
                <c:pt idx="70">
                  <c:v>481.0</c:v>
                </c:pt>
                <c:pt idx="71">
                  <c:v>542.0</c:v>
                </c:pt>
                <c:pt idx="72">
                  <c:v>693.0</c:v>
                </c:pt>
                <c:pt idx="73">
                  <c:v>720.0</c:v>
                </c:pt>
                <c:pt idx="74">
                  <c:v>1298.0</c:v>
                </c:pt>
                <c:pt idx="75">
                  <c:v>997.0</c:v>
                </c:pt>
                <c:pt idx="76">
                  <c:v>222.0</c:v>
                </c:pt>
                <c:pt idx="77">
                  <c:v>501.0</c:v>
                </c:pt>
                <c:pt idx="78">
                  <c:v>490.0</c:v>
                </c:pt>
                <c:pt idx="79">
                  <c:v>492.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03.0</c:v>
                </c:pt>
                <c:pt idx="40">
                  <c:v>288.0</c:v>
                </c:pt>
                <c:pt idx="41">
                  <c:v>260.0</c:v>
                </c:pt>
                <c:pt idx="42">
                  <c:v>184.0</c:v>
                </c:pt>
                <c:pt idx="43">
                  <c:v>35.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52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614.0</c:v>
                </c:pt>
                <c:pt idx="1">
                  <c:v>607.0</c:v>
                </c:pt>
                <c:pt idx="2">
                  <c:v>548.0</c:v>
                </c:pt>
                <c:pt idx="3">
                  <c:v>487.0</c:v>
                </c:pt>
                <c:pt idx="4">
                  <c:v>413.0</c:v>
                </c:pt>
                <c:pt idx="5">
                  <c:v>484.0</c:v>
                </c:pt>
                <c:pt idx="6">
                  <c:v>671.0</c:v>
                </c:pt>
                <c:pt idx="7">
                  <c:v>767.0</c:v>
                </c:pt>
                <c:pt idx="8">
                  <c:v>687.0</c:v>
                </c:pt>
                <c:pt idx="9">
                  <c:v>725.0</c:v>
                </c:pt>
                <c:pt idx="10">
                  <c:v>812.0</c:v>
                </c:pt>
                <c:pt idx="11">
                  <c:v>791.0</c:v>
                </c:pt>
                <c:pt idx="12">
                  <c:v>831.0</c:v>
                </c:pt>
                <c:pt idx="13">
                  <c:v>819.0</c:v>
                </c:pt>
                <c:pt idx="14">
                  <c:v>826.0</c:v>
                </c:pt>
                <c:pt idx="15">
                  <c:v>808.0</c:v>
                </c:pt>
                <c:pt idx="16">
                  <c:v>809.0</c:v>
                </c:pt>
                <c:pt idx="17">
                  <c:v>956.0</c:v>
                </c:pt>
                <c:pt idx="18">
                  <c:v>906.0</c:v>
                </c:pt>
                <c:pt idx="19">
                  <c:v>1107.0</c:v>
                </c:pt>
                <c:pt idx="20">
                  <c:v>1356.0</c:v>
                </c:pt>
                <c:pt idx="21">
                  <c:v>1468.0</c:v>
                </c:pt>
                <c:pt idx="22">
                  <c:v>2530.0</c:v>
                </c:pt>
                <c:pt idx="23">
                  <c:v>1631.0</c:v>
                </c:pt>
                <c:pt idx="24">
                  <c:v>1599.0</c:v>
                </c:pt>
                <c:pt idx="25">
                  <c:v>668.0</c:v>
                </c:pt>
                <c:pt idx="26">
                  <c:v>547.0</c:v>
                </c:pt>
                <c:pt idx="27">
                  <c:v>614.0</c:v>
                </c:pt>
                <c:pt idx="28">
                  <c:v>580.0</c:v>
                </c:pt>
                <c:pt idx="29">
                  <c:v>673.0</c:v>
                </c:pt>
                <c:pt idx="30">
                  <c:v>807.0</c:v>
                </c:pt>
                <c:pt idx="31">
                  <c:v>596.0</c:v>
                </c:pt>
                <c:pt idx="32">
                  <c:v>674.0</c:v>
                </c:pt>
                <c:pt idx="33">
                  <c:v>663.0</c:v>
                </c:pt>
                <c:pt idx="34">
                  <c:v>740.0</c:v>
                </c:pt>
                <c:pt idx="35">
                  <c:v>767.0</c:v>
                </c:pt>
                <c:pt idx="36">
                  <c:v>750.0</c:v>
                </c:pt>
                <c:pt idx="37">
                  <c:v>694.0</c:v>
                </c:pt>
                <c:pt idx="38">
                  <c:v>636.0</c:v>
                </c:pt>
                <c:pt idx="39">
                  <c:v>539.0</c:v>
                </c:pt>
                <c:pt idx="40">
                  <c:v>545.0</c:v>
                </c:pt>
                <c:pt idx="41">
                  <c:v>644.0</c:v>
                </c:pt>
                <c:pt idx="42">
                  <c:v>487.0</c:v>
                </c:pt>
                <c:pt idx="43">
                  <c:v>616.0</c:v>
                </c:pt>
                <c:pt idx="44">
                  <c:v>729.0</c:v>
                </c:pt>
                <c:pt idx="45">
                  <c:v>731.0</c:v>
                </c:pt>
                <c:pt idx="46">
                  <c:v>689.0</c:v>
                </c:pt>
                <c:pt idx="47">
                  <c:v>1559.0</c:v>
                </c:pt>
                <c:pt idx="48">
                  <c:v>1112.0</c:v>
                </c:pt>
                <c:pt idx="49">
                  <c:v>1182.0</c:v>
                </c:pt>
                <c:pt idx="50">
                  <c:v>1012.0</c:v>
                </c:pt>
                <c:pt idx="51">
                  <c:v>799.0</c:v>
                </c:pt>
                <c:pt idx="52">
                  <c:v>686.0</c:v>
                </c:pt>
                <c:pt idx="53">
                  <c:v>672.0</c:v>
                </c:pt>
                <c:pt idx="54">
                  <c:v>598.0</c:v>
                </c:pt>
                <c:pt idx="55">
                  <c:v>502.0</c:v>
                </c:pt>
                <c:pt idx="56">
                  <c:v>470.0</c:v>
                </c:pt>
                <c:pt idx="57">
                  <c:v>567.0</c:v>
                </c:pt>
                <c:pt idx="58">
                  <c:v>770.0</c:v>
                </c:pt>
                <c:pt idx="59">
                  <c:v>693.0</c:v>
                </c:pt>
                <c:pt idx="60">
                  <c:v>662.0</c:v>
                </c:pt>
                <c:pt idx="61">
                  <c:v>624.0</c:v>
                </c:pt>
                <c:pt idx="62">
                  <c:v>733.0</c:v>
                </c:pt>
                <c:pt idx="63">
                  <c:v>718.0</c:v>
                </c:pt>
                <c:pt idx="64">
                  <c:v>803.0</c:v>
                </c:pt>
                <c:pt idx="65">
                  <c:v>923.0</c:v>
                </c:pt>
                <c:pt idx="66">
                  <c:v>939.0</c:v>
                </c:pt>
                <c:pt idx="67">
                  <c:v>858.0</c:v>
                </c:pt>
                <c:pt idx="68">
                  <c:v>1040.0</c:v>
                </c:pt>
                <c:pt idx="69">
                  <c:v>860.0</c:v>
                </c:pt>
                <c:pt idx="70">
                  <c:v>884.0</c:v>
                </c:pt>
                <c:pt idx="71">
                  <c:v>808.0</c:v>
                </c:pt>
                <c:pt idx="72">
                  <c:v>1130.0</c:v>
                </c:pt>
                <c:pt idx="73">
                  <c:v>1315.0</c:v>
                </c:pt>
                <c:pt idx="74">
                  <c:v>2007.0</c:v>
                </c:pt>
                <c:pt idx="75">
                  <c:v>1468.0</c:v>
                </c:pt>
                <c:pt idx="76">
                  <c:v>402.0</c:v>
                </c:pt>
                <c:pt idx="77">
                  <c:v>613.0</c:v>
                </c:pt>
                <c:pt idx="78">
                  <c:v>760.0</c:v>
                </c:pt>
                <c:pt idx="79">
                  <c:v>765.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11.0</c:v>
                </c:pt>
                <c:pt idx="40">
                  <c:v>392.0</c:v>
                </c:pt>
                <c:pt idx="41">
                  <c:v>394.0</c:v>
                </c:pt>
                <c:pt idx="42">
                  <c:v>357.0</c:v>
                </c:pt>
                <c:pt idx="43">
                  <c:v>6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3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512.0</c:v>
                </c:pt>
                <c:pt idx="1">
                  <c:v>401.0</c:v>
                </c:pt>
                <c:pt idx="2">
                  <c:v>376.0</c:v>
                </c:pt>
                <c:pt idx="3">
                  <c:v>310.0</c:v>
                </c:pt>
                <c:pt idx="4">
                  <c:v>280.0</c:v>
                </c:pt>
                <c:pt idx="5">
                  <c:v>391.0</c:v>
                </c:pt>
                <c:pt idx="6">
                  <c:v>530.0</c:v>
                </c:pt>
                <c:pt idx="7">
                  <c:v>516.0</c:v>
                </c:pt>
                <c:pt idx="8">
                  <c:v>499.0</c:v>
                </c:pt>
                <c:pt idx="9">
                  <c:v>660.0</c:v>
                </c:pt>
                <c:pt idx="10">
                  <c:v>697.0</c:v>
                </c:pt>
                <c:pt idx="11">
                  <c:v>460.0</c:v>
                </c:pt>
                <c:pt idx="12">
                  <c:v>643.0</c:v>
                </c:pt>
                <c:pt idx="13">
                  <c:v>541.0</c:v>
                </c:pt>
                <c:pt idx="14">
                  <c:v>595.0</c:v>
                </c:pt>
                <c:pt idx="15">
                  <c:v>628.0</c:v>
                </c:pt>
                <c:pt idx="16">
                  <c:v>684.0</c:v>
                </c:pt>
                <c:pt idx="17">
                  <c:v>583.0</c:v>
                </c:pt>
                <c:pt idx="18">
                  <c:v>607.0</c:v>
                </c:pt>
                <c:pt idx="19">
                  <c:v>834.0</c:v>
                </c:pt>
                <c:pt idx="20">
                  <c:v>999.0</c:v>
                </c:pt>
                <c:pt idx="21">
                  <c:v>1218.0</c:v>
                </c:pt>
                <c:pt idx="22">
                  <c:v>2013.0</c:v>
                </c:pt>
                <c:pt idx="23">
                  <c:v>1489.0</c:v>
                </c:pt>
                <c:pt idx="24">
                  <c:v>1442.0</c:v>
                </c:pt>
                <c:pt idx="25">
                  <c:v>442.0</c:v>
                </c:pt>
                <c:pt idx="26">
                  <c:v>405.0</c:v>
                </c:pt>
                <c:pt idx="27">
                  <c:v>490.0</c:v>
                </c:pt>
                <c:pt idx="28">
                  <c:v>435.0</c:v>
                </c:pt>
                <c:pt idx="29">
                  <c:v>496.0</c:v>
                </c:pt>
                <c:pt idx="30">
                  <c:v>579.0</c:v>
                </c:pt>
                <c:pt idx="31">
                  <c:v>382.0</c:v>
                </c:pt>
                <c:pt idx="32">
                  <c:v>500.0</c:v>
                </c:pt>
                <c:pt idx="33">
                  <c:v>569.0</c:v>
                </c:pt>
                <c:pt idx="34">
                  <c:v>520.0</c:v>
                </c:pt>
                <c:pt idx="35">
                  <c:v>550.0</c:v>
                </c:pt>
                <c:pt idx="36">
                  <c:v>754.0</c:v>
                </c:pt>
                <c:pt idx="37">
                  <c:v>545.0</c:v>
                </c:pt>
                <c:pt idx="38">
                  <c:v>536.0</c:v>
                </c:pt>
                <c:pt idx="39">
                  <c:v>456.0</c:v>
                </c:pt>
                <c:pt idx="40">
                  <c:v>429.0</c:v>
                </c:pt>
                <c:pt idx="41">
                  <c:v>411.0</c:v>
                </c:pt>
                <c:pt idx="42">
                  <c:v>380.0</c:v>
                </c:pt>
                <c:pt idx="43">
                  <c:v>474.0</c:v>
                </c:pt>
                <c:pt idx="44">
                  <c:v>579.0</c:v>
                </c:pt>
                <c:pt idx="45">
                  <c:v>516.0</c:v>
                </c:pt>
                <c:pt idx="46">
                  <c:v>609.0</c:v>
                </c:pt>
                <c:pt idx="47">
                  <c:v>1237.0</c:v>
                </c:pt>
                <c:pt idx="48">
                  <c:v>863.0</c:v>
                </c:pt>
                <c:pt idx="49">
                  <c:v>926.0</c:v>
                </c:pt>
                <c:pt idx="50">
                  <c:v>694.0</c:v>
                </c:pt>
                <c:pt idx="51">
                  <c:v>615.0</c:v>
                </c:pt>
                <c:pt idx="52">
                  <c:v>557.0</c:v>
                </c:pt>
                <c:pt idx="53">
                  <c:v>521.0</c:v>
                </c:pt>
                <c:pt idx="54">
                  <c:v>387.0</c:v>
                </c:pt>
                <c:pt idx="55">
                  <c:v>314.0</c:v>
                </c:pt>
                <c:pt idx="56">
                  <c:v>328.0</c:v>
                </c:pt>
                <c:pt idx="57">
                  <c:v>406.0</c:v>
                </c:pt>
                <c:pt idx="58">
                  <c:v>660.0</c:v>
                </c:pt>
                <c:pt idx="59">
                  <c:v>495.0</c:v>
                </c:pt>
                <c:pt idx="60">
                  <c:v>636.0</c:v>
                </c:pt>
                <c:pt idx="61">
                  <c:v>501.0</c:v>
                </c:pt>
                <c:pt idx="62">
                  <c:v>575.0</c:v>
                </c:pt>
                <c:pt idx="63">
                  <c:v>496.0</c:v>
                </c:pt>
                <c:pt idx="64">
                  <c:v>694.0</c:v>
                </c:pt>
                <c:pt idx="65">
                  <c:v>749.0</c:v>
                </c:pt>
                <c:pt idx="66">
                  <c:v>714.0</c:v>
                </c:pt>
                <c:pt idx="67">
                  <c:v>756.0</c:v>
                </c:pt>
                <c:pt idx="68">
                  <c:v>853.0</c:v>
                </c:pt>
                <c:pt idx="69">
                  <c:v>697.0</c:v>
                </c:pt>
                <c:pt idx="70">
                  <c:v>654.0</c:v>
                </c:pt>
                <c:pt idx="71">
                  <c:v>701.0</c:v>
                </c:pt>
                <c:pt idx="72">
                  <c:v>834.0</c:v>
                </c:pt>
                <c:pt idx="73">
                  <c:v>930.0</c:v>
                </c:pt>
                <c:pt idx="74">
                  <c:v>1482.0</c:v>
                </c:pt>
                <c:pt idx="75">
                  <c:v>1369.0</c:v>
                </c:pt>
                <c:pt idx="76">
                  <c:v>267.0</c:v>
                </c:pt>
                <c:pt idx="77">
                  <c:v>560.0</c:v>
                </c:pt>
                <c:pt idx="78">
                  <c:v>564.0</c:v>
                </c:pt>
                <c:pt idx="79">
                  <c:v>545.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70.0</c:v>
                </c:pt>
                <c:pt idx="40">
                  <c:v>260.0</c:v>
                </c:pt>
                <c:pt idx="41">
                  <c:v>317.0</c:v>
                </c:pt>
                <c:pt idx="42">
                  <c:v>259.0</c:v>
                </c:pt>
                <c:pt idx="43">
                  <c:v>10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647.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463.0</c:v>
                </c:pt>
                <c:pt idx="1">
                  <c:v>511.0</c:v>
                </c:pt>
                <c:pt idx="2">
                  <c:v>371.0</c:v>
                </c:pt>
                <c:pt idx="3">
                  <c:v>345.0</c:v>
                </c:pt>
                <c:pt idx="4">
                  <c:v>282.0</c:v>
                </c:pt>
                <c:pt idx="5">
                  <c:v>343.0</c:v>
                </c:pt>
                <c:pt idx="6">
                  <c:v>524.0</c:v>
                </c:pt>
                <c:pt idx="7">
                  <c:v>572.0</c:v>
                </c:pt>
                <c:pt idx="8">
                  <c:v>526.0</c:v>
                </c:pt>
                <c:pt idx="9">
                  <c:v>491.0</c:v>
                </c:pt>
                <c:pt idx="10">
                  <c:v>651.0</c:v>
                </c:pt>
                <c:pt idx="11">
                  <c:v>579.0</c:v>
                </c:pt>
                <c:pt idx="12">
                  <c:v>635.0</c:v>
                </c:pt>
                <c:pt idx="13">
                  <c:v>585.0</c:v>
                </c:pt>
                <c:pt idx="14">
                  <c:v>848.0</c:v>
                </c:pt>
                <c:pt idx="15">
                  <c:v>707.0</c:v>
                </c:pt>
                <c:pt idx="16">
                  <c:v>643.0</c:v>
                </c:pt>
                <c:pt idx="17">
                  <c:v>710.0</c:v>
                </c:pt>
                <c:pt idx="18">
                  <c:v>743.0</c:v>
                </c:pt>
                <c:pt idx="19">
                  <c:v>971.0</c:v>
                </c:pt>
                <c:pt idx="20">
                  <c:v>1006.0</c:v>
                </c:pt>
                <c:pt idx="21">
                  <c:v>1358.0</c:v>
                </c:pt>
                <c:pt idx="22">
                  <c:v>2353.0</c:v>
                </c:pt>
                <c:pt idx="23">
                  <c:v>1528.0</c:v>
                </c:pt>
                <c:pt idx="24">
                  <c:v>1472.0</c:v>
                </c:pt>
                <c:pt idx="25">
                  <c:v>444.0</c:v>
                </c:pt>
                <c:pt idx="26">
                  <c:v>405.0</c:v>
                </c:pt>
                <c:pt idx="27">
                  <c:v>474.0</c:v>
                </c:pt>
                <c:pt idx="28">
                  <c:v>415.0</c:v>
                </c:pt>
                <c:pt idx="29">
                  <c:v>529.0</c:v>
                </c:pt>
                <c:pt idx="30">
                  <c:v>570.0</c:v>
                </c:pt>
                <c:pt idx="31">
                  <c:v>429.0</c:v>
                </c:pt>
                <c:pt idx="32">
                  <c:v>496.0</c:v>
                </c:pt>
                <c:pt idx="33">
                  <c:v>412.0</c:v>
                </c:pt>
                <c:pt idx="34">
                  <c:v>510.0</c:v>
                </c:pt>
                <c:pt idx="35">
                  <c:v>478.0</c:v>
                </c:pt>
                <c:pt idx="36">
                  <c:v>629.0</c:v>
                </c:pt>
                <c:pt idx="37">
                  <c:v>448.0</c:v>
                </c:pt>
                <c:pt idx="38">
                  <c:v>529.0</c:v>
                </c:pt>
                <c:pt idx="39">
                  <c:v>430.0</c:v>
                </c:pt>
                <c:pt idx="40">
                  <c:v>391.0</c:v>
                </c:pt>
                <c:pt idx="41">
                  <c:v>392.0</c:v>
                </c:pt>
                <c:pt idx="42">
                  <c:v>289.0</c:v>
                </c:pt>
                <c:pt idx="43">
                  <c:v>484.0</c:v>
                </c:pt>
                <c:pt idx="44">
                  <c:v>582.0</c:v>
                </c:pt>
                <c:pt idx="45">
                  <c:v>540.0</c:v>
                </c:pt>
                <c:pt idx="46">
                  <c:v>645.0</c:v>
                </c:pt>
                <c:pt idx="47">
                  <c:v>1013.0</c:v>
                </c:pt>
                <c:pt idx="48">
                  <c:v>753.0</c:v>
                </c:pt>
                <c:pt idx="49">
                  <c:v>872.0</c:v>
                </c:pt>
                <c:pt idx="50">
                  <c:v>741.0</c:v>
                </c:pt>
                <c:pt idx="51">
                  <c:v>633.0</c:v>
                </c:pt>
                <c:pt idx="52">
                  <c:v>626.0</c:v>
                </c:pt>
                <c:pt idx="53">
                  <c:v>566.0</c:v>
                </c:pt>
                <c:pt idx="54">
                  <c:v>418.0</c:v>
                </c:pt>
                <c:pt idx="55">
                  <c:v>402.0</c:v>
                </c:pt>
                <c:pt idx="56">
                  <c:v>305.0</c:v>
                </c:pt>
                <c:pt idx="57">
                  <c:v>382.0</c:v>
                </c:pt>
                <c:pt idx="58">
                  <c:v>543.0</c:v>
                </c:pt>
                <c:pt idx="59">
                  <c:v>428.0</c:v>
                </c:pt>
                <c:pt idx="60">
                  <c:v>464.0</c:v>
                </c:pt>
                <c:pt idx="61">
                  <c:v>548.0</c:v>
                </c:pt>
                <c:pt idx="62">
                  <c:v>446.0</c:v>
                </c:pt>
                <c:pt idx="63">
                  <c:v>526.0</c:v>
                </c:pt>
                <c:pt idx="64">
                  <c:v>595.0</c:v>
                </c:pt>
                <c:pt idx="65">
                  <c:v>631.0</c:v>
                </c:pt>
                <c:pt idx="66">
                  <c:v>736.0</c:v>
                </c:pt>
                <c:pt idx="67">
                  <c:v>819.0</c:v>
                </c:pt>
                <c:pt idx="68">
                  <c:v>803.0</c:v>
                </c:pt>
                <c:pt idx="69">
                  <c:v>742.0</c:v>
                </c:pt>
                <c:pt idx="70">
                  <c:v>602.0</c:v>
                </c:pt>
                <c:pt idx="71">
                  <c:v>674.0</c:v>
                </c:pt>
                <c:pt idx="72">
                  <c:v>923.0</c:v>
                </c:pt>
                <c:pt idx="73">
                  <c:v>1048.0</c:v>
                </c:pt>
                <c:pt idx="74">
                  <c:v>1768.0</c:v>
                </c:pt>
                <c:pt idx="75">
                  <c:v>1451.0</c:v>
                </c:pt>
                <c:pt idx="76">
                  <c:v>340.0</c:v>
                </c:pt>
                <c:pt idx="77">
                  <c:v>592.0</c:v>
                </c:pt>
                <c:pt idx="78">
                  <c:v>576.0</c:v>
                </c:pt>
                <c:pt idx="79">
                  <c:v>549.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41.0</c:v>
                </c:pt>
                <c:pt idx="40">
                  <c:v>296.0</c:v>
                </c:pt>
                <c:pt idx="41">
                  <c:v>286.0</c:v>
                </c:pt>
                <c:pt idx="42">
                  <c:v>230.0</c:v>
                </c:pt>
                <c:pt idx="43">
                  <c:v>4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655.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69.0</c:v>
                </c:pt>
                <c:pt idx="1">
                  <c:v>153.0</c:v>
                </c:pt>
                <c:pt idx="2">
                  <c:v>125.0</c:v>
                </c:pt>
                <c:pt idx="3">
                  <c:v>83.0</c:v>
                </c:pt>
                <c:pt idx="4">
                  <c:v>67.0</c:v>
                </c:pt>
                <c:pt idx="5">
                  <c:v>95.0</c:v>
                </c:pt>
                <c:pt idx="6">
                  <c:v>202.0</c:v>
                </c:pt>
                <c:pt idx="7">
                  <c:v>189.0</c:v>
                </c:pt>
                <c:pt idx="8">
                  <c:v>243.0</c:v>
                </c:pt>
                <c:pt idx="9">
                  <c:v>274.0</c:v>
                </c:pt>
                <c:pt idx="10">
                  <c:v>272.0</c:v>
                </c:pt>
                <c:pt idx="11">
                  <c:v>218.0</c:v>
                </c:pt>
                <c:pt idx="12">
                  <c:v>272.0</c:v>
                </c:pt>
                <c:pt idx="13">
                  <c:v>241.0</c:v>
                </c:pt>
                <c:pt idx="14">
                  <c:v>247.0</c:v>
                </c:pt>
                <c:pt idx="15">
                  <c:v>232.0</c:v>
                </c:pt>
                <c:pt idx="16">
                  <c:v>224.0</c:v>
                </c:pt>
                <c:pt idx="17">
                  <c:v>248.0</c:v>
                </c:pt>
                <c:pt idx="18">
                  <c:v>305.0</c:v>
                </c:pt>
                <c:pt idx="19">
                  <c:v>290.0</c:v>
                </c:pt>
                <c:pt idx="20">
                  <c:v>393.0</c:v>
                </c:pt>
                <c:pt idx="21">
                  <c:v>400.0</c:v>
                </c:pt>
                <c:pt idx="22">
                  <c:v>558.0</c:v>
                </c:pt>
                <c:pt idx="23">
                  <c:v>300.0</c:v>
                </c:pt>
                <c:pt idx="24">
                  <c:v>370.0</c:v>
                </c:pt>
                <c:pt idx="25">
                  <c:v>198.0</c:v>
                </c:pt>
                <c:pt idx="26">
                  <c:v>167.0</c:v>
                </c:pt>
                <c:pt idx="27">
                  <c:v>216.0</c:v>
                </c:pt>
                <c:pt idx="28">
                  <c:v>182.0</c:v>
                </c:pt>
                <c:pt idx="29">
                  <c:v>216.0</c:v>
                </c:pt>
                <c:pt idx="30">
                  <c:v>212.0</c:v>
                </c:pt>
                <c:pt idx="31">
                  <c:v>147.0</c:v>
                </c:pt>
                <c:pt idx="32">
                  <c:v>205.0</c:v>
                </c:pt>
                <c:pt idx="33">
                  <c:v>219.0</c:v>
                </c:pt>
                <c:pt idx="34">
                  <c:v>209.0</c:v>
                </c:pt>
                <c:pt idx="35">
                  <c:v>196.0</c:v>
                </c:pt>
                <c:pt idx="36">
                  <c:v>349.0</c:v>
                </c:pt>
                <c:pt idx="37">
                  <c:v>165.0</c:v>
                </c:pt>
                <c:pt idx="38">
                  <c:v>196.0</c:v>
                </c:pt>
                <c:pt idx="39">
                  <c:v>169.0</c:v>
                </c:pt>
                <c:pt idx="40">
                  <c:v>151.0</c:v>
                </c:pt>
                <c:pt idx="41">
                  <c:v>111.0</c:v>
                </c:pt>
                <c:pt idx="42">
                  <c:v>75.0</c:v>
                </c:pt>
                <c:pt idx="43">
                  <c:v>165.0</c:v>
                </c:pt>
                <c:pt idx="44">
                  <c:v>166.0</c:v>
                </c:pt>
                <c:pt idx="45">
                  <c:v>195.0</c:v>
                </c:pt>
                <c:pt idx="46">
                  <c:v>199.0</c:v>
                </c:pt>
                <c:pt idx="47">
                  <c:v>350.0</c:v>
                </c:pt>
                <c:pt idx="48">
                  <c:v>236.0</c:v>
                </c:pt>
                <c:pt idx="49">
                  <c:v>252.0</c:v>
                </c:pt>
                <c:pt idx="50">
                  <c:v>262.0</c:v>
                </c:pt>
                <c:pt idx="51">
                  <c:v>195.0</c:v>
                </c:pt>
                <c:pt idx="52">
                  <c:v>159.0</c:v>
                </c:pt>
                <c:pt idx="53">
                  <c:v>159.0</c:v>
                </c:pt>
                <c:pt idx="54">
                  <c:v>85.0</c:v>
                </c:pt>
                <c:pt idx="55">
                  <c:v>97.0</c:v>
                </c:pt>
                <c:pt idx="56">
                  <c:v>46.0</c:v>
                </c:pt>
                <c:pt idx="57">
                  <c:v>87.0</c:v>
                </c:pt>
                <c:pt idx="58">
                  <c:v>168.0</c:v>
                </c:pt>
                <c:pt idx="59">
                  <c:v>185.0</c:v>
                </c:pt>
                <c:pt idx="60">
                  <c:v>153.0</c:v>
                </c:pt>
                <c:pt idx="61">
                  <c:v>166.0</c:v>
                </c:pt>
                <c:pt idx="62">
                  <c:v>189.0</c:v>
                </c:pt>
                <c:pt idx="63">
                  <c:v>188.0</c:v>
                </c:pt>
                <c:pt idx="64">
                  <c:v>248.0</c:v>
                </c:pt>
                <c:pt idx="65">
                  <c:v>229.0</c:v>
                </c:pt>
                <c:pt idx="66">
                  <c:v>251.0</c:v>
                </c:pt>
                <c:pt idx="67">
                  <c:v>251.0</c:v>
                </c:pt>
                <c:pt idx="68">
                  <c:v>306.0</c:v>
                </c:pt>
                <c:pt idx="69">
                  <c:v>221.0</c:v>
                </c:pt>
                <c:pt idx="70">
                  <c:v>269.0</c:v>
                </c:pt>
                <c:pt idx="71">
                  <c:v>374.0</c:v>
                </c:pt>
                <c:pt idx="72">
                  <c:v>243.0</c:v>
                </c:pt>
                <c:pt idx="73">
                  <c:v>318.0</c:v>
                </c:pt>
                <c:pt idx="74">
                  <c:v>475.0</c:v>
                </c:pt>
                <c:pt idx="75">
                  <c:v>239.0</c:v>
                </c:pt>
                <c:pt idx="76">
                  <c:v>108.0</c:v>
                </c:pt>
                <c:pt idx="77">
                  <c:v>185.0</c:v>
                </c:pt>
                <c:pt idx="78">
                  <c:v>300.0</c:v>
                </c:pt>
                <c:pt idx="79">
                  <c:v>263.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72.0</c:v>
                </c:pt>
                <c:pt idx="40">
                  <c:v>120.0</c:v>
                </c:pt>
                <c:pt idx="41">
                  <c:v>102.0</c:v>
                </c:pt>
                <c:pt idx="42">
                  <c:v>63.0</c:v>
                </c:pt>
                <c:pt idx="43">
                  <c:v>17.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4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01.0</c:v>
                </c:pt>
                <c:pt idx="1">
                  <c:v>119.0</c:v>
                </c:pt>
                <c:pt idx="2">
                  <c:v>100.0</c:v>
                </c:pt>
                <c:pt idx="3">
                  <c:v>123.0</c:v>
                </c:pt>
                <c:pt idx="4">
                  <c:v>111.0</c:v>
                </c:pt>
                <c:pt idx="5">
                  <c:v>102.0</c:v>
                </c:pt>
                <c:pt idx="6">
                  <c:v>126.0</c:v>
                </c:pt>
                <c:pt idx="7">
                  <c:v>105.0</c:v>
                </c:pt>
                <c:pt idx="8">
                  <c:v>115.0</c:v>
                </c:pt>
                <c:pt idx="9">
                  <c:v>124.0</c:v>
                </c:pt>
                <c:pt idx="10">
                  <c:v>200.0</c:v>
                </c:pt>
                <c:pt idx="11">
                  <c:v>94.0</c:v>
                </c:pt>
                <c:pt idx="12">
                  <c:v>119.0</c:v>
                </c:pt>
                <c:pt idx="13">
                  <c:v>134.0</c:v>
                </c:pt>
                <c:pt idx="14">
                  <c:v>128.0</c:v>
                </c:pt>
                <c:pt idx="15">
                  <c:v>175.0</c:v>
                </c:pt>
                <c:pt idx="16">
                  <c:v>139.0</c:v>
                </c:pt>
                <c:pt idx="17">
                  <c:v>123.0</c:v>
                </c:pt>
                <c:pt idx="18">
                  <c:v>160.0</c:v>
                </c:pt>
                <c:pt idx="19">
                  <c:v>266.0</c:v>
                </c:pt>
                <c:pt idx="20">
                  <c:v>343.0</c:v>
                </c:pt>
                <c:pt idx="21">
                  <c:v>425.0</c:v>
                </c:pt>
                <c:pt idx="22">
                  <c:v>548.0</c:v>
                </c:pt>
                <c:pt idx="23">
                  <c:v>295.0</c:v>
                </c:pt>
                <c:pt idx="24">
                  <c:v>336.0</c:v>
                </c:pt>
                <c:pt idx="25">
                  <c:v>174.0</c:v>
                </c:pt>
                <c:pt idx="26">
                  <c:v>92.0</c:v>
                </c:pt>
                <c:pt idx="27">
                  <c:v>93.0</c:v>
                </c:pt>
                <c:pt idx="28">
                  <c:v>108.0</c:v>
                </c:pt>
                <c:pt idx="29">
                  <c:v>87.0</c:v>
                </c:pt>
                <c:pt idx="30">
                  <c:v>130.0</c:v>
                </c:pt>
                <c:pt idx="31">
                  <c:v>102.0</c:v>
                </c:pt>
                <c:pt idx="32">
                  <c:v>131.0</c:v>
                </c:pt>
                <c:pt idx="33">
                  <c:v>142.0</c:v>
                </c:pt>
                <c:pt idx="34">
                  <c:v>126.0</c:v>
                </c:pt>
                <c:pt idx="35">
                  <c:v>207.0</c:v>
                </c:pt>
                <c:pt idx="36">
                  <c:v>131.0</c:v>
                </c:pt>
                <c:pt idx="37">
                  <c:v>125.0</c:v>
                </c:pt>
                <c:pt idx="38">
                  <c:v>103.0</c:v>
                </c:pt>
                <c:pt idx="39">
                  <c:v>81.0</c:v>
                </c:pt>
                <c:pt idx="40">
                  <c:v>85.0</c:v>
                </c:pt>
                <c:pt idx="41">
                  <c:v>86.0</c:v>
                </c:pt>
                <c:pt idx="42">
                  <c:v>142.0</c:v>
                </c:pt>
                <c:pt idx="43">
                  <c:v>121.0</c:v>
                </c:pt>
                <c:pt idx="44">
                  <c:v>135.0</c:v>
                </c:pt>
                <c:pt idx="45">
                  <c:v>105.0</c:v>
                </c:pt>
                <c:pt idx="46">
                  <c:v>127.0</c:v>
                </c:pt>
                <c:pt idx="47">
                  <c:v>347.0</c:v>
                </c:pt>
                <c:pt idx="48">
                  <c:v>169.0</c:v>
                </c:pt>
                <c:pt idx="49">
                  <c:v>228.0</c:v>
                </c:pt>
                <c:pt idx="50">
                  <c:v>209.0</c:v>
                </c:pt>
                <c:pt idx="51">
                  <c:v>162.0</c:v>
                </c:pt>
                <c:pt idx="52">
                  <c:v>113.0</c:v>
                </c:pt>
                <c:pt idx="53">
                  <c:v>164.0</c:v>
                </c:pt>
                <c:pt idx="54">
                  <c:v>137.0</c:v>
                </c:pt>
                <c:pt idx="55">
                  <c:v>126.0</c:v>
                </c:pt>
                <c:pt idx="56">
                  <c:v>101.0</c:v>
                </c:pt>
                <c:pt idx="57">
                  <c:v>152.0</c:v>
                </c:pt>
                <c:pt idx="58">
                  <c:v>175.0</c:v>
                </c:pt>
                <c:pt idx="59">
                  <c:v>125.0</c:v>
                </c:pt>
                <c:pt idx="60">
                  <c:v>108.0</c:v>
                </c:pt>
                <c:pt idx="61">
                  <c:v>107.0</c:v>
                </c:pt>
                <c:pt idx="62">
                  <c:v>107.0</c:v>
                </c:pt>
                <c:pt idx="63">
                  <c:v>88.0</c:v>
                </c:pt>
                <c:pt idx="64">
                  <c:v>134.0</c:v>
                </c:pt>
                <c:pt idx="65">
                  <c:v>161.0</c:v>
                </c:pt>
                <c:pt idx="66">
                  <c:v>126.0</c:v>
                </c:pt>
                <c:pt idx="67">
                  <c:v>223.0</c:v>
                </c:pt>
                <c:pt idx="68">
                  <c:v>208.0</c:v>
                </c:pt>
                <c:pt idx="69">
                  <c:v>103.0</c:v>
                </c:pt>
                <c:pt idx="70">
                  <c:v>121.0</c:v>
                </c:pt>
                <c:pt idx="71">
                  <c:v>121.0</c:v>
                </c:pt>
                <c:pt idx="72">
                  <c:v>301.0</c:v>
                </c:pt>
                <c:pt idx="73">
                  <c:v>296.0</c:v>
                </c:pt>
                <c:pt idx="74">
                  <c:v>509.0</c:v>
                </c:pt>
                <c:pt idx="75">
                  <c:v>397.0</c:v>
                </c:pt>
                <c:pt idx="76">
                  <c:v>61.0</c:v>
                </c:pt>
                <c:pt idx="77">
                  <c:v>106.0</c:v>
                </c:pt>
                <c:pt idx="78">
                  <c:v>147.0</c:v>
                </c:pt>
                <c:pt idx="79">
                  <c:v>82.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5.0</c:v>
                </c:pt>
                <c:pt idx="40">
                  <c:v>79.0</c:v>
                </c:pt>
                <c:pt idx="41">
                  <c:v>64.0</c:v>
                </c:pt>
                <c:pt idx="42">
                  <c:v>74.0</c:v>
                </c:pt>
                <c:pt idx="43">
                  <c:v>1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28.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731.0</c:v>
                </c:pt>
                <c:pt idx="1">
                  <c:v>1624.0</c:v>
                </c:pt>
                <c:pt idx="2">
                  <c:v>1123.0</c:v>
                </c:pt>
                <c:pt idx="3">
                  <c:v>945.0</c:v>
                </c:pt>
                <c:pt idx="4">
                  <c:v>808.0</c:v>
                </c:pt>
                <c:pt idx="5">
                  <c:v>1117.0</c:v>
                </c:pt>
                <c:pt idx="6">
                  <c:v>1850.0</c:v>
                </c:pt>
                <c:pt idx="7">
                  <c:v>1995.0</c:v>
                </c:pt>
                <c:pt idx="8">
                  <c:v>1949.0</c:v>
                </c:pt>
                <c:pt idx="9">
                  <c:v>2232.0</c:v>
                </c:pt>
                <c:pt idx="10">
                  <c:v>2376.0</c:v>
                </c:pt>
                <c:pt idx="11">
                  <c:v>2184.0</c:v>
                </c:pt>
                <c:pt idx="12">
                  <c:v>2571.0</c:v>
                </c:pt>
                <c:pt idx="13">
                  <c:v>2305.0</c:v>
                </c:pt>
                <c:pt idx="14">
                  <c:v>2270.0</c:v>
                </c:pt>
                <c:pt idx="15">
                  <c:v>2365.0</c:v>
                </c:pt>
                <c:pt idx="16">
                  <c:v>2532.0</c:v>
                </c:pt>
                <c:pt idx="17">
                  <c:v>2723.0</c:v>
                </c:pt>
                <c:pt idx="18">
                  <c:v>2808.0</c:v>
                </c:pt>
                <c:pt idx="19">
                  <c:v>2859.0</c:v>
                </c:pt>
                <c:pt idx="20">
                  <c:v>3559.0</c:v>
                </c:pt>
                <c:pt idx="21">
                  <c:v>4086.0</c:v>
                </c:pt>
                <c:pt idx="22">
                  <c:v>6603.0</c:v>
                </c:pt>
                <c:pt idx="23">
                  <c:v>4643.0</c:v>
                </c:pt>
                <c:pt idx="24">
                  <c:v>4719.0</c:v>
                </c:pt>
                <c:pt idx="25">
                  <c:v>1863.0</c:v>
                </c:pt>
                <c:pt idx="26">
                  <c:v>1721.0</c:v>
                </c:pt>
                <c:pt idx="27">
                  <c:v>1968.0</c:v>
                </c:pt>
                <c:pt idx="28">
                  <c:v>1809.0</c:v>
                </c:pt>
                <c:pt idx="29">
                  <c:v>2084.0</c:v>
                </c:pt>
                <c:pt idx="30">
                  <c:v>2196.0</c:v>
                </c:pt>
                <c:pt idx="31">
                  <c:v>1748.0</c:v>
                </c:pt>
                <c:pt idx="32">
                  <c:v>2095.0</c:v>
                </c:pt>
                <c:pt idx="33">
                  <c:v>2083.0</c:v>
                </c:pt>
                <c:pt idx="34">
                  <c:v>2123.0</c:v>
                </c:pt>
                <c:pt idx="35">
                  <c:v>2050.0</c:v>
                </c:pt>
                <c:pt idx="36">
                  <c:v>2416.0</c:v>
                </c:pt>
                <c:pt idx="37">
                  <c:v>1962.0</c:v>
                </c:pt>
                <c:pt idx="38">
                  <c:v>1843.0</c:v>
                </c:pt>
                <c:pt idx="39">
                  <c:v>1654.0</c:v>
                </c:pt>
                <c:pt idx="40">
                  <c:v>1705.0</c:v>
                </c:pt>
                <c:pt idx="41">
                  <c:v>1673.0</c:v>
                </c:pt>
                <c:pt idx="42">
                  <c:v>1264.0</c:v>
                </c:pt>
                <c:pt idx="43">
                  <c:v>1829.0</c:v>
                </c:pt>
                <c:pt idx="44">
                  <c:v>2187.0</c:v>
                </c:pt>
                <c:pt idx="45">
                  <c:v>2095.0</c:v>
                </c:pt>
                <c:pt idx="46">
                  <c:v>2248.0</c:v>
                </c:pt>
                <c:pt idx="47">
                  <c:v>4392.0</c:v>
                </c:pt>
                <c:pt idx="48">
                  <c:v>3194.0</c:v>
                </c:pt>
                <c:pt idx="49">
                  <c:v>3402.0</c:v>
                </c:pt>
                <c:pt idx="50">
                  <c:v>2771.0</c:v>
                </c:pt>
                <c:pt idx="51">
                  <c:v>2091.0</c:v>
                </c:pt>
                <c:pt idx="52">
                  <c:v>1747.0</c:v>
                </c:pt>
                <c:pt idx="53">
                  <c:v>1721.0</c:v>
                </c:pt>
                <c:pt idx="54">
                  <c:v>1387.0</c:v>
                </c:pt>
                <c:pt idx="55">
                  <c:v>1039.0</c:v>
                </c:pt>
                <c:pt idx="56">
                  <c:v>797.0</c:v>
                </c:pt>
                <c:pt idx="57">
                  <c:v>1256.0</c:v>
                </c:pt>
                <c:pt idx="58">
                  <c:v>1881.0</c:v>
                </c:pt>
                <c:pt idx="59">
                  <c:v>2028.0</c:v>
                </c:pt>
                <c:pt idx="60">
                  <c:v>2059.0</c:v>
                </c:pt>
                <c:pt idx="61">
                  <c:v>2007.0</c:v>
                </c:pt>
                <c:pt idx="62">
                  <c:v>2080.0</c:v>
                </c:pt>
                <c:pt idx="63">
                  <c:v>2097.0</c:v>
                </c:pt>
                <c:pt idx="64">
                  <c:v>2408.0</c:v>
                </c:pt>
                <c:pt idx="65">
                  <c:v>2656.0</c:v>
                </c:pt>
                <c:pt idx="66">
                  <c:v>2716.0</c:v>
                </c:pt>
                <c:pt idx="67">
                  <c:v>2727.0</c:v>
                </c:pt>
                <c:pt idx="68">
                  <c:v>3042.0</c:v>
                </c:pt>
                <c:pt idx="69">
                  <c:v>2574.0</c:v>
                </c:pt>
                <c:pt idx="70">
                  <c:v>2497.0</c:v>
                </c:pt>
                <c:pt idx="71">
                  <c:v>2568.0</c:v>
                </c:pt>
                <c:pt idx="72">
                  <c:v>2932.0</c:v>
                </c:pt>
                <c:pt idx="73">
                  <c:v>3309.0</c:v>
                </c:pt>
                <c:pt idx="74">
                  <c:v>5150.0</c:v>
                </c:pt>
                <c:pt idx="75">
                  <c:v>4043.0</c:v>
                </c:pt>
                <c:pt idx="76">
                  <c:v>1166.0</c:v>
                </c:pt>
                <c:pt idx="77">
                  <c:v>2332.0</c:v>
                </c:pt>
                <c:pt idx="78">
                  <c:v>2291.0</c:v>
                </c:pt>
                <c:pt idx="79">
                  <c:v>2288.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934.0</c:v>
                </c:pt>
                <c:pt idx="40">
                  <c:v>1250.0</c:v>
                </c:pt>
                <c:pt idx="41">
                  <c:v>1301.0</c:v>
                </c:pt>
                <c:pt idx="42">
                  <c:v>891.0</c:v>
                </c:pt>
                <c:pt idx="43">
                  <c:v>20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446.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326.0</c:v>
                </c:pt>
                <c:pt idx="1">
                  <c:v>437.0</c:v>
                </c:pt>
                <c:pt idx="2">
                  <c:v>389.0</c:v>
                </c:pt>
                <c:pt idx="3">
                  <c:v>444.0</c:v>
                </c:pt>
                <c:pt idx="4">
                  <c:v>415.0</c:v>
                </c:pt>
                <c:pt idx="5">
                  <c:v>413.0</c:v>
                </c:pt>
                <c:pt idx="6">
                  <c:v>497.0</c:v>
                </c:pt>
                <c:pt idx="7">
                  <c:v>388.0</c:v>
                </c:pt>
                <c:pt idx="8">
                  <c:v>362.0</c:v>
                </c:pt>
                <c:pt idx="9">
                  <c:v>362.0</c:v>
                </c:pt>
                <c:pt idx="10">
                  <c:v>420.0</c:v>
                </c:pt>
                <c:pt idx="11">
                  <c:v>338.0</c:v>
                </c:pt>
                <c:pt idx="12">
                  <c:v>423.0</c:v>
                </c:pt>
                <c:pt idx="13">
                  <c:v>319.0</c:v>
                </c:pt>
                <c:pt idx="14">
                  <c:v>432.0</c:v>
                </c:pt>
                <c:pt idx="15">
                  <c:v>353.0</c:v>
                </c:pt>
                <c:pt idx="16">
                  <c:v>298.0</c:v>
                </c:pt>
                <c:pt idx="17">
                  <c:v>377.0</c:v>
                </c:pt>
                <c:pt idx="18">
                  <c:v>427.0</c:v>
                </c:pt>
                <c:pt idx="19">
                  <c:v>476.0</c:v>
                </c:pt>
                <c:pt idx="20">
                  <c:v>523.0</c:v>
                </c:pt>
                <c:pt idx="21">
                  <c:v>812.0</c:v>
                </c:pt>
                <c:pt idx="22">
                  <c:v>1300.0</c:v>
                </c:pt>
                <c:pt idx="23">
                  <c:v>913.0</c:v>
                </c:pt>
                <c:pt idx="24">
                  <c:v>778.0</c:v>
                </c:pt>
                <c:pt idx="25">
                  <c:v>321.0</c:v>
                </c:pt>
                <c:pt idx="26">
                  <c:v>264.0</c:v>
                </c:pt>
                <c:pt idx="27">
                  <c:v>245.0</c:v>
                </c:pt>
                <c:pt idx="28">
                  <c:v>249.0</c:v>
                </c:pt>
                <c:pt idx="29">
                  <c:v>255.0</c:v>
                </c:pt>
                <c:pt idx="30">
                  <c:v>428.0</c:v>
                </c:pt>
                <c:pt idx="31">
                  <c:v>273.0</c:v>
                </c:pt>
                <c:pt idx="32">
                  <c:v>234.0</c:v>
                </c:pt>
                <c:pt idx="33">
                  <c:v>219.0</c:v>
                </c:pt>
                <c:pt idx="34">
                  <c:v>225.0</c:v>
                </c:pt>
                <c:pt idx="35">
                  <c:v>243.0</c:v>
                </c:pt>
                <c:pt idx="36">
                  <c:v>370.0</c:v>
                </c:pt>
                <c:pt idx="37">
                  <c:v>301.0</c:v>
                </c:pt>
                <c:pt idx="38">
                  <c:v>312.0</c:v>
                </c:pt>
                <c:pt idx="39">
                  <c:v>261.0</c:v>
                </c:pt>
                <c:pt idx="40">
                  <c:v>262.0</c:v>
                </c:pt>
                <c:pt idx="41">
                  <c:v>291.0</c:v>
                </c:pt>
                <c:pt idx="42">
                  <c:v>292.0</c:v>
                </c:pt>
                <c:pt idx="43">
                  <c:v>401.0</c:v>
                </c:pt>
                <c:pt idx="44">
                  <c:v>426.0</c:v>
                </c:pt>
                <c:pt idx="45">
                  <c:v>321.0</c:v>
                </c:pt>
                <c:pt idx="46">
                  <c:v>353.0</c:v>
                </c:pt>
                <c:pt idx="47">
                  <c:v>720.0</c:v>
                </c:pt>
                <c:pt idx="48">
                  <c:v>393.0</c:v>
                </c:pt>
                <c:pt idx="49">
                  <c:v>560.0</c:v>
                </c:pt>
                <c:pt idx="50">
                  <c:v>445.0</c:v>
                </c:pt>
                <c:pt idx="51">
                  <c:v>495.0</c:v>
                </c:pt>
                <c:pt idx="52">
                  <c:v>473.0</c:v>
                </c:pt>
                <c:pt idx="53">
                  <c:v>453.0</c:v>
                </c:pt>
                <c:pt idx="54">
                  <c:v>351.0</c:v>
                </c:pt>
                <c:pt idx="55">
                  <c:v>463.0</c:v>
                </c:pt>
                <c:pt idx="56">
                  <c:v>488.0</c:v>
                </c:pt>
                <c:pt idx="57">
                  <c:v>547.0</c:v>
                </c:pt>
                <c:pt idx="58">
                  <c:v>557.0</c:v>
                </c:pt>
                <c:pt idx="59">
                  <c:v>358.0</c:v>
                </c:pt>
                <c:pt idx="60">
                  <c:v>360.0</c:v>
                </c:pt>
                <c:pt idx="61">
                  <c:v>338.0</c:v>
                </c:pt>
                <c:pt idx="62">
                  <c:v>303.0</c:v>
                </c:pt>
                <c:pt idx="63">
                  <c:v>290.0</c:v>
                </c:pt>
                <c:pt idx="64">
                  <c:v>330.0</c:v>
                </c:pt>
                <c:pt idx="65">
                  <c:v>397.0</c:v>
                </c:pt>
                <c:pt idx="66">
                  <c:v>423.0</c:v>
                </c:pt>
                <c:pt idx="67">
                  <c:v>428.0</c:v>
                </c:pt>
                <c:pt idx="68">
                  <c:v>431.0</c:v>
                </c:pt>
                <c:pt idx="69">
                  <c:v>323.0</c:v>
                </c:pt>
                <c:pt idx="70">
                  <c:v>351.0</c:v>
                </c:pt>
                <c:pt idx="71">
                  <c:v>390.0</c:v>
                </c:pt>
                <c:pt idx="72">
                  <c:v>561.0</c:v>
                </c:pt>
                <c:pt idx="73">
                  <c:v>574.0</c:v>
                </c:pt>
                <c:pt idx="74">
                  <c:v>1105.0</c:v>
                </c:pt>
                <c:pt idx="75">
                  <c:v>811.0</c:v>
                </c:pt>
                <c:pt idx="76">
                  <c:v>160.0</c:v>
                </c:pt>
                <c:pt idx="77">
                  <c:v>283.0</c:v>
                </c:pt>
                <c:pt idx="78">
                  <c:v>291.0</c:v>
                </c:pt>
                <c:pt idx="79">
                  <c:v>297.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13.0</c:v>
                </c:pt>
                <c:pt idx="40">
                  <c:v>149.0</c:v>
                </c:pt>
                <c:pt idx="41">
                  <c:v>168.0</c:v>
                </c:pt>
                <c:pt idx="42">
                  <c:v>207.0</c:v>
                </c:pt>
                <c:pt idx="43">
                  <c:v>113.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33.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0</c:v>
                </c:pt>
                <c:pt idx="1">
                  <c:v>0.52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17914388609090537</c:v>
                </c:pt>
                <c:pt idx="1">
                  <c:v>0.656958822613976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671.0</c:v>
                </c:pt>
                <c:pt idx="1">
                  <c:v>2662.0</c:v>
                </c:pt>
                <c:pt idx="2">
                  <c:v>2176.0</c:v>
                </c:pt>
                <c:pt idx="3">
                  <c:v>2046.0</c:v>
                </c:pt>
                <c:pt idx="4">
                  <c:v>1800.0</c:v>
                </c:pt>
                <c:pt idx="5">
                  <c:v>2142.0</c:v>
                </c:pt>
                <c:pt idx="6">
                  <c:v>2973.0</c:v>
                </c:pt>
                <c:pt idx="7">
                  <c:v>3073.0</c:v>
                </c:pt>
                <c:pt idx="8">
                  <c:v>2978.0</c:v>
                </c:pt>
                <c:pt idx="9">
                  <c:v>3260.0</c:v>
                </c:pt>
                <c:pt idx="10">
                  <c:v>3534.0</c:v>
                </c:pt>
                <c:pt idx="11">
                  <c:v>3043.0</c:v>
                </c:pt>
                <c:pt idx="12">
                  <c:v>3736.0</c:v>
                </c:pt>
                <c:pt idx="13">
                  <c:v>3338.0</c:v>
                </c:pt>
                <c:pt idx="14">
                  <c:v>3609.0</c:v>
                </c:pt>
                <c:pt idx="15">
                  <c:v>3524.0</c:v>
                </c:pt>
                <c:pt idx="16">
                  <c:v>3460.0</c:v>
                </c:pt>
                <c:pt idx="17">
                  <c:v>3876.0</c:v>
                </c:pt>
                <c:pt idx="18">
                  <c:v>3938.0</c:v>
                </c:pt>
                <c:pt idx="19">
                  <c:v>4820.0</c:v>
                </c:pt>
                <c:pt idx="20">
                  <c:v>5307.0</c:v>
                </c:pt>
                <c:pt idx="21">
                  <c:v>6487.0</c:v>
                </c:pt>
                <c:pt idx="22">
                  <c:v>10878.0</c:v>
                </c:pt>
                <c:pt idx="23">
                  <c:v>7456.0</c:v>
                </c:pt>
                <c:pt idx="24">
                  <c:v>7277.0</c:v>
                </c:pt>
                <c:pt idx="25">
                  <c:v>2701.0</c:v>
                </c:pt>
                <c:pt idx="26">
                  <c:v>2395.0</c:v>
                </c:pt>
                <c:pt idx="27">
                  <c:v>2673.0</c:v>
                </c:pt>
                <c:pt idx="28">
                  <c:v>2525.0</c:v>
                </c:pt>
                <c:pt idx="29">
                  <c:v>2948.0</c:v>
                </c:pt>
                <c:pt idx="30">
                  <c:v>3377.0</c:v>
                </c:pt>
                <c:pt idx="31">
                  <c:v>2552.0</c:v>
                </c:pt>
                <c:pt idx="32">
                  <c:v>2837.0</c:v>
                </c:pt>
                <c:pt idx="33">
                  <c:v>2903.0</c:v>
                </c:pt>
                <c:pt idx="34">
                  <c:v>2892.0</c:v>
                </c:pt>
                <c:pt idx="35">
                  <c:v>2925.0</c:v>
                </c:pt>
                <c:pt idx="36">
                  <c:v>3515.0</c:v>
                </c:pt>
                <c:pt idx="37">
                  <c:v>2817.0</c:v>
                </c:pt>
                <c:pt idx="38">
                  <c:v>2777.0</c:v>
                </c:pt>
                <c:pt idx="39">
                  <c:v>2434.0</c:v>
                </c:pt>
                <c:pt idx="40">
                  <c:v>2360.0</c:v>
                </c:pt>
                <c:pt idx="41">
                  <c:v>2518.0</c:v>
                </c:pt>
                <c:pt idx="42">
                  <c:v>2042.0</c:v>
                </c:pt>
                <c:pt idx="43">
                  <c:v>2817.0</c:v>
                </c:pt>
                <c:pt idx="44">
                  <c:v>3173.0</c:v>
                </c:pt>
                <c:pt idx="45">
                  <c:v>3046.0</c:v>
                </c:pt>
                <c:pt idx="46">
                  <c:v>3232.0</c:v>
                </c:pt>
                <c:pt idx="47">
                  <c:v>6338.0</c:v>
                </c:pt>
                <c:pt idx="48">
                  <c:v>4474.0</c:v>
                </c:pt>
                <c:pt idx="49">
                  <c:v>4967.0</c:v>
                </c:pt>
                <c:pt idx="50">
                  <c:v>4200.0</c:v>
                </c:pt>
                <c:pt idx="51">
                  <c:v>3408.0</c:v>
                </c:pt>
                <c:pt idx="52">
                  <c:v>3002.0</c:v>
                </c:pt>
                <c:pt idx="53">
                  <c:v>2998.0</c:v>
                </c:pt>
                <c:pt idx="54">
                  <c:v>2399.0</c:v>
                </c:pt>
                <c:pt idx="55">
                  <c:v>2115.0</c:v>
                </c:pt>
                <c:pt idx="56">
                  <c:v>1982.0</c:v>
                </c:pt>
                <c:pt idx="57">
                  <c:v>2525.0</c:v>
                </c:pt>
                <c:pt idx="58">
                  <c:v>3246.0</c:v>
                </c:pt>
                <c:pt idx="59">
                  <c:v>2960.0</c:v>
                </c:pt>
                <c:pt idx="60">
                  <c:v>3032.0</c:v>
                </c:pt>
                <c:pt idx="61">
                  <c:v>2981.0</c:v>
                </c:pt>
                <c:pt idx="62">
                  <c:v>3009.0</c:v>
                </c:pt>
                <c:pt idx="63">
                  <c:v>2897.0</c:v>
                </c:pt>
                <c:pt idx="64">
                  <c:v>3577.0</c:v>
                </c:pt>
                <c:pt idx="65">
                  <c:v>4047.0</c:v>
                </c:pt>
                <c:pt idx="66">
                  <c:v>4033.0</c:v>
                </c:pt>
                <c:pt idx="67">
                  <c:v>4211.0</c:v>
                </c:pt>
                <c:pt idx="68">
                  <c:v>4443.0</c:v>
                </c:pt>
                <c:pt idx="69">
                  <c:v>3634.0</c:v>
                </c:pt>
                <c:pt idx="70">
                  <c:v>3533.0</c:v>
                </c:pt>
                <c:pt idx="71">
                  <c:v>3653.0</c:v>
                </c:pt>
                <c:pt idx="72">
                  <c:v>4683.0</c:v>
                </c:pt>
                <c:pt idx="73">
                  <c:v>5339.0</c:v>
                </c:pt>
                <c:pt idx="74">
                  <c:v>8633.0</c:v>
                </c:pt>
                <c:pt idx="75">
                  <c:v>6827.0</c:v>
                </c:pt>
                <c:pt idx="76">
                  <c:v>1699.0</c:v>
                </c:pt>
                <c:pt idx="77">
                  <c:v>3222.0</c:v>
                </c:pt>
                <c:pt idx="78">
                  <c:v>3234.0</c:v>
                </c:pt>
                <c:pt idx="79">
                  <c:v>3183.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340.0</c:v>
                </c:pt>
                <c:pt idx="40">
                  <c:v>1733.0</c:v>
                </c:pt>
                <c:pt idx="41">
                  <c:v>1781.0</c:v>
                </c:pt>
                <c:pt idx="42">
                  <c:v>1438.0</c:v>
                </c:pt>
                <c:pt idx="43">
                  <c:v>37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54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084.0</c:v>
                </c:pt>
                <c:pt idx="1">
                  <c:v>964.0</c:v>
                </c:pt>
                <c:pt idx="2">
                  <c:v>753.0</c:v>
                </c:pt>
                <c:pt idx="3">
                  <c:v>665.0</c:v>
                </c:pt>
                <c:pt idx="4">
                  <c:v>562.0</c:v>
                </c:pt>
                <c:pt idx="5">
                  <c:v>792.0</c:v>
                </c:pt>
                <c:pt idx="6">
                  <c:v>1196.0</c:v>
                </c:pt>
                <c:pt idx="7">
                  <c:v>1265.0</c:v>
                </c:pt>
                <c:pt idx="8">
                  <c:v>1155.0</c:v>
                </c:pt>
                <c:pt idx="9">
                  <c:v>1346.0</c:v>
                </c:pt>
                <c:pt idx="10">
                  <c:v>1506.0</c:v>
                </c:pt>
                <c:pt idx="11">
                  <c:v>1435.0</c:v>
                </c:pt>
                <c:pt idx="12">
                  <c:v>1738.0</c:v>
                </c:pt>
                <c:pt idx="13">
                  <c:v>1503.0</c:v>
                </c:pt>
                <c:pt idx="14">
                  <c:v>1499.0</c:v>
                </c:pt>
                <c:pt idx="15">
                  <c:v>1462.0</c:v>
                </c:pt>
                <c:pt idx="16">
                  <c:v>1732.0</c:v>
                </c:pt>
                <c:pt idx="17">
                  <c:v>1799.0</c:v>
                </c:pt>
                <c:pt idx="18">
                  <c:v>1826.0</c:v>
                </c:pt>
                <c:pt idx="19">
                  <c:v>2045.0</c:v>
                </c:pt>
                <c:pt idx="20">
                  <c:v>2372.0</c:v>
                </c:pt>
                <c:pt idx="21">
                  <c:v>2886.0</c:v>
                </c:pt>
                <c:pt idx="22">
                  <c:v>4509.0</c:v>
                </c:pt>
                <c:pt idx="23">
                  <c:v>3259.0</c:v>
                </c:pt>
                <c:pt idx="24">
                  <c:v>3282.0</c:v>
                </c:pt>
                <c:pt idx="25">
                  <c:v>1247.0</c:v>
                </c:pt>
                <c:pt idx="26">
                  <c:v>1147.0</c:v>
                </c:pt>
                <c:pt idx="27">
                  <c:v>1231.0</c:v>
                </c:pt>
                <c:pt idx="28">
                  <c:v>1224.0</c:v>
                </c:pt>
                <c:pt idx="29">
                  <c:v>1439.0</c:v>
                </c:pt>
                <c:pt idx="30">
                  <c:v>1553.0</c:v>
                </c:pt>
                <c:pt idx="31">
                  <c:v>1195.0</c:v>
                </c:pt>
                <c:pt idx="32">
                  <c:v>1348.0</c:v>
                </c:pt>
                <c:pt idx="33">
                  <c:v>1325.0</c:v>
                </c:pt>
                <c:pt idx="34">
                  <c:v>1376.0</c:v>
                </c:pt>
                <c:pt idx="35">
                  <c:v>1427.0</c:v>
                </c:pt>
                <c:pt idx="36">
                  <c:v>1507.0</c:v>
                </c:pt>
                <c:pt idx="37">
                  <c:v>1312.0</c:v>
                </c:pt>
                <c:pt idx="38">
                  <c:v>1209.0</c:v>
                </c:pt>
                <c:pt idx="39">
                  <c:v>1116.0</c:v>
                </c:pt>
                <c:pt idx="40">
                  <c:v>1100.0</c:v>
                </c:pt>
                <c:pt idx="41">
                  <c:v>1123.0</c:v>
                </c:pt>
                <c:pt idx="42">
                  <c:v>821.0</c:v>
                </c:pt>
                <c:pt idx="43">
                  <c:v>1227.0</c:v>
                </c:pt>
                <c:pt idx="44">
                  <c:v>1431.0</c:v>
                </c:pt>
                <c:pt idx="45">
                  <c:v>1439.0</c:v>
                </c:pt>
                <c:pt idx="46">
                  <c:v>1477.0</c:v>
                </c:pt>
                <c:pt idx="47">
                  <c:v>2765.0</c:v>
                </c:pt>
                <c:pt idx="48">
                  <c:v>2091.0</c:v>
                </c:pt>
                <c:pt idx="49">
                  <c:v>2195.0</c:v>
                </c:pt>
                <c:pt idx="50">
                  <c:v>1757.0</c:v>
                </c:pt>
                <c:pt idx="51">
                  <c:v>1469.0</c:v>
                </c:pt>
                <c:pt idx="52">
                  <c:v>1206.0</c:v>
                </c:pt>
                <c:pt idx="53">
                  <c:v>1171.0</c:v>
                </c:pt>
                <c:pt idx="54">
                  <c:v>898.0</c:v>
                </c:pt>
                <c:pt idx="55">
                  <c:v>697.0</c:v>
                </c:pt>
                <c:pt idx="56">
                  <c:v>617.0</c:v>
                </c:pt>
                <c:pt idx="57">
                  <c:v>844.0</c:v>
                </c:pt>
                <c:pt idx="58">
                  <c:v>1218.0</c:v>
                </c:pt>
                <c:pt idx="59">
                  <c:v>1288.0</c:v>
                </c:pt>
                <c:pt idx="60">
                  <c:v>1324.0</c:v>
                </c:pt>
                <c:pt idx="61">
                  <c:v>1309.0</c:v>
                </c:pt>
                <c:pt idx="62">
                  <c:v>1338.0</c:v>
                </c:pt>
                <c:pt idx="63">
                  <c:v>1406.0</c:v>
                </c:pt>
                <c:pt idx="64">
                  <c:v>1628.0</c:v>
                </c:pt>
                <c:pt idx="65">
                  <c:v>1848.0</c:v>
                </c:pt>
                <c:pt idx="66">
                  <c:v>1884.0</c:v>
                </c:pt>
                <c:pt idx="67">
                  <c:v>1817.0</c:v>
                </c:pt>
                <c:pt idx="68">
                  <c:v>1909.0</c:v>
                </c:pt>
                <c:pt idx="69">
                  <c:v>1684.0</c:v>
                </c:pt>
                <c:pt idx="70">
                  <c:v>1651.0</c:v>
                </c:pt>
                <c:pt idx="71">
                  <c:v>1517.0</c:v>
                </c:pt>
                <c:pt idx="72">
                  <c:v>2093.0</c:v>
                </c:pt>
                <c:pt idx="73">
                  <c:v>2335.0</c:v>
                </c:pt>
                <c:pt idx="74">
                  <c:v>3659.0</c:v>
                </c:pt>
                <c:pt idx="75">
                  <c:v>2961.0</c:v>
                </c:pt>
                <c:pt idx="76">
                  <c:v>763.0</c:v>
                </c:pt>
                <c:pt idx="77">
                  <c:v>1661.0</c:v>
                </c:pt>
                <c:pt idx="78">
                  <c:v>1417.0</c:v>
                </c:pt>
                <c:pt idx="79">
                  <c:v>1496.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31.0</c:v>
                </c:pt>
                <c:pt idx="40">
                  <c:v>814.0</c:v>
                </c:pt>
                <c:pt idx="41">
                  <c:v>873.0</c:v>
                </c:pt>
                <c:pt idx="42">
                  <c:v>584.0</c:v>
                </c:pt>
                <c:pt idx="43">
                  <c:v>14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62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668.0</c:v>
                </c:pt>
                <c:pt idx="1">
                  <c:v>635.0</c:v>
                </c:pt>
                <c:pt idx="2">
                  <c:v>477.0</c:v>
                </c:pt>
                <c:pt idx="3">
                  <c:v>387.0</c:v>
                </c:pt>
                <c:pt idx="4">
                  <c:v>373.0</c:v>
                </c:pt>
                <c:pt idx="5">
                  <c:v>457.0</c:v>
                </c:pt>
                <c:pt idx="6">
                  <c:v>620.0</c:v>
                </c:pt>
                <c:pt idx="7">
                  <c:v>706.0</c:v>
                </c:pt>
                <c:pt idx="8">
                  <c:v>616.0</c:v>
                </c:pt>
                <c:pt idx="9">
                  <c:v>667.0</c:v>
                </c:pt>
                <c:pt idx="10">
                  <c:v>803.0</c:v>
                </c:pt>
                <c:pt idx="11">
                  <c:v>576.0</c:v>
                </c:pt>
                <c:pt idx="12">
                  <c:v>759.0</c:v>
                </c:pt>
                <c:pt idx="13">
                  <c:v>705.0</c:v>
                </c:pt>
                <c:pt idx="14">
                  <c:v>962.0</c:v>
                </c:pt>
                <c:pt idx="15">
                  <c:v>810.0</c:v>
                </c:pt>
                <c:pt idx="16">
                  <c:v>753.0</c:v>
                </c:pt>
                <c:pt idx="17">
                  <c:v>826.0</c:v>
                </c:pt>
                <c:pt idx="18">
                  <c:v>779.0</c:v>
                </c:pt>
                <c:pt idx="19">
                  <c:v>1081.0</c:v>
                </c:pt>
                <c:pt idx="20">
                  <c:v>1097.0</c:v>
                </c:pt>
                <c:pt idx="21">
                  <c:v>1445.0</c:v>
                </c:pt>
                <c:pt idx="22">
                  <c:v>2702.0</c:v>
                </c:pt>
                <c:pt idx="23">
                  <c:v>1783.0</c:v>
                </c:pt>
                <c:pt idx="24">
                  <c:v>1638.0</c:v>
                </c:pt>
                <c:pt idx="25">
                  <c:v>495.0</c:v>
                </c:pt>
                <c:pt idx="26">
                  <c:v>442.0</c:v>
                </c:pt>
                <c:pt idx="27">
                  <c:v>566.0</c:v>
                </c:pt>
                <c:pt idx="28">
                  <c:v>447.0</c:v>
                </c:pt>
                <c:pt idx="29">
                  <c:v>554.0</c:v>
                </c:pt>
                <c:pt idx="30">
                  <c:v>644.0</c:v>
                </c:pt>
                <c:pt idx="31">
                  <c:v>517.0</c:v>
                </c:pt>
                <c:pt idx="32">
                  <c:v>555.0</c:v>
                </c:pt>
                <c:pt idx="33">
                  <c:v>581.0</c:v>
                </c:pt>
                <c:pt idx="34">
                  <c:v>555.0</c:v>
                </c:pt>
                <c:pt idx="35">
                  <c:v>541.0</c:v>
                </c:pt>
                <c:pt idx="36">
                  <c:v>723.0</c:v>
                </c:pt>
                <c:pt idx="37">
                  <c:v>572.0</c:v>
                </c:pt>
                <c:pt idx="38">
                  <c:v>623.0</c:v>
                </c:pt>
                <c:pt idx="39">
                  <c:v>507.0</c:v>
                </c:pt>
                <c:pt idx="40">
                  <c:v>518.0</c:v>
                </c:pt>
                <c:pt idx="41">
                  <c:v>567.0</c:v>
                </c:pt>
                <c:pt idx="42">
                  <c:v>432.0</c:v>
                </c:pt>
                <c:pt idx="43">
                  <c:v>575.0</c:v>
                </c:pt>
                <c:pt idx="44">
                  <c:v>745.0</c:v>
                </c:pt>
                <c:pt idx="45">
                  <c:v>622.0</c:v>
                </c:pt>
                <c:pt idx="46">
                  <c:v>669.0</c:v>
                </c:pt>
                <c:pt idx="47">
                  <c:v>1424.0</c:v>
                </c:pt>
                <c:pt idx="48">
                  <c:v>1000.0</c:v>
                </c:pt>
                <c:pt idx="49">
                  <c:v>1059.0</c:v>
                </c:pt>
                <c:pt idx="50">
                  <c:v>913.0</c:v>
                </c:pt>
                <c:pt idx="51">
                  <c:v>699.0</c:v>
                </c:pt>
                <c:pt idx="52">
                  <c:v>689.0</c:v>
                </c:pt>
                <c:pt idx="53">
                  <c:v>619.0</c:v>
                </c:pt>
                <c:pt idx="54">
                  <c:v>618.0</c:v>
                </c:pt>
                <c:pt idx="55">
                  <c:v>459.0</c:v>
                </c:pt>
                <c:pt idx="56">
                  <c:v>449.0</c:v>
                </c:pt>
                <c:pt idx="57">
                  <c:v>473.0</c:v>
                </c:pt>
                <c:pt idx="58">
                  <c:v>697.0</c:v>
                </c:pt>
                <c:pt idx="59">
                  <c:v>558.0</c:v>
                </c:pt>
                <c:pt idx="60">
                  <c:v>636.0</c:v>
                </c:pt>
                <c:pt idx="61">
                  <c:v>664.0</c:v>
                </c:pt>
                <c:pt idx="62">
                  <c:v>681.0</c:v>
                </c:pt>
                <c:pt idx="63">
                  <c:v>564.0</c:v>
                </c:pt>
                <c:pt idx="64">
                  <c:v>745.0</c:v>
                </c:pt>
                <c:pt idx="65">
                  <c:v>831.0</c:v>
                </c:pt>
                <c:pt idx="66">
                  <c:v>918.0</c:v>
                </c:pt>
                <c:pt idx="67">
                  <c:v>989.0</c:v>
                </c:pt>
                <c:pt idx="68">
                  <c:v>994.0</c:v>
                </c:pt>
                <c:pt idx="69">
                  <c:v>788.0</c:v>
                </c:pt>
                <c:pt idx="70">
                  <c:v>764.0</c:v>
                </c:pt>
                <c:pt idx="71">
                  <c:v>796.0</c:v>
                </c:pt>
                <c:pt idx="72">
                  <c:v>947.0</c:v>
                </c:pt>
                <c:pt idx="73">
                  <c:v>1112.0</c:v>
                </c:pt>
                <c:pt idx="74">
                  <c:v>2056.0</c:v>
                </c:pt>
                <c:pt idx="75">
                  <c:v>1638.0</c:v>
                </c:pt>
                <c:pt idx="76">
                  <c:v>417.0</c:v>
                </c:pt>
                <c:pt idx="77">
                  <c:v>661.0</c:v>
                </c:pt>
                <c:pt idx="78">
                  <c:v>657.0</c:v>
                </c:pt>
                <c:pt idx="79">
                  <c:v>699.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21.0</c:v>
                </c:pt>
                <c:pt idx="40">
                  <c:v>383.0</c:v>
                </c:pt>
                <c:pt idx="41">
                  <c:v>357.0</c:v>
                </c:pt>
                <c:pt idx="42">
                  <c:v>341.0</c:v>
                </c:pt>
                <c:pt idx="43">
                  <c:v>6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992.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63.0</c:v>
                </c:pt>
                <c:pt idx="1">
                  <c:v>371.0</c:v>
                </c:pt>
                <c:pt idx="2">
                  <c:v>263.0</c:v>
                </c:pt>
                <c:pt idx="3">
                  <c:v>277.0</c:v>
                </c:pt>
                <c:pt idx="4">
                  <c:v>242.0</c:v>
                </c:pt>
                <c:pt idx="5">
                  <c:v>280.0</c:v>
                </c:pt>
                <c:pt idx="6">
                  <c:v>372.0</c:v>
                </c:pt>
                <c:pt idx="7">
                  <c:v>420.0</c:v>
                </c:pt>
                <c:pt idx="8">
                  <c:v>396.0</c:v>
                </c:pt>
                <c:pt idx="9">
                  <c:v>459.0</c:v>
                </c:pt>
                <c:pt idx="10">
                  <c:v>425.0</c:v>
                </c:pt>
                <c:pt idx="11">
                  <c:v>403.0</c:v>
                </c:pt>
                <c:pt idx="12">
                  <c:v>494.0</c:v>
                </c:pt>
                <c:pt idx="13">
                  <c:v>388.0</c:v>
                </c:pt>
                <c:pt idx="14">
                  <c:v>389.0</c:v>
                </c:pt>
                <c:pt idx="15">
                  <c:v>432.0</c:v>
                </c:pt>
                <c:pt idx="16">
                  <c:v>293.0</c:v>
                </c:pt>
                <c:pt idx="17">
                  <c:v>465.0</c:v>
                </c:pt>
                <c:pt idx="18">
                  <c:v>495.0</c:v>
                </c:pt>
                <c:pt idx="19">
                  <c:v>490.0</c:v>
                </c:pt>
                <c:pt idx="20">
                  <c:v>461.0</c:v>
                </c:pt>
                <c:pt idx="21">
                  <c:v>619.0</c:v>
                </c:pt>
                <c:pt idx="22">
                  <c:v>961.0</c:v>
                </c:pt>
                <c:pt idx="23">
                  <c:v>697.0</c:v>
                </c:pt>
                <c:pt idx="24">
                  <c:v>792.0</c:v>
                </c:pt>
                <c:pt idx="25">
                  <c:v>285.0</c:v>
                </c:pt>
                <c:pt idx="26">
                  <c:v>305.0</c:v>
                </c:pt>
                <c:pt idx="27">
                  <c:v>330.0</c:v>
                </c:pt>
                <c:pt idx="28">
                  <c:v>286.0</c:v>
                </c:pt>
                <c:pt idx="29">
                  <c:v>334.0</c:v>
                </c:pt>
                <c:pt idx="30">
                  <c:v>455.0</c:v>
                </c:pt>
                <c:pt idx="31">
                  <c:v>274.0</c:v>
                </c:pt>
                <c:pt idx="32">
                  <c:v>298.0</c:v>
                </c:pt>
                <c:pt idx="33">
                  <c:v>276.0</c:v>
                </c:pt>
                <c:pt idx="34">
                  <c:v>275.0</c:v>
                </c:pt>
                <c:pt idx="35">
                  <c:v>282.0</c:v>
                </c:pt>
                <c:pt idx="36">
                  <c:v>351.0</c:v>
                </c:pt>
                <c:pt idx="37">
                  <c:v>319.0</c:v>
                </c:pt>
                <c:pt idx="38">
                  <c:v>307.0</c:v>
                </c:pt>
                <c:pt idx="39">
                  <c:v>278.0</c:v>
                </c:pt>
                <c:pt idx="40">
                  <c:v>271.0</c:v>
                </c:pt>
                <c:pt idx="41">
                  <c:v>286.0</c:v>
                </c:pt>
                <c:pt idx="42">
                  <c:v>231.0</c:v>
                </c:pt>
                <c:pt idx="43">
                  <c:v>387.0</c:v>
                </c:pt>
                <c:pt idx="44">
                  <c:v>307.0</c:v>
                </c:pt>
                <c:pt idx="45">
                  <c:v>325.0</c:v>
                </c:pt>
                <c:pt idx="46">
                  <c:v>336.0</c:v>
                </c:pt>
                <c:pt idx="47">
                  <c:v>645.0</c:v>
                </c:pt>
                <c:pt idx="48">
                  <c:v>425.0</c:v>
                </c:pt>
                <c:pt idx="49">
                  <c:v>609.0</c:v>
                </c:pt>
                <c:pt idx="50">
                  <c:v>462.0</c:v>
                </c:pt>
                <c:pt idx="51">
                  <c:v>361.0</c:v>
                </c:pt>
                <c:pt idx="52">
                  <c:v>329.0</c:v>
                </c:pt>
                <c:pt idx="53">
                  <c:v>317.0</c:v>
                </c:pt>
                <c:pt idx="54">
                  <c:v>224.0</c:v>
                </c:pt>
                <c:pt idx="55">
                  <c:v>248.0</c:v>
                </c:pt>
                <c:pt idx="56">
                  <c:v>210.0</c:v>
                </c:pt>
                <c:pt idx="57">
                  <c:v>431.0</c:v>
                </c:pt>
                <c:pt idx="58">
                  <c:v>307.0</c:v>
                </c:pt>
                <c:pt idx="59">
                  <c:v>389.0</c:v>
                </c:pt>
                <c:pt idx="60">
                  <c:v>381.0</c:v>
                </c:pt>
                <c:pt idx="61">
                  <c:v>315.0</c:v>
                </c:pt>
                <c:pt idx="62">
                  <c:v>333.0</c:v>
                </c:pt>
                <c:pt idx="63">
                  <c:v>373.0</c:v>
                </c:pt>
                <c:pt idx="64">
                  <c:v>417.0</c:v>
                </c:pt>
                <c:pt idx="65">
                  <c:v>454.0</c:v>
                </c:pt>
                <c:pt idx="66">
                  <c:v>426.0</c:v>
                </c:pt>
                <c:pt idx="67">
                  <c:v>392.0</c:v>
                </c:pt>
                <c:pt idx="68">
                  <c:v>528.0</c:v>
                </c:pt>
                <c:pt idx="69">
                  <c:v>441.0</c:v>
                </c:pt>
                <c:pt idx="70">
                  <c:v>357.0</c:v>
                </c:pt>
                <c:pt idx="71">
                  <c:v>408.0</c:v>
                </c:pt>
                <c:pt idx="72">
                  <c:v>477.0</c:v>
                </c:pt>
                <c:pt idx="73">
                  <c:v>571.0</c:v>
                </c:pt>
                <c:pt idx="74">
                  <c:v>690.0</c:v>
                </c:pt>
                <c:pt idx="75">
                  <c:v>631.0</c:v>
                </c:pt>
                <c:pt idx="76">
                  <c:v>142.0</c:v>
                </c:pt>
                <c:pt idx="77">
                  <c:v>327.0</c:v>
                </c:pt>
                <c:pt idx="78">
                  <c:v>380.0</c:v>
                </c:pt>
                <c:pt idx="79">
                  <c:v>348.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18.0</c:v>
                </c:pt>
                <c:pt idx="40">
                  <c:v>160.0</c:v>
                </c:pt>
                <c:pt idx="41">
                  <c:v>171.0</c:v>
                </c:pt>
                <c:pt idx="42">
                  <c:v>195.0</c:v>
                </c:pt>
                <c:pt idx="43">
                  <c:v>83.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2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19.0</c:v>
                </c:pt>
                <c:pt idx="1">
                  <c:v>126.0</c:v>
                </c:pt>
                <c:pt idx="2">
                  <c:v>110.0</c:v>
                </c:pt>
                <c:pt idx="3">
                  <c:v>107.0</c:v>
                </c:pt>
                <c:pt idx="4">
                  <c:v>93.0</c:v>
                </c:pt>
                <c:pt idx="5">
                  <c:v>99.0</c:v>
                </c:pt>
                <c:pt idx="6">
                  <c:v>137.0</c:v>
                </c:pt>
                <c:pt idx="7">
                  <c:v>140.0</c:v>
                </c:pt>
                <c:pt idx="8">
                  <c:v>106.0</c:v>
                </c:pt>
                <c:pt idx="9">
                  <c:v>109.0</c:v>
                </c:pt>
                <c:pt idx="10">
                  <c:v>114.0</c:v>
                </c:pt>
                <c:pt idx="11">
                  <c:v>123.0</c:v>
                </c:pt>
                <c:pt idx="12">
                  <c:v>196.0</c:v>
                </c:pt>
                <c:pt idx="13">
                  <c:v>204.0</c:v>
                </c:pt>
                <c:pt idx="14">
                  <c:v>199.0</c:v>
                </c:pt>
                <c:pt idx="15">
                  <c:v>193.0</c:v>
                </c:pt>
                <c:pt idx="16">
                  <c:v>165.0</c:v>
                </c:pt>
                <c:pt idx="17">
                  <c:v>238.0</c:v>
                </c:pt>
                <c:pt idx="18">
                  <c:v>212.0</c:v>
                </c:pt>
                <c:pt idx="19">
                  <c:v>256.0</c:v>
                </c:pt>
                <c:pt idx="20">
                  <c:v>280.0</c:v>
                </c:pt>
                <c:pt idx="21">
                  <c:v>485.0</c:v>
                </c:pt>
                <c:pt idx="22">
                  <c:v>850.0</c:v>
                </c:pt>
                <c:pt idx="23">
                  <c:v>544.0</c:v>
                </c:pt>
                <c:pt idx="24">
                  <c:v>576.0</c:v>
                </c:pt>
                <c:pt idx="25">
                  <c:v>185.0</c:v>
                </c:pt>
                <c:pt idx="26">
                  <c:v>144.0</c:v>
                </c:pt>
                <c:pt idx="27">
                  <c:v>146.0</c:v>
                </c:pt>
                <c:pt idx="28">
                  <c:v>145.0</c:v>
                </c:pt>
                <c:pt idx="29">
                  <c:v>154.0</c:v>
                </c:pt>
                <c:pt idx="30">
                  <c:v>206.0</c:v>
                </c:pt>
                <c:pt idx="31">
                  <c:v>125.0</c:v>
                </c:pt>
                <c:pt idx="32">
                  <c:v>164.0</c:v>
                </c:pt>
                <c:pt idx="33">
                  <c:v>164.0</c:v>
                </c:pt>
                <c:pt idx="34">
                  <c:v>166.0</c:v>
                </c:pt>
                <c:pt idx="35">
                  <c:v>141.0</c:v>
                </c:pt>
                <c:pt idx="36">
                  <c:v>200.0</c:v>
                </c:pt>
                <c:pt idx="37">
                  <c:v>141.0</c:v>
                </c:pt>
                <c:pt idx="38">
                  <c:v>136.0</c:v>
                </c:pt>
                <c:pt idx="39">
                  <c:v>23.0</c:v>
                </c:pt>
                <c:pt idx="40">
                  <c:v>4.0</c:v>
                </c:pt>
                <c:pt idx="41">
                  <c:v>3.0</c:v>
                </c:pt>
                <c:pt idx="42">
                  <c:v>1.0</c:v>
                </c:pt>
                <c:pt idx="43">
                  <c:v>184.0</c:v>
                </c:pt>
                <c:pt idx="44">
                  <c:v>186.0</c:v>
                </c:pt>
                <c:pt idx="45">
                  <c:v>170.0</c:v>
                </c:pt>
                <c:pt idx="46">
                  <c:v>258.0</c:v>
                </c:pt>
                <c:pt idx="47">
                  <c:v>237.0</c:v>
                </c:pt>
                <c:pt idx="48">
                  <c:v>245.0</c:v>
                </c:pt>
                <c:pt idx="49">
                  <c:v>193.0</c:v>
                </c:pt>
                <c:pt idx="50">
                  <c:v>183.0</c:v>
                </c:pt>
                <c:pt idx="51">
                  <c:v>146.0</c:v>
                </c:pt>
                <c:pt idx="52">
                  <c:v>158.0</c:v>
                </c:pt>
                <c:pt idx="53">
                  <c:v>144.0</c:v>
                </c:pt>
                <c:pt idx="54">
                  <c:v>132.0</c:v>
                </c:pt>
                <c:pt idx="55">
                  <c:v>141.0</c:v>
                </c:pt>
                <c:pt idx="56">
                  <c:v>111.0</c:v>
                </c:pt>
                <c:pt idx="57">
                  <c:v>133.0</c:v>
                </c:pt>
                <c:pt idx="58">
                  <c:v>150.0</c:v>
                </c:pt>
                <c:pt idx="59">
                  <c:v>175.0</c:v>
                </c:pt>
                <c:pt idx="60">
                  <c:v>212.0</c:v>
                </c:pt>
                <c:pt idx="61">
                  <c:v>155.0</c:v>
                </c:pt>
                <c:pt idx="62">
                  <c:v>164.0</c:v>
                </c:pt>
                <c:pt idx="63">
                  <c:v>210.0</c:v>
                </c:pt>
                <c:pt idx="64">
                  <c:v>199.0</c:v>
                </c:pt>
                <c:pt idx="65">
                  <c:v>192.0</c:v>
                </c:pt>
                <c:pt idx="66">
                  <c:v>168.0</c:v>
                </c:pt>
                <c:pt idx="67">
                  <c:v>155.0</c:v>
                </c:pt>
                <c:pt idx="68">
                  <c:v>187.0</c:v>
                </c:pt>
                <c:pt idx="69">
                  <c:v>224.0</c:v>
                </c:pt>
                <c:pt idx="70">
                  <c:v>178.0</c:v>
                </c:pt>
                <c:pt idx="71">
                  <c:v>256.0</c:v>
                </c:pt>
                <c:pt idx="72">
                  <c:v>231.0</c:v>
                </c:pt>
                <c:pt idx="73">
                  <c:v>272.0</c:v>
                </c:pt>
                <c:pt idx="74">
                  <c:v>629.0</c:v>
                </c:pt>
                <c:pt idx="75">
                  <c:v>517.0</c:v>
                </c:pt>
                <c:pt idx="76">
                  <c:v>90.0</c:v>
                </c:pt>
                <c:pt idx="77">
                  <c:v>196.0</c:v>
                </c:pt>
                <c:pt idx="78">
                  <c:v>148.0</c:v>
                </c:pt>
                <c:pt idx="79">
                  <c:v>146.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590.0</c:v>
                </c:pt>
                <c:pt idx="40">
                  <c:v>740.0</c:v>
                </c:pt>
                <c:pt idx="41">
                  <c:v>747.0</c:v>
                </c:pt>
                <c:pt idx="42">
                  <c:v>711.0</c:v>
                </c:pt>
                <c:pt idx="43">
                  <c:v>15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48.0</c:v>
                </c:pt>
                <c:pt idx="1">
                  <c:v>53.0</c:v>
                </c:pt>
                <c:pt idx="2">
                  <c:v>39.0</c:v>
                </c:pt>
                <c:pt idx="3">
                  <c:v>33.0</c:v>
                </c:pt>
                <c:pt idx="4">
                  <c:v>26.0</c:v>
                </c:pt>
                <c:pt idx="5">
                  <c:v>39.0</c:v>
                </c:pt>
                <c:pt idx="6">
                  <c:v>60.0</c:v>
                </c:pt>
                <c:pt idx="7">
                  <c:v>56.0</c:v>
                </c:pt>
                <c:pt idx="8">
                  <c:v>38.0</c:v>
                </c:pt>
                <c:pt idx="9">
                  <c:v>53.0</c:v>
                </c:pt>
                <c:pt idx="10">
                  <c:v>56.0</c:v>
                </c:pt>
                <c:pt idx="11">
                  <c:v>58.0</c:v>
                </c:pt>
                <c:pt idx="12">
                  <c:v>95.0</c:v>
                </c:pt>
                <c:pt idx="13">
                  <c:v>80.0</c:v>
                </c:pt>
                <c:pt idx="14">
                  <c:v>78.0</c:v>
                </c:pt>
                <c:pt idx="15">
                  <c:v>85.0</c:v>
                </c:pt>
                <c:pt idx="16">
                  <c:v>89.0</c:v>
                </c:pt>
                <c:pt idx="17">
                  <c:v>88.0</c:v>
                </c:pt>
                <c:pt idx="18">
                  <c:v>101.0</c:v>
                </c:pt>
                <c:pt idx="19">
                  <c:v>128.0</c:v>
                </c:pt>
                <c:pt idx="20">
                  <c:v>135.0</c:v>
                </c:pt>
                <c:pt idx="21">
                  <c:v>180.0</c:v>
                </c:pt>
                <c:pt idx="22">
                  <c:v>334.0</c:v>
                </c:pt>
                <c:pt idx="23">
                  <c:v>224.0</c:v>
                </c:pt>
                <c:pt idx="24">
                  <c:v>250.0</c:v>
                </c:pt>
                <c:pt idx="25">
                  <c:v>66.0</c:v>
                </c:pt>
                <c:pt idx="26">
                  <c:v>67.0</c:v>
                </c:pt>
                <c:pt idx="27">
                  <c:v>59.0</c:v>
                </c:pt>
                <c:pt idx="28">
                  <c:v>78.0</c:v>
                </c:pt>
                <c:pt idx="29">
                  <c:v>79.0</c:v>
                </c:pt>
                <c:pt idx="30">
                  <c:v>90.0</c:v>
                </c:pt>
                <c:pt idx="31">
                  <c:v>51.0</c:v>
                </c:pt>
                <c:pt idx="32">
                  <c:v>64.0</c:v>
                </c:pt>
                <c:pt idx="33">
                  <c:v>73.0</c:v>
                </c:pt>
                <c:pt idx="34">
                  <c:v>75.0</c:v>
                </c:pt>
                <c:pt idx="35">
                  <c:v>64.0</c:v>
                </c:pt>
                <c:pt idx="36">
                  <c:v>79.0</c:v>
                </c:pt>
                <c:pt idx="37">
                  <c:v>56.0</c:v>
                </c:pt>
                <c:pt idx="38">
                  <c:v>48.0</c:v>
                </c:pt>
                <c:pt idx="39">
                  <c:v>8.0</c:v>
                </c:pt>
                <c:pt idx="40">
                  <c:v>2.0</c:v>
                </c:pt>
                <c:pt idx="41">
                  <c:v>1.0</c:v>
                </c:pt>
                <c:pt idx="42">
                  <c:v>0.0</c:v>
                </c:pt>
                <c:pt idx="43">
                  <c:v>90.0</c:v>
                </c:pt>
                <c:pt idx="44">
                  <c:v>76.0</c:v>
                </c:pt>
                <c:pt idx="45">
                  <c:v>74.0</c:v>
                </c:pt>
                <c:pt idx="46">
                  <c:v>120.0</c:v>
                </c:pt>
                <c:pt idx="47">
                  <c:v>128.0</c:v>
                </c:pt>
                <c:pt idx="48">
                  <c:v>105.0</c:v>
                </c:pt>
                <c:pt idx="49">
                  <c:v>71.0</c:v>
                </c:pt>
                <c:pt idx="50">
                  <c:v>79.0</c:v>
                </c:pt>
                <c:pt idx="51">
                  <c:v>58.0</c:v>
                </c:pt>
                <c:pt idx="52">
                  <c:v>43.0</c:v>
                </c:pt>
                <c:pt idx="53">
                  <c:v>67.0</c:v>
                </c:pt>
                <c:pt idx="54">
                  <c:v>39.0</c:v>
                </c:pt>
                <c:pt idx="55">
                  <c:v>55.0</c:v>
                </c:pt>
                <c:pt idx="56">
                  <c:v>34.0</c:v>
                </c:pt>
                <c:pt idx="57">
                  <c:v>40.0</c:v>
                </c:pt>
                <c:pt idx="58">
                  <c:v>56.0</c:v>
                </c:pt>
                <c:pt idx="59">
                  <c:v>64.0</c:v>
                </c:pt>
                <c:pt idx="60">
                  <c:v>80.0</c:v>
                </c:pt>
                <c:pt idx="61">
                  <c:v>63.0</c:v>
                </c:pt>
                <c:pt idx="62">
                  <c:v>72.0</c:v>
                </c:pt>
                <c:pt idx="63">
                  <c:v>102.0</c:v>
                </c:pt>
                <c:pt idx="64">
                  <c:v>79.0</c:v>
                </c:pt>
                <c:pt idx="65">
                  <c:v>80.0</c:v>
                </c:pt>
                <c:pt idx="66">
                  <c:v>77.0</c:v>
                </c:pt>
                <c:pt idx="67">
                  <c:v>61.0</c:v>
                </c:pt>
                <c:pt idx="68">
                  <c:v>84.0</c:v>
                </c:pt>
                <c:pt idx="69">
                  <c:v>98.0</c:v>
                </c:pt>
                <c:pt idx="70">
                  <c:v>90.0</c:v>
                </c:pt>
                <c:pt idx="71">
                  <c:v>110.0</c:v>
                </c:pt>
                <c:pt idx="72">
                  <c:v>98.0</c:v>
                </c:pt>
                <c:pt idx="73">
                  <c:v>111.0</c:v>
                </c:pt>
                <c:pt idx="74">
                  <c:v>328.0</c:v>
                </c:pt>
                <c:pt idx="75">
                  <c:v>227.0</c:v>
                </c:pt>
                <c:pt idx="76">
                  <c:v>37.0</c:v>
                </c:pt>
                <c:pt idx="77">
                  <c:v>91.0</c:v>
                </c:pt>
                <c:pt idx="78">
                  <c:v>63.0</c:v>
                </c:pt>
                <c:pt idx="79">
                  <c:v>63.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83.0</c:v>
                </c:pt>
                <c:pt idx="40">
                  <c:v>340.0</c:v>
                </c:pt>
                <c:pt idx="41">
                  <c:v>392.0</c:v>
                </c:pt>
                <c:pt idx="42">
                  <c:v>262.0</c:v>
                </c:pt>
                <c:pt idx="43">
                  <c:v>8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0.0</c:v>
                </c:pt>
                <c:pt idx="1">
                  <c:v>33.0</c:v>
                </c:pt>
                <c:pt idx="2">
                  <c:v>20.0</c:v>
                </c:pt>
                <c:pt idx="3">
                  <c:v>23.0</c:v>
                </c:pt>
                <c:pt idx="4">
                  <c:v>21.0</c:v>
                </c:pt>
                <c:pt idx="5">
                  <c:v>21.0</c:v>
                </c:pt>
                <c:pt idx="6">
                  <c:v>31.0</c:v>
                </c:pt>
                <c:pt idx="7">
                  <c:v>48.0</c:v>
                </c:pt>
                <c:pt idx="8">
                  <c:v>20.0</c:v>
                </c:pt>
                <c:pt idx="9">
                  <c:v>25.0</c:v>
                </c:pt>
                <c:pt idx="10">
                  <c:v>20.0</c:v>
                </c:pt>
                <c:pt idx="11">
                  <c:v>30.0</c:v>
                </c:pt>
                <c:pt idx="12">
                  <c:v>42.0</c:v>
                </c:pt>
                <c:pt idx="13">
                  <c:v>55.0</c:v>
                </c:pt>
                <c:pt idx="14">
                  <c:v>42.0</c:v>
                </c:pt>
                <c:pt idx="15">
                  <c:v>50.0</c:v>
                </c:pt>
                <c:pt idx="16">
                  <c:v>39.0</c:v>
                </c:pt>
                <c:pt idx="17">
                  <c:v>86.0</c:v>
                </c:pt>
                <c:pt idx="18">
                  <c:v>49.0</c:v>
                </c:pt>
                <c:pt idx="19">
                  <c:v>54.0</c:v>
                </c:pt>
                <c:pt idx="20">
                  <c:v>59.0</c:v>
                </c:pt>
                <c:pt idx="21">
                  <c:v>114.0</c:v>
                </c:pt>
                <c:pt idx="22">
                  <c:v>256.0</c:v>
                </c:pt>
                <c:pt idx="23">
                  <c:v>134.0</c:v>
                </c:pt>
                <c:pt idx="24">
                  <c:v>175.0</c:v>
                </c:pt>
                <c:pt idx="25">
                  <c:v>31.0</c:v>
                </c:pt>
                <c:pt idx="26">
                  <c:v>37.0</c:v>
                </c:pt>
                <c:pt idx="27">
                  <c:v>32.0</c:v>
                </c:pt>
                <c:pt idx="28">
                  <c:v>25.0</c:v>
                </c:pt>
                <c:pt idx="29">
                  <c:v>25.0</c:v>
                </c:pt>
                <c:pt idx="30">
                  <c:v>46.0</c:v>
                </c:pt>
                <c:pt idx="31">
                  <c:v>28.0</c:v>
                </c:pt>
                <c:pt idx="32">
                  <c:v>43.0</c:v>
                </c:pt>
                <c:pt idx="33">
                  <c:v>27.0</c:v>
                </c:pt>
                <c:pt idx="34">
                  <c:v>34.0</c:v>
                </c:pt>
                <c:pt idx="35">
                  <c:v>31.0</c:v>
                </c:pt>
                <c:pt idx="36">
                  <c:v>52.0</c:v>
                </c:pt>
                <c:pt idx="37">
                  <c:v>30.0</c:v>
                </c:pt>
                <c:pt idx="38">
                  <c:v>38.0</c:v>
                </c:pt>
                <c:pt idx="39">
                  <c:v>3.0</c:v>
                </c:pt>
                <c:pt idx="40">
                  <c:v>0.0</c:v>
                </c:pt>
                <c:pt idx="41">
                  <c:v>1.0</c:v>
                </c:pt>
                <c:pt idx="42">
                  <c:v>0.0</c:v>
                </c:pt>
                <c:pt idx="43">
                  <c:v>53.0</c:v>
                </c:pt>
                <c:pt idx="44">
                  <c:v>40.0</c:v>
                </c:pt>
                <c:pt idx="45">
                  <c:v>38.0</c:v>
                </c:pt>
                <c:pt idx="46">
                  <c:v>55.0</c:v>
                </c:pt>
                <c:pt idx="47">
                  <c:v>52.0</c:v>
                </c:pt>
                <c:pt idx="48">
                  <c:v>67.0</c:v>
                </c:pt>
                <c:pt idx="49">
                  <c:v>48.0</c:v>
                </c:pt>
                <c:pt idx="50">
                  <c:v>38.0</c:v>
                </c:pt>
                <c:pt idx="51">
                  <c:v>37.0</c:v>
                </c:pt>
                <c:pt idx="52">
                  <c:v>46.0</c:v>
                </c:pt>
                <c:pt idx="53">
                  <c:v>29.0</c:v>
                </c:pt>
                <c:pt idx="54">
                  <c:v>40.0</c:v>
                </c:pt>
                <c:pt idx="55">
                  <c:v>26.0</c:v>
                </c:pt>
                <c:pt idx="56">
                  <c:v>32.0</c:v>
                </c:pt>
                <c:pt idx="57">
                  <c:v>16.0</c:v>
                </c:pt>
                <c:pt idx="58">
                  <c:v>42.0</c:v>
                </c:pt>
                <c:pt idx="59">
                  <c:v>44.0</c:v>
                </c:pt>
                <c:pt idx="60">
                  <c:v>41.0</c:v>
                </c:pt>
                <c:pt idx="61">
                  <c:v>32.0</c:v>
                </c:pt>
                <c:pt idx="62">
                  <c:v>43.0</c:v>
                </c:pt>
                <c:pt idx="63">
                  <c:v>61.0</c:v>
                </c:pt>
                <c:pt idx="64">
                  <c:v>55.0</c:v>
                </c:pt>
                <c:pt idx="65">
                  <c:v>43.0</c:v>
                </c:pt>
                <c:pt idx="66">
                  <c:v>33.0</c:v>
                </c:pt>
                <c:pt idx="67">
                  <c:v>43.0</c:v>
                </c:pt>
                <c:pt idx="68">
                  <c:v>51.0</c:v>
                </c:pt>
                <c:pt idx="69">
                  <c:v>59.0</c:v>
                </c:pt>
                <c:pt idx="70">
                  <c:v>40.0</c:v>
                </c:pt>
                <c:pt idx="71">
                  <c:v>60.0</c:v>
                </c:pt>
                <c:pt idx="72">
                  <c:v>51.0</c:v>
                </c:pt>
                <c:pt idx="73">
                  <c:v>62.0</c:v>
                </c:pt>
                <c:pt idx="74">
                  <c:v>123.0</c:v>
                </c:pt>
                <c:pt idx="75">
                  <c:v>160.0</c:v>
                </c:pt>
                <c:pt idx="76">
                  <c:v>16.0</c:v>
                </c:pt>
                <c:pt idx="77">
                  <c:v>50.0</c:v>
                </c:pt>
                <c:pt idx="78">
                  <c:v>33.0</c:v>
                </c:pt>
                <c:pt idx="79">
                  <c:v>32.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53.0</c:v>
                </c:pt>
                <c:pt idx="40">
                  <c:v>198.0</c:v>
                </c:pt>
                <c:pt idx="41">
                  <c:v>167.0</c:v>
                </c:pt>
                <c:pt idx="42">
                  <c:v>177.0</c:v>
                </c:pt>
                <c:pt idx="43">
                  <c:v>1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0.0</c:v>
                </c:pt>
                <c:pt idx="1">
                  <c:v>8.0</c:v>
                </c:pt>
                <c:pt idx="2">
                  <c:v>18.0</c:v>
                </c:pt>
                <c:pt idx="3">
                  <c:v>9.0</c:v>
                </c:pt>
                <c:pt idx="4">
                  <c:v>11.0</c:v>
                </c:pt>
                <c:pt idx="5">
                  <c:v>12.0</c:v>
                </c:pt>
                <c:pt idx="6">
                  <c:v>11.0</c:v>
                </c:pt>
                <c:pt idx="7">
                  <c:v>13.0</c:v>
                </c:pt>
                <c:pt idx="8">
                  <c:v>12.0</c:v>
                </c:pt>
                <c:pt idx="9">
                  <c:v>7.0</c:v>
                </c:pt>
                <c:pt idx="10">
                  <c:v>7.0</c:v>
                </c:pt>
                <c:pt idx="11">
                  <c:v>8.0</c:v>
                </c:pt>
                <c:pt idx="12">
                  <c:v>19.0</c:v>
                </c:pt>
                <c:pt idx="13">
                  <c:v>14.0</c:v>
                </c:pt>
                <c:pt idx="14">
                  <c:v>17.0</c:v>
                </c:pt>
                <c:pt idx="15">
                  <c:v>16.0</c:v>
                </c:pt>
                <c:pt idx="16">
                  <c:v>10.0</c:v>
                </c:pt>
                <c:pt idx="17">
                  <c:v>17.0</c:v>
                </c:pt>
                <c:pt idx="18">
                  <c:v>18.0</c:v>
                </c:pt>
                <c:pt idx="19">
                  <c:v>28.0</c:v>
                </c:pt>
                <c:pt idx="20">
                  <c:v>21.0</c:v>
                </c:pt>
                <c:pt idx="21">
                  <c:v>28.0</c:v>
                </c:pt>
                <c:pt idx="22">
                  <c:v>49.0</c:v>
                </c:pt>
                <c:pt idx="23">
                  <c:v>55.0</c:v>
                </c:pt>
                <c:pt idx="24">
                  <c:v>33.0</c:v>
                </c:pt>
                <c:pt idx="25">
                  <c:v>16.0</c:v>
                </c:pt>
                <c:pt idx="26">
                  <c:v>13.0</c:v>
                </c:pt>
                <c:pt idx="27">
                  <c:v>16.0</c:v>
                </c:pt>
                <c:pt idx="28">
                  <c:v>17.0</c:v>
                </c:pt>
                <c:pt idx="29">
                  <c:v>20.0</c:v>
                </c:pt>
                <c:pt idx="30">
                  <c:v>24.0</c:v>
                </c:pt>
                <c:pt idx="31">
                  <c:v>6.0</c:v>
                </c:pt>
                <c:pt idx="32">
                  <c:v>14.0</c:v>
                </c:pt>
                <c:pt idx="33">
                  <c:v>12.0</c:v>
                </c:pt>
                <c:pt idx="34">
                  <c:v>10.0</c:v>
                </c:pt>
                <c:pt idx="35">
                  <c:v>10.0</c:v>
                </c:pt>
                <c:pt idx="36">
                  <c:v>16.0</c:v>
                </c:pt>
                <c:pt idx="37">
                  <c:v>13.0</c:v>
                </c:pt>
                <c:pt idx="38">
                  <c:v>11.0</c:v>
                </c:pt>
                <c:pt idx="39">
                  <c:v>2.0</c:v>
                </c:pt>
                <c:pt idx="40">
                  <c:v>2.0</c:v>
                </c:pt>
                <c:pt idx="41">
                  <c:v>1.0</c:v>
                </c:pt>
                <c:pt idx="42">
                  <c:v>0.0</c:v>
                </c:pt>
                <c:pt idx="43">
                  <c:v>15.0</c:v>
                </c:pt>
                <c:pt idx="44">
                  <c:v>23.0</c:v>
                </c:pt>
                <c:pt idx="45">
                  <c:v>15.0</c:v>
                </c:pt>
                <c:pt idx="46">
                  <c:v>21.0</c:v>
                </c:pt>
                <c:pt idx="47">
                  <c:v>10.0</c:v>
                </c:pt>
                <c:pt idx="48">
                  <c:v>26.0</c:v>
                </c:pt>
                <c:pt idx="49">
                  <c:v>13.0</c:v>
                </c:pt>
                <c:pt idx="50">
                  <c:v>22.0</c:v>
                </c:pt>
                <c:pt idx="51">
                  <c:v>15.0</c:v>
                </c:pt>
                <c:pt idx="52">
                  <c:v>12.0</c:v>
                </c:pt>
                <c:pt idx="53">
                  <c:v>20.0</c:v>
                </c:pt>
                <c:pt idx="54">
                  <c:v>9.0</c:v>
                </c:pt>
                <c:pt idx="55">
                  <c:v>20.0</c:v>
                </c:pt>
                <c:pt idx="56">
                  <c:v>12.0</c:v>
                </c:pt>
                <c:pt idx="57">
                  <c:v>28.0</c:v>
                </c:pt>
                <c:pt idx="58">
                  <c:v>14.0</c:v>
                </c:pt>
                <c:pt idx="59">
                  <c:v>21.0</c:v>
                </c:pt>
                <c:pt idx="60">
                  <c:v>12.0</c:v>
                </c:pt>
                <c:pt idx="61">
                  <c:v>22.0</c:v>
                </c:pt>
                <c:pt idx="62">
                  <c:v>14.0</c:v>
                </c:pt>
                <c:pt idx="63">
                  <c:v>16.0</c:v>
                </c:pt>
                <c:pt idx="64">
                  <c:v>19.0</c:v>
                </c:pt>
                <c:pt idx="65">
                  <c:v>20.0</c:v>
                </c:pt>
                <c:pt idx="66">
                  <c:v>32.0</c:v>
                </c:pt>
                <c:pt idx="67">
                  <c:v>16.0</c:v>
                </c:pt>
                <c:pt idx="68">
                  <c:v>15.0</c:v>
                </c:pt>
                <c:pt idx="69">
                  <c:v>17.0</c:v>
                </c:pt>
                <c:pt idx="70">
                  <c:v>10.0</c:v>
                </c:pt>
                <c:pt idx="71">
                  <c:v>13.0</c:v>
                </c:pt>
                <c:pt idx="72">
                  <c:v>12.0</c:v>
                </c:pt>
                <c:pt idx="73">
                  <c:v>21.0</c:v>
                </c:pt>
                <c:pt idx="74">
                  <c:v>36.0</c:v>
                </c:pt>
                <c:pt idx="75">
                  <c:v>32.0</c:v>
                </c:pt>
                <c:pt idx="76">
                  <c:v>9.0</c:v>
                </c:pt>
                <c:pt idx="77">
                  <c:v>23.0</c:v>
                </c:pt>
                <c:pt idx="78">
                  <c:v>12.0</c:v>
                </c:pt>
                <c:pt idx="79">
                  <c:v>9.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1.0</c:v>
                </c:pt>
                <c:pt idx="40">
                  <c:v>54.0</c:v>
                </c:pt>
                <c:pt idx="41">
                  <c:v>56.0</c:v>
                </c:pt>
                <c:pt idx="42">
                  <c:v>114.0</c:v>
                </c:pt>
                <c:pt idx="43">
                  <c:v>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10.0</c:v>
                </c:pt>
                <c:pt idx="1">
                  <c:v>85.0</c:v>
                </c:pt>
                <c:pt idx="2">
                  <c:v>79.0</c:v>
                </c:pt>
                <c:pt idx="3">
                  <c:v>98.0</c:v>
                </c:pt>
                <c:pt idx="4">
                  <c:v>74.0</c:v>
                </c:pt>
                <c:pt idx="5">
                  <c:v>90.0</c:v>
                </c:pt>
                <c:pt idx="6">
                  <c:v>114.0</c:v>
                </c:pt>
                <c:pt idx="7">
                  <c:v>79.0</c:v>
                </c:pt>
                <c:pt idx="8">
                  <c:v>113.0</c:v>
                </c:pt>
                <c:pt idx="9">
                  <c:v>150.0</c:v>
                </c:pt>
                <c:pt idx="10">
                  <c:v>138.0</c:v>
                </c:pt>
                <c:pt idx="11">
                  <c:v>88.0</c:v>
                </c:pt>
                <c:pt idx="12">
                  <c:v>81.0</c:v>
                </c:pt>
                <c:pt idx="13">
                  <c:v>157.0</c:v>
                </c:pt>
                <c:pt idx="14">
                  <c:v>120.0</c:v>
                </c:pt>
                <c:pt idx="15">
                  <c:v>147.0</c:v>
                </c:pt>
                <c:pt idx="16">
                  <c:v>117.0</c:v>
                </c:pt>
                <c:pt idx="17">
                  <c:v>140.0</c:v>
                </c:pt>
                <c:pt idx="18">
                  <c:v>138.0</c:v>
                </c:pt>
                <c:pt idx="19">
                  <c:v>218.0</c:v>
                </c:pt>
                <c:pt idx="20">
                  <c:v>271.0</c:v>
                </c:pt>
                <c:pt idx="21">
                  <c:v>322.0</c:v>
                </c:pt>
                <c:pt idx="22">
                  <c:v>577.0</c:v>
                </c:pt>
                <c:pt idx="23">
                  <c:v>351.0</c:v>
                </c:pt>
                <c:pt idx="24">
                  <c:v>351.0</c:v>
                </c:pt>
                <c:pt idx="25">
                  <c:v>68.0</c:v>
                </c:pt>
                <c:pt idx="26">
                  <c:v>89.0</c:v>
                </c:pt>
                <c:pt idx="27">
                  <c:v>81.0</c:v>
                </c:pt>
                <c:pt idx="28">
                  <c:v>93.0</c:v>
                </c:pt>
                <c:pt idx="29">
                  <c:v>123.0</c:v>
                </c:pt>
                <c:pt idx="30">
                  <c:v>147.0</c:v>
                </c:pt>
                <c:pt idx="31">
                  <c:v>103.0</c:v>
                </c:pt>
                <c:pt idx="32">
                  <c:v>112.0</c:v>
                </c:pt>
                <c:pt idx="33">
                  <c:v>168.0</c:v>
                </c:pt>
                <c:pt idx="34">
                  <c:v>100.0</c:v>
                </c:pt>
                <c:pt idx="35">
                  <c:v>125.0</c:v>
                </c:pt>
                <c:pt idx="36">
                  <c:v>118.0</c:v>
                </c:pt>
                <c:pt idx="37">
                  <c:v>97.0</c:v>
                </c:pt>
                <c:pt idx="38">
                  <c:v>98.0</c:v>
                </c:pt>
                <c:pt idx="39">
                  <c:v>87.0</c:v>
                </c:pt>
                <c:pt idx="40">
                  <c:v>76.0</c:v>
                </c:pt>
                <c:pt idx="41">
                  <c:v>74.0</c:v>
                </c:pt>
                <c:pt idx="42">
                  <c:v>92.0</c:v>
                </c:pt>
                <c:pt idx="43">
                  <c:v>96.0</c:v>
                </c:pt>
                <c:pt idx="44">
                  <c:v>97.0</c:v>
                </c:pt>
                <c:pt idx="45">
                  <c:v>120.0</c:v>
                </c:pt>
                <c:pt idx="46">
                  <c:v>113.0</c:v>
                </c:pt>
                <c:pt idx="47">
                  <c:v>206.0</c:v>
                </c:pt>
                <c:pt idx="48">
                  <c:v>180.0</c:v>
                </c:pt>
                <c:pt idx="49">
                  <c:v>156.0</c:v>
                </c:pt>
                <c:pt idx="50">
                  <c:v>157.0</c:v>
                </c:pt>
                <c:pt idx="51">
                  <c:v>135.0</c:v>
                </c:pt>
                <c:pt idx="52">
                  <c:v>115.0</c:v>
                </c:pt>
                <c:pt idx="53">
                  <c:v>114.0</c:v>
                </c:pt>
                <c:pt idx="54">
                  <c:v>75.0</c:v>
                </c:pt>
                <c:pt idx="55">
                  <c:v>82.0</c:v>
                </c:pt>
                <c:pt idx="56">
                  <c:v>86.0</c:v>
                </c:pt>
                <c:pt idx="57">
                  <c:v>119.0</c:v>
                </c:pt>
                <c:pt idx="58">
                  <c:v>128.0</c:v>
                </c:pt>
                <c:pt idx="59">
                  <c:v>112.0</c:v>
                </c:pt>
                <c:pt idx="60">
                  <c:v>94.0</c:v>
                </c:pt>
                <c:pt idx="61">
                  <c:v>119.0</c:v>
                </c:pt>
                <c:pt idx="62">
                  <c:v>123.0</c:v>
                </c:pt>
                <c:pt idx="63">
                  <c:v>77.0</c:v>
                </c:pt>
                <c:pt idx="64">
                  <c:v>185.0</c:v>
                </c:pt>
                <c:pt idx="65">
                  <c:v>182.0</c:v>
                </c:pt>
                <c:pt idx="66">
                  <c:v>179.0</c:v>
                </c:pt>
                <c:pt idx="67">
                  <c:v>153.0</c:v>
                </c:pt>
                <c:pt idx="68">
                  <c:v>190.0</c:v>
                </c:pt>
                <c:pt idx="69">
                  <c:v>129.0</c:v>
                </c:pt>
                <c:pt idx="70">
                  <c:v>144.0</c:v>
                </c:pt>
                <c:pt idx="71">
                  <c:v>140.0</c:v>
                </c:pt>
                <c:pt idx="72">
                  <c:v>216.0</c:v>
                </c:pt>
                <c:pt idx="73">
                  <c:v>314.0</c:v>
                </c:pt>
                <c:pt idx="74">
                  <c:v>484.0</c:v>
                </c:pt>
                <c:pt idx="75">
                  <c:v>355.0</c:v>
                </c:pt>
                <c:pt idx="76">
                  <c:v>87.0</c:v>
                </c:pt>
                <c:pt idx="77">
                  <c:v>113.0</c:v>
                </c:pt>
                <c:pt idx="78">
                  <c:v>140.0</c:v>
                </c:pt>
                <c:pt idx="79">
                  <c:v>142.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0.0</c:v>
                </c:pt>
                <c:pt idx="40">
                  <c:v>23.0</c:v>
                </c:pt>
                <c:pt idx="41">
                  <c:v>25.0</c:v>
                </c:pt>
                <c:pt idx="42">
                  <c:v>19.0</c:v>
                </c:pt>
                <c:pt idx="43">
                  <c:v>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33.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93.0</c:v>
                </c:pt>
                <c:pt idx="1">
                  <c:v>145.0</c:v>
                </c:pt>
                <c:pt idx="2">
                  <c:v>148.0</c:v>
                </c:pt>
                <c:pt idx="3">
                  <c:v>140.0</c:v>
                </c:pt>
                <c:pt idx="4">
                  <c:v>140.0</c:v>
                </c:pt>
                <c:pt idx="5">
                  <c:v>134.0</c:v>
                </c:pt>
                <c:pt idx="6">
                  <c:v>122.0</c:v>
                </c:pt>
                <c:pt idx="7">
                  <c:v>119.0</c:v>
                </c:pt>
                <c:pt idx="8">
                  <c:v>144.0</c:v>
                </c:pt>
                <c:pt idx="9">
                  <c:v>100.0</c:v>
                </c:pt>
                <c:pt idx="10">
                  <c:v>96.0</c:v>
                </c:pt>
                <c:pt idx="11">
                  <c:v>86.0</c:v>
                </c:pt>
                <c:pt idx="12">
                  <c:v>108.0</c:v>
                </c:pt>
                <c:pt idx="13">
                  <c:v>79.0</c:v>
                </c:pt>
                <c:pt idx="14">
                  <c:v>96.0</c:v>
                </c:pt>
                <c:pt idx="15">
                  <c:v>112.0</c:v>
                </c:pt>
                <c:pt idx="16">
                  <c:v>96.0</c:v>
                </c:pt>
                <c:pt idx="17">
                  <c:v>107.0</c:v>
                </c:pt>
                <c:pt idx="18">
                  <c:v>122.0</c:v>
                </c:pt>
                <c:pt idx="19">
                  <c:v>245.0</c:v>
                </c:pt>
                <c:pt idx="20">
                  <c:v>197.0</c:v>
                </c:pt>
                <c:pt idx="21">
                  <c:v>223.0</c:v>
                </c:pt>
                <c:pt idx="22">
                  <c:v>422.0</c:v>
                </c:pt>
                <c:pt idx="23">
                  <c:v>274.0</c:v>
                </c:pt>
                <c:pt idx="24">
                  <c:v>244.0</c:v>
                </c:pt>
                <c:pt idx="25">
                  <c:v>113.0</c:v>
                </c:pt>
                <c:pt idx="26">
                  <c:v>54.0</c:v>
                </c:pt>
                <c:pt idx="27">
                  <c:v>74.0</c:v>
                </c:pt>
                <c:pt idx="28">
                  <c:v>82.0</c:v>
                </c:pt>
                <c:pt idx="29">
                  <c:v>95.0</c:v>
                </c:pt>
                <c:pt idx="30">
                  <c:v>102.0</c:v>
                </c:pt>
                <c:pt idx="31">
                  <c:v>72.0</c:v>
                </c:pt>
                <c:pt idx="32">
                  <c:v>73.0</c:v>
                </c:pt>
                <c:pt idx="33">
                  <c:v>106.0</c:v>
                </c:pt>
                <c:pt idx="34">
                  <c:v>82.0</c:v>
                </c:pt>
                <c:pt idx="35">
                  <c:v>80.0</c:v>
                </c:pt>
                <c:pt idx="36">
                  <c:v>105.0</c:v>
                </c:pt>
                <c:pt idx="37">
                  <c:v>83.0</c:v>
                </c:pt>
                <c:pt idx="38">
                  <c:v>83.0</c:v>
                </c:pt>
                <c:pt idx="39">
                  <c:v>58.0</c:v>
                </c:pt>
                <c:pt idx="40">
                  <c:v>60.0</c:v>
                </c:pt>
                <c:pt idx="41">
                  <c:v>131.0</c:v>
                </c:pt>
                <c:pt idx="42">
                  <c:v>81.0</c:v>
                </c:pt>
                <c:pt idx="43">
                  <c:v>86.0</c:v>
                </c:pt>
                <c:pt idx="44">
                  <c:v>76.0</c:v>
                </c:pt>
                <c:pt idx="45">
                  <c:v>102.0</c:v>
                </c:pt>
                <c:pt idx="46">
                  <c:v>91.0</c:v>
                </c:pt>
                <c:pt idx="47">
                  <c:v>193.0</c:v>
                </c:pt>
                <c:pt idx="48">
                  <c:v>125.0</c:v>
                </c:pt>
                <c:pt idx="49">
                  <c:v>160.0</c:v>
                </c:pt>
                <c:pt idx="50">
                  <c:v>221.0</c:v>
                </c:pt>
                <c:pt idx="51">
                  <c:v>113.0</c:v>
                </c:pt>
                <c:pt idx="52">
                  <c:v>144.0</c:v>
                </c:pt>
                <c:pt idx="53">
                  <c:v>134.0</c:v>
                </c:pt>
                <c:pt idx="54">
                  <c:v>146.0</c:v>
                </c:pt>
                <c:pt idx="55">
                  <c:v>145.0</c:v>
                </c:pt>
                <c:pt idx="56">
                  <c:v>195.0</c:v>
                </c:pt>
                <c:pt idx="57">
                  <c:v>134.0</c:v>
                </c:pt>
                <c:pt idx="58">
                  <c:v>149.0</c:v>
                </c:pt>
                <c:pt idx="59">
                  <c:v>99.0</c:v>
                </c:pt>
                <c:pt idx="60">
                  <c:v>102.0</c:v>
                </c:pt>
                <c:pt idx="61">
                  <c:v>102.0</c:v>
                </c:pt>
                <c:pt idx="62">
                  <c:v>87.0</c:v>
                </c:pt>
                <c:pt idx="63">
                  <c:v>73.0</c:v>
                </c:pt>
                <c:pt idx="64">
                  <c:v>127.0</c:v>
                </c:pt>
                <c:pt idx="65">
                  <c:v>244.0</c:v>
                </c:pt>
                <c:pt idx="66">
                  <c:v>142.0</c:v>
                </c:pt>
                <c:pt idx="67">
                  <c:v>164.0</c:v>
                </c:pt>
                <c:pt idx="68">
                  <c:v>151.0</c:v>
                </c:pt>
                <c:pt idx="69">
                  <c:v>118.0</c:v>
                </c:pt>
                <c:pt idx="70">
                  <c:v>88.0</c:v>
                </c:pt>
                <c:pt idx="71">
                  <c:v>82.0</c:v>
                </c:pt>
                <c:pt idx="72">
                  <c:v>188.0</c:v>
                </c:pt>
                <c:pt idx="73">
                  <c:v>150.0</c:v>
                </c:pt>
                <c:pt idx="74">
                  <c:v>274.0</c:v>
                </c:pt>
                <c:pt idx="75">
                  <c:v>315.0</c:v>
                </c:pt>
                <c:pt idx="76">
                  <c:v>62.0</c:v>
                </c:pt>
                <c:pt idx="77">
                  <c:v>114.0</c:v>
                </c:pt>
                <c:pt idx="78">
                  <c:v>60.0</c:v>
                </c:pt>
                <c:pt idx="79">
                  <c:v>77.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9.0</c:v>
                </c:pt>
                <c:pt idx="40">
                  <c:v>7.0</c:v>
                </c:pt>
                <c:pt idx="41">
                  <c:v>14.0</c:v>
                </c:pt>
                <c:pt idx="42">
                  <c:v>14.0</c:v>
                </c:pt>
                <c:pt idx="43">
                  <c:v>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2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89.0</c:v>
                </c:pt>
                <c:pt idx="1">
                  <c:v>36.0</c:v>
                </c:pt>
                <c:pt idx="2">
                  <c:v>81.0</c:v>
                </c:pt>
                <c:pt idx="3">
                  <c:v>70.0</c:v>
                </c:pt>
                <c:pt idx="4">
                  <c:v>51.0</c:v>
                </c:pt>
                <c:pt idx="5">
                  <c:v>69.0</c:v>
                </c:pt>
                <c:pt idx="6">
                  <c:v>72.0</c:v>
                </c:pt>
                <c:pt idx="7">
                  <c:v>101.0</c:v>
                </c:pt>
                <c:pt idx="8">
                  <c:v>70.0</c:v>
                </c:pt>
                <c:pt idx="9">
                  <c:v>69.0</c:v>
                </c:pt>
                <c:pt idx="10">
                  <c:v>78.0</c:v>
                </c:pt>
                <c:pt idx="11">
                  <c:v>65.0</c:v>
                </c:pt>
                <c:pt idx="12">
                  <c:v>109.0</c:v>
                </c:pt>
                <c:pt idx="13">
                  <c:v>70.0</c:v>
                </c:pt>
                <c:pt idx="14">
                  <c:v>155.0</c:v>
                </c:pt>
                <c:pt idx="15">
                  <c:v>81.0</c:v>
                </c:pt>
                <c:pt idx="16">
                  <c:v>75.0</c:v>
                </c:pt>
                <c:pt idx="17">
                  <c:v>64.0</c:v>
                </c:pt>
                <c:pt idx="18">
                  <c:v>63.0</c:v>
                </c:pt>
                <c:pt idx="19">
                  <c:v>189.0</c:v>
                </c:pt>
                <c:pt idx="20">
                  <c:v>117.0</c:v>
                </c:pt>
                <c:pt idx="21">
                  <c:v>137.0</c:v>
                </c:pt>
                <c:pt idx="22">
                  <c:v>232.0</c:v>
                </c:pt>
                <c:pt idx="23">
                  <c:v>180.0</c:v>
                </c:pt>
                <c:pt idx="24">
                  <c:v>158.0</c:v>
                </c:pt>
                <c:pt idx="25">
                  <c:v>41.0</c:v>
                </c:pt>
                <c:pt idx="26">
                  <c:v>46.0</c:v>
                </c:pt>
                <c:pt idx="27">
                  <c:v>33.0</c:v>
                </c:pt>
                <c:pt idx="28">
                  <c:v>44.0</c:v>
                </c:pt>
                <c:pt idx="29">
                  <c:v>63.0</c:v>
                </c:pt>
                <c:pt idx="30">
                  <c:v>87.0</c:v>
                </c:pt>
                <c:pt idx="31">
                  <c:v>69.0</c:v>
                </c:pt>
                <c:pt idx="32">
                  <c:v>61.0</c:v>
                </c:pt>
                <c:pt idx="33">
                  <c:v>75.0</c:v>
                </c:pt>
                <c:pt idx="34">
                  <c:v>39.0</c:v>
                </c:pt>
                <c:pt idx="35">
                  <c:v>50.0</c:v>
                </c:pt>
                <c:pt idx="36">
                  <c:v>71.0</c:v>
                </c:pt>
                <c:pt idx="37">
                  <c:v>74.0</c:v>
                </c:pt>
                <c:pt idx="38">
                  <c:v>68.0</c:v>
                </c:pt>
                <c:pt idx="39">
                  <c:v>71.0</c:v>
                </c:pt>
                <c:pt idx="40">
                  <c:v>70.0</c:v>
                </c:pt>
                <c:pt idx="41">
                  <c:v>66.0</c:v>
                </c:pt>
                <c:pt idx="42">
                  <c:v>58.0</c:v>
                </c:pt>
                <c:pt idx="43">
                  <c:v>47.0</c:v>
                </c:pt>
                <c:pt idx="44">
                  <c:v>64.0</c:v>
                </c:pt>
                <c:pt idx="45">
                  <c:v>67.0</c:v>
                </c:pt>
                <c:pt idx="46">
                  <c:v>66.0</c:v>
                </c:pt>
                <c:pt idx="47">
                  <c:v>116.0</c:v>
                </c:pt>
                <c:pt idx="48">
                  <c:v>63.0</c:v>
                </c:pt>
                <c:pt idx="49">
                  <c:v>109.0</c:v>
                </c:pt>
                <c:pt idx="50">
                  <c:v>57.0</c:v>
                </c:pt>
                <c:pt idx="51">
                  <c:v>58.0</c:v>
                </c:pt>
                <c:pt idx="52">
                  <c:v>78.0</c:v>
                </c:pt>
                <c:pt idx="53">
                  <c:v>68.0</c:v>
                </c:pt>
                <c:pt idx="54">
                  <c:v>57.0</c:v>
                </c:pt>
                <c:pt idx="55">
                  <c:v>53.0</c:v>
                </c:pt>
                <c:pt idx="56">
                  <c:v>47.0</c:v>
                </c:pt>
                <c:pt idx="57">
                  <c:v>80.0</c:v>
                </c:pt>
                <c:pt idx="58">
                  <c:v>62.0</c:v>
                </c:pt>
                <c:pt idx="59">
                  <c:v>63.0</c:v>
                </c:pt>
                <c:pt idx="60">
                  <c:v>65.0</c:v>
                </c:pt>
                <c:pt idx="61">
                  <c:v>56.0</c:v>
                </c:pt>
                <c:pt idx="62">
                  <c:v>65.0</c:v>
                </c:pt>
                <c:pt idx="63">
                  <c:v>36.0</c:v>
                </c:pt>
                <c:pt idx="64">
                  <c:v>84.0</c:v>
                </c:pt>
                <c:pt idx="65">
                  <c:v>123.0</c:v>
                </c:pt>
                <c:pt idx="66">
                  <c:v>72.0</c:v>
                </c:pt>
                <c:pt idx="67">
                  <c:v>107.0</c:v>
                </c:pt>
                <c:pt idx="68">
                  <c:v>65.0</c:v>
                </c:pt>
                <c:pt idx="69">
                  <c:v>74.0</c:v>
                </c:pt>
                <c:pt idx="70">
                  <c:v>88.0</c:v>
                </c:pt>
                <c:pt idx="71">
                  <c:v>52.0</c:v>
                </c:pt>
                <c:pt idx="72">
                  <c:v>108.0</c:v>
                </c:pt>
                <c:pt idx="73">
                  <c:v>222.0</c:v>
                </c:pt>
                <c:pt idx="74">
                  <c:v>213.0</c:v>
                </c:pt>
                <c:pt idx="75">
                  <c:v>161.0</c:v>
                </c:pt>
                <c:pt idx="76">
                  <c:v>27.0</c:v>
                </c:pt>
                <c:pt idx="77">
                  <c:v>61.0</c:v>
                </c:pt>
                <c:pt idx="78">
                  <c:v>62.0</c:v>
                </c:pt>
                <c:pt idx="79">
                  <c:v>59.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7.0</c:v>
                </c:pt>
                <c:pt idx="40">
                  <c:v>11.0</c:v>
                </c:pt>
                <c:pt idx="41">
                  <c:v>10.0</c:v>
                </c:pt>
                <c:pt idx="42">
                  <c:v>4.0</c:v>
                </c:pt>
                <c:pt idx="43">
                  <c:v>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7.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605.0</c:v>
                </c:pt>
                <c:pt idx="1">
                  <c:v>658.0</c:v>
                </c:pt>
                <c:pt idx="2">
                  <c:v>462.0</c:v>
                </c:pt>
                <c:pt idx="3">
                  <c:v>495.0</c:v>
                </c:pt>
                <c:pt idx="4">
                  <c:v>462.0</c:v>
                </c:pt>
                <c:pt idx="5">
                  <c:v>527.0</c:v>
                </c:pt>
                <c:pt idx="6">
                  <c:v>729.0</c:v>
                </c:pt>
                <c:pt idx="7">
                  <c:v>622.0</c:v>
                </c:pt>
                <c:pt idx="8">
                  <c:v>699.0</c:v>
                </c:pt>
                <c:pt idx="9">
                  <c:v>737.0</c:v>
                </c:pt>
                <c:pt idx="10">
                  <c:v>828.0</c:v>
                </c:pt>
                <c:pt idx="11">
                  <c:v>684.0</c:v>
                </c:pt>
                <c:pt idx="12">
                  <c:v>895.0</c:v>
                </c:pt>
                <c:pt idx="13">
                  <c:v>740.0</c:v>
                </c:pt>
                <c:pt idx="14">
                  <c:v>745.0</c:v>
                </c:pt>
                <c:pt idx="15">
                  <c:v>727.0</c:v>
                </c:pt>
                <c:pt idx="16">
                  <c:v>743.0</c:v>
                </c:pt>
                <c:pt idx="17">
                  <c:v>860.0</c:v>
                </c:pt>
                <c:pt idx="18">
                  <c:v>991.0</c:v>
                </c:pt>
                <c:pt idx="19">
                  <c:v>933.0</c:v>
                </c:pt>
                <c:pt idx="20">
                  <c:v>1098.0</c:v>
                </c:pt>
                <c:pt idx="21">
                  <c:v>1230.0</c:v>
                </c:pt>
                <c:pt idx="22">
                  <c:v>2060.0</c:v>
                </c:pt>
                <c:pt idx="23">
                  <c:v>1404.0</c:v>
                </c:pt>
                <c:pt idx="24">
                  <c:v>1431.0</c:v>
                </c:pt>
                <c:pt idx="25">
                  <c:v>666.0</c:v>
                </c:pt>
                <c:pt idx="26">
                  <c:v>545.0</c:v>
                </c:pt>
                <c:pt idx="27">
                  <c:v>613.0</c:v>
                </c:pt>
                <c:pt idx="28">
                  <c:v>602.0</c:v>
                </c:pt>
                <c:pt idx="29">
                  <c:v>708.0</c:v>
                </c:pt>
                <c:pt idx="30">
                  <c:v>784.0</c:v>
                </c:pt>
                <c:pt idx="31">
                  <c:v>661.0</c:v>
                </c:pt>
                <c:pt idx="32">
                  <c:v>645.0</c:v>
                </c:pt>
                <c:pt idx="33">
                  <c:v>675.0</c:v>
                </c:pt>
                <c:pt idx="34">
                  <c:v>590.0</c:v>
                </c:pt>
                <c:pt idx="35">
                  <c:v>632.0</c:v>
                </c:pt>
                <c:pt idx="36">
                  <c:v>711.0</c:v>
                </c:pt>
                <c:pt idx="37">
                  <c:v>587.0</c:v>
                </c:pt>
                <c:pt idx="38">
                  <c:v>590.0</c:v>
                </c:pt>
                <c:pt idx="39">
                  <c:v>596.0</c:v>
                </c:pt>
                <c:pt idx="40">
                  <c:v>632.0</c:v>
                </c:pt>
                <c:pt idx="41">
                  <c:v>591.0</c:v>
                </c:pt>
                <c:pt idx="42">
                  <c:v>530.0</c:v>
                </c:pt>
                <c:pt idx="43">
                  <c:v>675.0</c:v>
                </c:pt>
                <c:pt idx="44">
                  <c:v>718.0</c:v>
                </c:pt>
                <c:pt idx="45">
                  <c:v>680.0</c:v>
                </c:pt>
                <c:pt idx="46">
                  <c:v>648.0</c:v>
                </c:pt>
                <c:pt idx="47">
                  <c:v>1332.0</c:v>
                </c:pt>
                <c:pt idx="48">
                  <c:v>887.0</c:v>
                </c:pt>
                <c:pt idx="49">
                  <c:v>1156.0</c:v>
                </c:pt>
                <c:pt idx="50">
                  <c:v>905.0</c:v>
                </c:pt>
                <c:pt idx="51">
                  <c:v>706.0</c:v>
                </c:pt>
                <c:pt idx="52">
                  <c:v>602.0</c:v>
                </c:pt>
                <c:pt idx="53">
                  <c:v>661.0</c:v>
                </c:pt>
                <c:pt idx="54">
                  <c:v>526.0</c:v>
                </c:pt>
                <c:pt idx="55">
                  <c:v>529.0</c:v>
                </c:pt>
                <c:pt idx="56">
                  <c:v>514.0</c:v>
                </c:pt>
                <c:pt idx="57">
                  <c:v>713.0</c:v>
                </c:pt>
                <c:pt idx="58">
                  <c:v>712.0</c:v>
                </c:pt>
                <c:pt idx="59">
                  <c:v>858.0</c:v>
                </c:pt>
                <c:pt idx="60">
                  <c:v>713.0</c:v>
                </c:pt>
                <c:pt idx="61">
                  <c:v>779.0</c:v>
                </c:pt>
                <c:pt idx="62">
                  <c:v>672.0</c:v>
                </c:pt>
                <c:pt idx="63">
                  <c:v>671.0</c:v>
                </c:pt>
                <c:pt idx="64">
                  <c:v>851.0</c:v>
                </c:pt>
                <c:pt idx="65">
                  <c:v>931.0</c:v>
                </c:pt>
                <c:pt idx="66">
                  <c:v>931.0</c:v>
                </c:pt>
                <c:pt idx="67">
                  <c:v>1002.0</c:v>
                </c:pt>
                <c:pt idx="68">
                  <c:v>895.0</c:v>
                </c:pt>
                <c:pt idx="69">
                  <c:v>763.0</c:v>
                </c:pt>
                <c:pt idx="70">
                  <c:v>803.0</c:v>
                </c:pt>
                <c:pt idx="71">
                  <c:v>783.0</c:v>
                </c:pt>
                <c:pt idx="72">
                  <c:v>979.0</c:v>
                </c:pt>
                <c:pt idx="73">
                  <c:v>1150.0</c:v>
                </c:pt>
                <c:pt idx="74">
                  <c:v>1734.0</c:v>
                </c:pt>
                <c:pt idx="75">
                  <c:v>1258.0</c:v>
                </c:pt>
                <c:pt idx="76">
                  <c:v>383.0</c:v>
                </c:pt>
                <c:pt idx="77">
                  <c:v>833.0</c:v>
                </c:pt>
                <c:pt idx="78">
                  <c:v>723.0</c:v>
                </c:pt>
                <c:pt idx="79">
                  <c:v>711.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70.0</c:v>
                </c:pt>
                <c:pt idx="40">
                  <c:v>123.0</c:v>
                </c:pt>
                <c:pt idx="41">
                  <c:v>105.0</c:v>
                </c:pt>
                <c:pt idx="42">
                  <c:v>83.0</c:v>
                </c:pt>
                <c:pt idx="43">
                  <c:v>2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1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290.0</c:v>
                </c:pt>
                <c:pt idx="1">
                  <c:v>2227.0</c:v>
                </c:pt>
                <c:pt idx="2">
                  <c:v>1850.0</c:v>
                </c:pt>
                <c:pt idx="3">
                  <c:v>1657.0</c:v>
                </c:pt>
                <c:pt idx="4">
                  <c:v>1505.0</c:v>
                </c:pt>
                <c:pt idx="5">
                  <c:v>1834.0</c:v>
                </c:pt>
                <c:pt idx="6">
                  <c:v>2546.0</c:v>
                </c:pt>
                <c:pt idx="7">
                  <c:v>2646.0</c:v>
                </c:pt>
                <c:pt idx="8">
                  <c:v>2610.0</c:v>
                </c:pt>
                <c:pt idx="9">
                  <c:v>2833.0</c:v>
                </c:pt>
                <c:pt idx="10">
                  <c:v>3147.0</c:v>
                </c:pt>
                <c:pt idx="11">
                  <c:v>2653.0</c:v>
                </c:pt>
                <c:pt idx="12">
                  <c:v>3166.0</c:v>
                </c:pt>
                <c:pt idx="13">
                  <c:v>2782.0</c:v>
                </c:pt>
                <c:pt idx="14">
                  <c:v>3079.0</c:v>
                </c:pt>
                <c:pt idx="15">
                  <c:v>3053.0</c:v>
                </c:pt>
                <c:pt idx="16">
                  <c:v>3020.0</c:v>
                </c:pt>
                <c:pt idx="17">
                  <c:v>3359.0</c:v>
                </c:pt>
                <c:pt idx="18">
                  <c:v>3379.0</c:v>
                </c:pt>
                <c:pt idx="19">
                  <c:v>4168.0</c:v>
                </c:pt>
                <c:pt idx="20">
                  <c:v>4578.0</c:v>
                </c:pt>
                <c:pt idx="21">
                  <c:v>5487.0</c:v>
                </c:pt>
                <c:pt idx="22">
                  <c:v>8923.0</c:v>
                </c:pt>
                <c:pt idx="23">
                  <c:v>6097.0</c:v>
                </c:pt>
                <c:pt idx="24">
                  <c:v>5999.0</c:v>
                </c:pt>
                <c:pt idx="25">
                  <c:v>2299.0</c:v>
                </c:pt>
                <c:pt idx="26">
                  <c:v>2033.0</c:v>
                </c:pt>
                <c:pt idx="27">
                  <c:v>2271.0</c:v>
                </c:pt>
                <c:pt idx="28">
                  <c:v>2156.0</c:v>
                </c:pt>
                <c:pt idx="29">
                  <c:v>2570.0</c:v>
                </c:pt>
                <c:pt idx="30">
                  <c:v>2849.0</c:v>
                </c:pt>
                <c:pt idx="31">
                  <c:v>2213.0</c:v>
                </c:pt>
                <c:pt idx="32">
                  <c:v>2457.0</c:v>
                </c:pt>
                <c:pt idx="33">
                  <c:v>2508.0</c:v>
                </c:pt>
                <c:pt idx="34">
                  <c:v>2499.0</c:v>
                </c:pt>
                <c:pt idx="35">
                  <c:v>2558.0</c:v>
                </c:pt>
                <c:pt idx="36">
                  <c:v>3015.0</c:v>
                </c:pt>
                <c:pt idx="37">
                  <c:v>2431.0</c:v>
                </c:pt>
                <c:pt idx="38">
                  <c:v>2406.0</c:v>
                </c:pt>
                <c:pt idx="39">
                  <c:v>2265.0</c:v>
                </c:pt>
                <c:pt idx="40">
                  <c:v>2226.0</c:v>
                </c:pt>
                <c:pt idx="41">
                  <c:v>2363.0</c:v>
                </c:pt>
                <c:pt idx="42">
                  <c:v>1896.0</c:v>
                </c:pt>
                <c:pt idx="43">
                  <c:v>2412.0</c:v>
                </c:pt>
                <c:pt idx="44">
                  <c:v>2701.0</c:v>
                </c:pt>
                <c:pt idx="45">
                  <c:v>2649.0</c:v>
                </c:pt>
                <c:pt idx="46">
                  <c:v>2716.0</c:v>
                </c:pt>
                <c:pt idx="47">
                  <c:v>5806.0</c:v>
                </c:pt>
                <c:pt idx="48">
                  <c:v>3981.0</c:v>
                </c:pt>
                <c:pt idx="49">
                  <c:v>4464.0</c:v>
                </c:pt>
                <c:pt idx="50">
                  <c:v>3753.0</c:v>
                </c:pt>
                <c:pt idx="51">
                  <c:v>2985.0</c:v>
                </c:pt>
                <c:pt idx="52">
                  <c:v>2629.0</c:v>
                </c:pt>
                <c:pt idx="53">
                  <c:v>2654.0</c:v>
                </c:pt>
                <c:pt idx="54">
                  <c:v>2106.0</c:v>
                </c:pt>
                <c:pt idx="55">
                  <c:v>1830.0</c:v>
                </c:pt>
                <c:pt idx="56">
                  <c:v>1710.0</c:v>
                </c:pt>
                <c:pt idx="57">
                  <c:v>2204.0</c:v>
                </c:pt>
                <c:pt idx="58">
                  <c:v>2893.0</c:v>
                </c:pt>
                <c:pt idx="59">
                  <c:v>2605.0</c:v>
                </c:pt>
                <c:pt idx="60">
                  <c:v>2622.0</c:v>
                </c:pt>
                <c:pt idx="61">
                  <c:v>2622.0</c:v>
                </c:pt>
                <c:pt idx="62">
                  <c:v>2617.0</c:v>
                </c:pt>
                <c:pt idx="63">
                  <c:v>2467.0</c:v>
                </c:pt>
                <c:pt idx="64">
                  <c:v>3173.0</c:v>
                </c:pt>
                <c:pt idx="65">
                  <c:v>3636.0</c:v>
                </c:pt>
                <c:pt idx="66">
                  <c:v>3676.0</c:v>
                </c:pt>
                <c:pt idx="67">
                  <c:v>3820.0</c:v>
                </c:pt>
                <c:pt idx="68">
                  <c:v>3977.0</c:v>
                </c:pt>
                <c:pt idx="69">
                  <c:v>3134.0</c:v>
                </c:pt>
                <c:pt idx="70">
                  <c:v>3126.0</c:v>
                </c:pt>
                <c:pt idx="71">
                  <c:v>3150.0</c:v>
                </c:pt>
                <c:pt idx="72">
                  <c:v>4139.0</c:v>
                </c:pt>
                <c:pt idx="73">
                  <c:v>4670.0</c:v>
                </c:pt>
                <c:pt idx="74">
                  <c:v>7348.0</c:v>
                </c:pt>
                <c:pt idx="75">
                  <c:v>5669.0</c:v>
                </c:pt>
                <c:pt idx="76">
                  <c:v>1460.0</c:v>
                </c:pt>
                <c:pt idx="77">
                  <c:v>2788.0</c:v>
                </c:pt>
                <c:pt idx="78">
                  <c:v>2823.0</c:v>
                </c:pt>
                <c:pt idx="79">
                  <c:v>2814.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62.0</c:v>
                </c:pt>
                <c:pt idx="40">
                  <c:v>431.0</c:v>
                </c:pt>
                <c:pt idx="41">
                  <c:v>443.0</c:v>
                </c:pt>
                <c:pt idx="42">
                  <c:v>321.0</c:v>
                </c:pt>
                <c:pt idx="43">
                  <c:v>74.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298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929.0</c:v>
                </c:pt>
                <c:pt idx="1">
                  <c:v>795.0</c:v>
                </c:pt>
                <c:pt idx="2">
                  <c:v>645.0</c:v>
                </c:pt>
                <c:pt idx="3">
                  <c:v>557.0</c:v>
                </c:pt>
                <c:pt idx="4">
                  <c:v>471.0</c:v>
                </c:pt>
                <c:pt idx="5">
                  <c:v>664.0</c:v>
                </c:pt>
                <c:pt idx="6">
                  <c:v>1039.0</c:v>
                </c:pt>
                <c:pt idx="7">
                  <c:v>1087.0</c:v>
                </c:pt>
                <c:pt idx="8">
                  <c:v>993.0</c:v>
                </c:pt>
                <c:pt idx="9">
                  <c:v>1148.0</c:v>
                </c:pt>
                <c:pt idx="10">
                  <c:v>1336.0</c:v>
                </c:pt>
                <c:pt idx="11">
                  <c:v>1243.0</c:v>
                </c:pt>
                <c:pt idx="12">
                  <c:v>1465.0</c:v>
                </c:pt>
                <c:pt idx="13">
                  <c:v>1280.0</c:v>
                </c:pt>
                <c:pt idx="14">
                  <c:v>1282.0</c:v>
                </c:pt>
                <c:pt idx="15">
                  <c:v>1259.0</c:v>
                </c:pt>
                <c:pt idx="16">
                  <c:v>1491.0</c:v>
                </c:pt>
                <c:pt idx="17">
                  <c:v>1575.0</c:v>
                </c:pt>
                <c:pt idx="18">
                  <c:v>1554.0</c:v>
                </c:pt>
                <c:pt idx="19">
                  <c:v>1747.0</c:v>
                </c:pt>
                <c:pt idx="20">
                  <c:v>2021.0</c:v>
                </c:pt>
                <c:pt idx="21">
                  <c:v>2485.0</c:v>
                </c:pt>
                <c:pt idx="22">
                  <c:v>3715.0</c:v>
                </c:pt>
                <c:pt idx="23">
                  <c:v>2689.0</c:v>
                </c:pt>
                <c:pt idx="24">
                  <c:v>2710.0</c:v>
                </c:pt>
                <c:pt idx="25">
                  <c:v>1072.0</c:v>
                </c:pt>
                <c:pt idx="26">
                  <c:v>964.0</c:v>
                </c:pt>
                <c:pt idx="27">
                  <c:v>1060.0</c:v>
                </c:pt>
                <c:pt idx="28">
                  <c:v>1035.0</c:v>
                </c:pt>
                <c:pt idx="29">
                  <c:v>1249.0</c:v>
                </c:pt>
                <c:pt idx="30">
                  <c:v>1319.0</c:v>
                </c:pt>
                <c:pt idx="31">
                  <c:v>1031.0</c:v>
                </c:pt>
                <c:pt idx="32">
                  <c:v>1180.0</c:v>
                </c:pt>
                <c:pt idx="33">
                  <c:v>1136.0</c:v>
                </c:pt>
                <c:pt idx="34">
                  <c:v>1199.0</c:v>
                </c:pt>
                <c:pt idx="35">
                  <c:v>1249.0</c:v>
                </c:pt>
                <c:pt idx="36">
                  <c:v>1292.0</c:v>
                </c:pt>
                <c:pt idx="37">
                  <c:v>1155.0</c:v>
                </c:pt>
                <c:pt idx="38">
                  <c:v>1058.0</c:v>
                </c:pt>
                <c:pt idx="39">
                  <c:v>1051.0</c:v>
                </c:pt>
                <c:pt idx="40">
                  <c:v>1038.0</c:v>
                </c:pt>
                <c:pt idx="41">
                  <c:v>1047.0</c:v>
                </c:pt>
                <c:pt idx="42">
                  <c:v>763.0</c:v>
                </c:pt>
                <c:pt idx="43">
                  <c:v>1042.0</c:v>
                </c:pt>
                <c:pt idx="44">
                  <c:v>1229.0</c:v>
                </c:pt>
                <c:pt idx="45">
                  <c:v>1258.0</c:v>
                </c:pt>
                <c:pt idx="46">
                  <c:v>1257.0</c:v>
                </c:pt>
                <c:pt idx="47">
                  <c:v>2504.0</c:v>
                </c:pt>
                <c:pt idx="48">
                  <c:v>1874.0</c:v>
                </c:pt>
                <c:pt idx="49">
                  <c:v>2002.0</c:v>
                </c:pt>
                <c:pt idx="50">
                  <c:v>1573.0</c:v>
                </c:pt>
                <c:pt idx="51">
                  <c:v>1290.0</c:v>
                </c:pt>
                <c:pt idx="52">
                  <c:v>1077.0</c:v>
                </c:pt>
                <c:pt idx="53">
                  <c:v>1021.0</c:v>
                </c:pt>
                <c:pt idx="54">
                  <c:v>809.0</c:v>
                </c:pt>
                <c:pt idx="55">
                  <c:v>598.0</c:v>
                </c:pt>
                <c:pt idx="56">
                  <c:v>536.0</c:v>
                </c:pt>
                <c:pt idx="57">
                  <c:v>748.0</c:v>
                </c:pt>
                <c:pt idx="58">
                  <c:v>1080.0</c:v>
                </c:pt>
                <c:pt idx="59">
                  <c:v>1145.0</c:v>
                </c:pt>
                <c:pt idx="60">
                  <c:v>1170.0</c:v>
                </c:pt>
                <c:pt idx="61">
                  <c:v>1161.0</c:v>
                </c:pt>
                <c:pt idx="62">
                  <c:v>1167.0</c:v>
                </c:pt>
                <c:pt idx="63">
                  <c:v>1219.0</c:v>
                </c:pt>
                <c:pt idx="64">
                  <c:v>1459.0</c:v>
                </c:pt>
                <c:pt idx="65">
                  <c:v>1667.0</c:v>
                </c:pt>
                <c:pt idx="66">
                  <c:v>1722.0</c:v>
                </c:pt>
                <c:pt idx="67">
                  <c:v>1651.0</c:v>
                </c:pt>
                <c:pt idx="68">
                  <c:v>1695.0</c:v>
                </c:pt>
                <c:pt idx="69">
                  <c:v>1458.0</c:v>
                </c:pt>
                <c:pt idx="70">
                  <c:v>1465.0</c:v>
                </c:pt>
                <c:pt idx="71">
                  <c:v>1320.0</c:v>
                </c:pt>
                <c:pt idx="72">
                  <c:v>1871.0</c:v>
                </c:pt>
                <c:pt idx="73">
                  <c:v>2028.0</c:v>
                </c:pt>
                <c:pt idx="74">
                  <c:v>3074.0</c:v>
                </c:pt>
                <c:pt idx="75">
                  <c:v>2481.0</c:v>
                </c:pt>
                <c:pt idx="76">
                  <c:v>658.0</c:v>
                </c:pt>
                <c:pt idx="77">
                  <c:v>1454.0</c:v>
                </c:pt>
                <c:pt idx="78">
                  <c:v>1247.0</c:v>
                </c:pt>
                <c:pt idx="79">
                  <c:v>1338.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61.0</c:v>
                </c:pt>
                <c:pt idx="40">
                  <c:v>226.0</c:v>
                </c:pt>
                <c:pt idx="41">
                  <c:v>228.0</c:v>
                </c:pt>
                <c:pt idx="42">
                  <c:v>147.0</c:v>
                </c:pt>
                <c:pt idx="43">
                  <c:v>3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39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596.0</c:v>
                </c:pt>
                <c:pt idx="1">
                  <c:v>532.0</c:v>
                </c:pt>
                <c:pt idx="2">
                  <c:v>414.0</c:v>
                </c:pt>
                <c:pt idx="3">
                  <c:v>311.0</c:v>
                </c:pt>
                <c:pt idx="4">
                  <c:v>310.0</c:v>
                </c:pt>
                <c:pt idx="5">
                  <c:v>401.0</c:v>
                </c:pt>
                <c:pt idx="6">
                  <c:v>526.0</c:v>
                </c:pt>
                <c:pt idx="7">
                  <c:v>591.0</c:v>
                </c:pt>
                <c:pt idx="8">
                  <c:v>547.0</c:v>
                </c:pt>
                <c:pt idx="9">
                  <c:v>581.0</c:v>
                </c:pt>
                <c:pt idx="10">
                  <c:v>722.0</c:v>
                </c:pt>
                <c:pt idx="11">
                  <c:v>499.0</c:v>
                </c:pt>
                <c:pt idx="12">
                  <c:v>655.0</c:v>
                </c:pt>
                <c:pt idx="13">
                  <c:v>583.0</c:v>
                </c:pt>
                <c:pt idx="14">
                  <c:v>859.0</c:v>
                </c:pt>
                <c:pt idx="15">
                  <c:v>707.0</c:v>
                </c:pt>
                <c:pt idx="16">
                  <c:v>662.0</c:v>
                </c:pt>
                <c:pt idx="17">
                  <c:v>700.0</c:v>
                </c:pt>
                <c:pt idx="18">
                  <c:v>650.0</c:v>
                </c:pt>
                <c:pt idx="19">
                  <c:v>947.0</c:v>
                </c:pt>
                <c:pt idx="20">
                  <c:v>940.0</c:v>
                </c:pt>
                <c:pt idx="21">
                  <c:v>1217.0</c:v>
                </c:pt>
                <c:pt idx="22">
                  <c:v>2156.0</c:v>
                </c:pt>
                <c:pt idx="23">
                  <c:v>1454.0</c:v>
                </c:pt>
                <c:pt idx="24">
                  <c:v>1306.0</c:v>
                </c:pt>
                <c:pt idx="25">
                  <c:v>419.0</c:v>
                </c:pt>
                <c:pt idx="26">
                  <c:v>377.0</c:v>
                </c:pt>
                <c:pt idx="27">
                  <c:v>486.0</c:v>
                </c:pt>
                <c:pt idx="28">
                  <c:v>379.0</c:v>
                </c:pt>
                <c:pt idx="29">
                  <c:v>484.0</c:v>
                </c:pt>
                <c:pt idx="30">
                  <c:v>545.0</c:v>
                </c:pt>
                <c:pt idx="31">
                  <c:v>457.0</c:v>
                </c:pt>
                <c:pt idx="32">
                  <c:v>476.0</c:v>
                </c:pt>
                <c:pt idx="33">
                  <c:v>511.0</c:v>
                </c:pt>
                <c:pt idx="34">
                  <c:v>474.0</c:v>
                </c:pt>
                <c:pt idx="35">
                  <c:v>468.0</c:v>
                </c:pt>
                <c:pt idx="36">
                  <c:v>596.0</c:v>
                </c:pt>
                <c:pt idx="37">
                  <c:v>494.0</c:v>
                </c:pt>
                <c:pt idx="38">
                  <c:v>531.0</c:v>
                </c:pt>
                <c:pt idx="39">
                  <c:v>468.0</c:v>
                </c:pt>
                <c:pt idx="40">
                  <c:v>494.0</c:v>
                </c:pt>
                <c:pt idx="41">
                  <c:v>541.0</c:v>
                </c:pt>
                <c:pt idx="42">
                  <c:v>402.0</c:v>
                </c:pt>
                <c:pt idx="43">
                  <c:v>477.0</c:v>
                </c:pt>
                <c:pt idx="44">
                  <c:v>644.0</c:v>
                </c:pt>
                <c:pt idx="45">
                  <c:v>546.0</c:v>
                </c:pt>
                <c:pt idx="46">
                  <c:v>572.0</c:v>
                </c:pt>
                <c:pt idx="47">
                  <c:v>1296.0</c:v>
                </c:pt>
                <c:pt idx="48">
                  <c:v>871.0</c:v>
                </c:pt>
                <c:pt idx="49">
                  <c:v>929.0</c:v>
                </c:pt>
                <c:pt idx="50">
                  <c:v>809.0</c:v>
                </c:pt>
                <c:pt idx="51">
                  <c:v>614.0</c:v>
                </c:pt>
                <c:pt idx="52">
                  <c:v>603.0</c:v>
                </c:pt>
                <c:pt idx="53">
                  <c:v>541.0</c:v>
                </c:pt>
                <c:pt idx="54">
                  <c:v>532.0</c:v>
                </c:pt>
                <c:pt idx="55">
                  <c:v>401.0</c:v>
                </c:pt>
                <c:pt idx="56">
                  <c:v>381.0</c:v>
                </c:pt>
                <c:pt idx="57">
                  <c:v>415.0</c:v>
                </c:pt>
                <c:pt idx="58">
                  <c:v>611.0</c:v>
                </c:pt>
                <c:pt idx="59">
                  <c:v>477.0</c:v>
                </c:pt>
                <c:pt idx="60">
                  <c:v>544.0</c:v>
                </c:pt>
                <c:pt idx="61">
                  <c:v>588.0</c:v>
                </c:pt>
                <c:pt idx="62">
                  <c:v>582.0</c:v>
                </c:pt>
                <c:pt idx="63">
                  <c:v>456.0</c:v>
                </c:pt>
                <c:pt idx="64">
                  <c:v>636.0</c:v>
                </c:pt>
                <c:pt idx="65">
                  <c:v>746.0</c:v>
                </c:pt>
                <c:pt idx="66">
                  <c:v>838.0</c:v>
                </c:pt>
                <c:pt idx="67">
                  <c:v>882.0</c:v>
                </c:pt>
                <c:pt idx="68">
                  <c:v>894.0</c:v>
                </c:pt>
                <c:pt idx="69">
                  <c:v>650.0</c:v>
                </c:pt>
                <c:pt idx="70">
                  <c:v>659.0</c:v>
                </c:pt>
                <c:pt idx="71">
                  <c:v>687.0</c:v>
                </c:pt>
                <c:pt idx="72">
                  <c:v>815.0</c:v>
                </c:pt>
                <c:pt idx="73">
                  <c:v>980.0</c:v>
                </c:pt>
                <c:pt idx="74">
                  <c:v>1738.0</c:v>
                </c:pt>
                <c:pt idx="75">
                  <c:v>1319.0</c:v>
                </c:pt>
                <c:pt idx="76">
                  <c:v>363.0</c:v>
                </c:pt>
                <c:pt idx="77">
                  <c:v>567.0</c:v>
                </c:pt>
                <c:pt idx="78">
                  <c:v>563.0</c:v>
                </c:pt>
                <c:pt idx="79">
                  <c:v>604.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77.0</c:v>
                </c:pt>
                <c:pt idx="40">
                  <c:v>73.0</c:v>
                </c:pt>
                <c:pt idx="41">
                  <c:v>78.0</c:v>
                </c:pt>
                <c:pt idx="42">
                  <c:v>72.0</c:v>
                </c:pt>
                <c:pt idx="43">
                  <c:v>1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19.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17.0</c:v>
                </c:pt>
                <c:pt idx="1">
                  <c:v>329.0</c:v>
                </c:pt>
                <c:pt idx="2">
                  <c:v>218.0</c:v>
                </c:pt>
                <c:pt idx="3">
                  <c:v>235.0</c:v>
                </c:pt>
                <c:pt idx="4">
                  <c:v>210.0</c:v>
                </c:pt>
                <c:pt idx="5">
                  <c:v>251.0</c:v>
                </c:pt>
                <c:pt idx="6">
                  <c:v>321.0</c:v>
                </c:pt>
                <c:pt idx="7">
                  <c:v>376.0</c:v>
                </c:pt>
                <c:pt idx="8">
                  <c:v>362.0</c:v>
                </c:pt>
                <c:pt idx="9">
                  <c:v>424.0</c:v>
                </c:pt>
                <c:pt idx="10">
                  <c:v>389.0</c:v>
                </c:pt>
                <c:pt idx="11">
                  <c:v>358.0</c:v>
                </c:pt>
                <c:pt idx="12">
                  <c:v>415.0</c:v>
                </c:pt>
                <c:pt idx="13">
                  <c:v>314.0</c:v>
                </c:pt>
                <c:pt idx="14">
                  <c:v>334.0</c:v>
                </c:pt>
                <c:pt idx="15">
                  <c:v>377.0</c:v>
                </c:pt>
                <c:pt idx="16">
                  <c:v>263.0</c:v>
                </c:pt>
                <c:pt idx="17">
                  <c:v>414.0</c:v>
                </c:pt>
                <c:pt idx="18">
                  <c:v>432.0</c:v>
                </c:pt>
                <c:pt idx="19">
                  <c:v>432.0</c:v>
                </c:pt>
                <c:pt idx="20">
                  <c:v>398.0</c:v>
                </c:pt>
                <c:pt idx="21">
                  <c:v>531.0</c:v>
                </c:pt>
                <c:pt idx="22">
                  <c:v>816.0</c:v>
                </c:pt>
                <c:pt idx="23">
                  <c:v>579.0</c:v>
                </c:pt>
                <c:pt idx="24">
                  <c:v>685.0</c:v>
                </c:pt>
                <c:pt idx="25">
                  <c:v>251.0</c:v>
                </c:pt>
                <c:pt idx="26">
                  <c:v>258.0</c:v>
                </c:pt>
                <c:pt idx="27">
                  <c:v>282.0</c:v>
                </c:pt>
                <c:pt idx="28">
                  <c:v>253.0</c:v>
                </c:pt>
                <c:pt idx="29">
                  <c:v>289.0</c:v>
                </c:pt>
                <c:pt idx="30">
                  <c:v>390.0</c:v>
                </c:pt>
                <c:pt idx="31">
                  <c:v>250.0</c:v>
                </c:pt>
                <c:pt idx="32">
                  <c:v>265.0</c:v>
                </c:pt>
                <c:pt idx="33">
                  <c:v>244.0</c:v>
                </c:pt>
                <c:pt idx="34">
                  <c:v>248.0</c:v>
                </c:pt>
                <c:pt idx="35">
                  <c:v>254.0</c:v>
                </c:pt>
                <c:pt idx="36">
                  <c:v>304.0</c:v>
                </c:pt>
                <c:pt idx="37">
                  <c:v>280.0</c:v>
                </c:pt>
                <c:pt idx="38">
                  <c:v>275.0</c:v>
                </c:pt>
                <c:pt idx="39">
                  <c:v>258.0</c:v>
                </c:pt>
                <c:pt idx="40">
                  <c:v>252.0</c:v>
                </c:pt>
                <c:pt idx="41">
                  <c:v>276.0</c:v>
                </c:pt>
                <c:pt idx="42">
                  <c:v>217.0</c:v>
                </c:pt>
                <c:pt idx="43">
                  <c:v>348.0</c:v>
                </c:pt>
                <c:pt idx="44">
                  <c:v>247.0</c:v>
                </c:pt>
                <c:pt idx="45">
                  <c:v>276.0</c:v>
                </c:pt>
                <c:pt idx="46">
                  <c:v>276.0</c:v>
                </c:pt>
                <c:pt idx="47">
                  <c:v>611.0</c:v>
                </c:pt>
                <c:pt idx="48">
                  <c:v>376.0</c:v>
                </c:pt>
                <c:pt idx="49">
                  <c:v>558.0</c:v>
                </c:pt>
                <c:pt idx="50">
                  <c:v>402.0</c:v>
                </c:pt>
                <c:pt idx="51">
                  <c:v>314.0</c:v>
                </c:pt>
                <c:pt idx="52">
                  <c:v>294.0</c:v>
                </c:pt>
                <c:pt idx="53">
                  <c:v>284.0</c:v>
                </c:pt>
                <c:pt idx="54">
                  <c:v>198.0</c:v>
                </c:pt>
                <c:pt idx="55">
                  <c:v>219.0</c:v>
                </c:pt>
                <c:pt idx="56">
                  <c:v>184.0</c:v>
                </c:pt>
                <c:pt idx="57">
                  <c:v>373.0</c:v>
                </c:pt>
                <c:pt idx="58">
                  <c:v>274.0</c:v>
                </c:pt>
                <c:pt idx="59">
                  <c:v>343.0</c:v>
                </c:pt>
                <c:pt idx="60">
                  <c:v>350.0</c:v>
                </c:pt>
                <c:pt idx="61">
                  <c:v>263.0</c:v>
                </c:pt>
                <c:pt idx="62">
                  <c:v>291.0</c:v>
                </c:pt>
                <c:pt idx="63">
                  <c:v>314.0</c:v>
                </c:pt>
                <c:pt idx="64">
                  <c:v>377.0</c:v>
                </c:pt>
                <c:pt idx="65">
                  <c:v>414.0</c:v>
                </c:pt>
                <c:pt idx="66">
                  <c:v>377.0</c:v>
                </c:pt>
                <c:pt idx="67">
                  <c:v>354.0</c:v>
                </c:pt>
                <c:pt idx="68">
                  <c:v>472.0</c:v>
                </c:pt>
                <c:pt idx="69">
                  <c:v>400.0</c:v>
                </c:pt>
                <c:pt idx="70">
                  <c:v>322.0</c:v>
                </c:pt>
                <c:pt idx="71">
                  <c:v>342.0</c:v>
                </c:pt>
                <c:pt idx="72">
                  <c:v>439.0</c:v>
                </c:pt>
                <c:pt idx="73">
                  <c:v>525.0</c:v>
                </c:pt>
                <c:pt idx="74">
                  <c:v>615.0</c:v>
                </c:pt>
                <c:pt idx="75">
                  <c:v>543.0</c:v>
                </c:pt>
                <c:pt idx="76">
                  <c:v>120.0</c:v>
                </c:pt>
                <c:pt idx="77">
                  <c:v>287.0</c:v>
                </c:pt>
                <c:pt idx="78">
                  <c:v>349.0</c:v>
                </c:pt>
                <c:pt idx="79">
                  <c:v>314.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1.0</c:v>
                </c:pt>
                <c:pt idx="40">
                  <c:v>43.0</c:v>
                </c:pt>
                <c:pt idx="41">
                  <c:v>51.0</c:v>
                </c:pt>
                <c:pt idx="42">
                  <c:v>39.0</c:v>
                </c:pt>
                <c:pt idx="43">
                  <c:v>11.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85.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8.0</c:v>
                </c:pt>
                <c:pt idx="1">
                  <c:v>7.0</c:v>
                </c:pt>
                <c:pt idx="2">
                  <c:v>4.0</c:v>
                </c:pt>
                <c:pt idx="3">
                  <c:v>12.0</c:v>
                </c:pt>
                <c:pt idx="4">
                  <c:v>8.0</c:v>
                </c:pt>
                <c:pt idx="5">
                  <c:v>4.0</c:v>
                </c:pt>
                <c:pt idx="6">
                  <c:v>10.0</c:v>
                </c:pt>
                <c:pt idx="7">
                  <c:v>7.0</c:v>
                </c:pt>
                <c:pt idx="8">
                  <c:v>9.0</c:v>
                </c:pt>
                <c:pt idx="9">
                  <c:v>4.0</c:v>
                </c:pt>
                <c:pt idx="10">
                  <c:v>7.0</c:v>
                </c:pt>
                <c:pt idx="11">
                  <c:v>5.0</c:v>
                </c:pt>
                <c:pt idx="12">
                  <c:v>13.0</c:v>
                </c:pt>
                <c:pt idx="13">
                  <c:v>10.0</c:v>
                </c:pt>
                <c:pt idx="14">
                  <c:v>6.0</c:v>
                </c:pt>
                <c:pt idx="15">
                  <c:v>3.0</c:v>
                </c:pt>
                <c:pt idx="16">
                  <c:v>8.0</c:v>
                </c:pt>
                <c:pt idx="17">
                  <c:v>8.0</c:v>
                </c:pt>
                <c:pt idx="18">
                  <c:v>6.0</c:v>
                </c:pt>
                <c:pt idx="19">
                  <c:v>28.0</c:v>
                </c:pt>
                <c:pt idx="20">
                  <c:v>9.0</c:v>
                </c:pt>
                <c:pt idx="21">
                  <c:v>8.0</c:v>
                </c:pt>
                <c:pt idx="22">
                  <c:v>17.0</c:v>
                </c:pt>
                <c:pt idx="23">
                  <c:v>19.0</c:v>
                </c:pt>
                <c:pt idx="24">
                  <c:v>7.0</c:v>
                </c:pt>
                <c:pt idx="25">
                  <c:v>5.0</c:v>
                </c:pt>
                <c:pt idx="26">
                  <c:v>12.0</c:v>
                </c:pt>
                <c:pt idx="27">
                  <c:v>4.0</c:v>
                </c:pt>
                <c:pt idx="28">
                  <c:v>5.0</c:v>
                </c:pt>
                <c:pt idx="29">
                  <c:v>6.0</c:v>
                </c:pt>
                <c:pt idx="30">
                  <c:v>9.0</c:v>
                </c:pt>
                <c:pt idx="31">
                  <c:v>9.0</c:v>
                </c:pt>
                <c:pt idx="32">
                  <c:v>1.0</c:v>
                </c:pt>
                <c:pt idx="33">
                  <c:v>4.0</c:v>
                </c:pt>
                <c:pt idx="34">
                  <c:v>6.0</c:v>
                </c:pt>
                <c:pt idx="35">
                  <c:v>20.0</c:v>
                </c:pt>
                <c:pt idx="36">
                  <c:v>6.0</c:v>
                </c:pt>
                <c:pt idx="37">
                  <c:v>24.0</c:v>
                </c:pt>
                <c:pt idx="38">
                  <c:v>3.0</c:v>
                </c:pt>
                <c:pt idx="39">
                  <c:v>2.0</c:v>
                </c:pt>
                <c:pt idx="40">
                  <c:v>0.0</c:v>
                </c:pt>
                <c:pt idx="41">
                  <c:v>0.0</c:v>
                </c:pt>
                <c:pt idx="42">
                  <c:v>0.0</c:v>
                </c:pt>
                <c:pt idx="43">
                  <c:v>9.0</c:v>
                </c:pt>
                <c:pt idx="44">
                  <c:v>6.0</c:v>
                </c:pt>
                <c:pt idx="45">
                  <c:v>7.0</c:v>
                </c:pt>
                <c:pt idx="46">
                  <c:v>5.0</c:v>
                </c:pt>
                <c:pt idx="47">
                  <c:v>16.0</c:v>
                </c:pt>
                <c:pt idx="48">
                  <c:v>9.0</c:v>
                </c:pt>
                <c:pt idx="49">
                  <c:v>9.0</c:v>
                </c:pt>
                <c:pt idx="50">
                  <c:v>6.0</c:v>
                </c:pt>
                <c:pt idx="51">
                  <c:v>7.0</c:v>
                </c:pt>
                <c:pt idx="52">
                  <c:v>4.0</c:v>
                </c:pt>
                <c:pt idx="53">
                  <c:v>3.0</c:v>
                </c:pt>
                <c:pt idx="54">
                  <c:v>2.0</c:v>
                </c:pt>
                <c:pt idx="55">
                  <c:v>4.0</c:v>
                </c:pt>
                <c:pt idx="56">
                  <c:v>5.0</c:v>
                </c:pt>
                <c:pt idx="57">
                  <c:v>8.0</c:v>
                </c:pt>
                <c:pt idx="58">
                  <c:v>5.0</c:v>
                </c:pt>
                <c:pt idx="59">
                  <c:v>7.0</c:v>
                </c:pt>
                <c:pt idx="60">
                  <c:v>5.0</c:v>
                </c:pt>
                <c:pt idx="61">
                  <c:v>6.0</c:v>
                </c:pt>
                <c:pt idx="62">
                  <c:v>5.0</c:v>
                </c:pt>
                <c:pt idx="63">
                  <c:v>5.0</c:v>
                </c:pt>
                <c:pt idx="64">
                  <c:v>3.0</c:v>
                </c:pt>
                <c:pt idx="65">
                  <c:v>5.0</c:v>
                </c:pt>
                <c:pt idx="66">
                  <c:v>2.0</c:v>
                </c:pt>
                <c:pt idx="67">
                  <c:v>4.0</c:v>
                </c:pt>
                <c:pt idx="68">
                  <c:v>6.0</c:v>
                </c:pt>
                <c:pt idx="69">
                  <c:v>6.0</c:v>
                </c:pt>
                <c:pt idx="70">
                  <c:v>6.0</c:v>
                </c:pt>
                <c:pt idx="71">
                  <c:v>1.0</c:v>
                </c:pt>
                <c:pt idx="72">
                  <c:v>14.0</c:v>
                </c:pt>
                <c:pt idx="73">
                  <c:v>0.0</c:v>
                </c:pt>
                <c:pt idx="74">
                  <c:v>2.0</c:v>
                </c:pt>
                <c:pt idx="75">
                  <c:v>1.0</c:v>
                </c:pt>
                <c:pt idx="76">
                  <c:v>1.0</c:v>
                </c:pt>
                <c:pt idx="77">
                  <c:v>2.0</c:v>
                </c:pt>
                <c:pt idx="78">
                  <c:v>0.0</c:v>
                </c:pt>
                <c:pt idx="79">
                  <c:v>4.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5.0</c:v>
                </c:pt>
                <c:pt idx="40">
                  <c:v>72.0</c:v>
                </c:pt>
                <c:pt idx="41">
                  <c:v>46.0</c:v>
                </c:pt>
                <c:pt idx="42">
                  <c:v>41.0</c:v>
                </c:pt>
                <c:pt idx="43">
                  <c:v>8.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8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2.0</c:v>
                </c:pt>
                <c:pt idx="1">
                  <c:v>26.0</c:v>
                </c:pt>
                <c:pt idx="2">
                  <c:v>9.0</c:v>
                </c:pt>
                <c:pt idx="3">
                  <c:v>24.0</c:v>
                </c:pt>
                <c:pt idx="4">
                  <c:v>11.0</c:v>
                </c:pt>
                <c:pt idx="5">
                  <c:v>8.0</c:v>
                </c:pt>
                <c:pt idx="6">
                  <c:v>14.0</c:v>
                </c:pt>
                <c:pt idx="7">
                  <c:v>19.0</c:v>
                </c:pt>
                <c:pt idx="8">
                  <c:v>10.0</c:v>
                </c:pt>
                <c:pt idx="9">
                  <c:v>20.0</c:v>
                </c:pt>
                <c:pt idx="10">
                  <c:v>16.0</c:v>
                </c:pt>
                <c:pt idx="11">
                  <c:v>11.0</c:v>
                </c:pt>
                <c:pt idx="12">
                  <c:v>32.0</c:v>
                </c:pt>
                <c:pt idx="13">
                  <c:v>21.0</c:v>
                </c:pt>
                <c:pt idx="14">
                  <c:v>11.0</c:v>
                </c:pt>
                <c:pt idx="15">
                  <c:v>5.0</c:v>
                </c:pt>
                <c:pt idx="16">
                  <c:v>12.0</c:v>
                </c:pt>
                <c:pt idx="17">
                  <c:v>7.0</c:v>
                </c:pt>
                <c:pt idx="18">
                  <c:v>15.0</c:v>
                </c:pt>
                <c:pt idx="19">
                  <c:v>12.0</c:v>
                </c:pt>
                <c:pt idx="20">
                  <c:v>11.0</c:v>
                </c:pt>
                <c:pt idx="21">
                  <c:v>13.0</c:v>
                </c:pt>
                <c:pt idx="22">
                  <c:v>26.0</c:v>
                </c:pt>
                <c:pt idx="23">
                  <c:v>33.0</c:v>
                </c:pt>
                <c:pt idx="24">
                  <c:v>16.0</c:v>
                </c:pt>
                <c:pt idx="25">
                  <c:v>17.0</c:v>
                </c:pt>
                <c:pt idx="26">
                  <c:v>6.0</c:v>
                </c:pt>
                <c:pt idx="27">
                  <c:v>5.0</c:v>
                </c:pt>
                <c:pt idx="28">
                  <c:v>6.0</c:v>
                </c:pt>
                <c:pt idx="29">
                  <c:v>7.0</c:v>
                </c:pt>
                <c:pt idx="30">
                  <c:v>8.0</c:v>
                </c:pt>
                <c:pt idx="31">
                  <c:v>15.0</c:v>
                </c:pt>
                <c:pt idx="32">
                  <c:v>2.0</c:v>
                </c:pt>
                <c:pt idx="33">
                  <c:v>8.0</c:v>
                </c:pt>
                <c:pt idx="34">
                  <c:v>12.0</c:v>
                </c:pt>
                <c:pt idx="35">
                  <c:v>6.0</c:v>
                </c:pt>
                <c:pt idx="36">
                  <c:v>12.0</c:v>
                </c:pt>
                <c:pt idx="37">
                  <c:v>10.0</c:v>
                </c:pt>
                <c:pt idx="38">
                  <c:v>5.0</c:v>
                </c:pt>
                <c:pt idx="39">
                  <c:v>1.0</c:v>
                </c:pt>
                <c:pt idx="40">
                  <c:v>0.0</c:v>
                </c:pt>
                <c:pt idx="41">
                  <c:v>0.0</c:v>
                </c:pt>
                <c:pt idx="42">
                  <c:v>0.0</c:v>
                </c:pt>
                <c:pt idx="43">
                  <c:v>2.0</c:v>
                </c:pt>
                <c:pt idx="44">
                  <c:v>5.0</c:v>
                </c:pt>
                <c:pt idx="45">
                  <c:v>10.0</c:v>
                </c:pt>
                <c:pt idx="46">
                  <c:v>4.0</c:v>
                </c:pt>
                <c:pt idx="47">
                  <c:v>9.0</c:v>
                </c:pt>
                <c:pt idx="48">
                  <c:v>14.0</c:v>
                </c:pt>
                <c:pt idx="49">
                  <c:v>12.0</c:v>
                </c:pt>
                <c:pt idx="50">
                  <c:v>7.0</c:v>
                </c:pt>
                <c:pt idx="51">
                  <c:v>8.0</c:v>
                </c:pt>
                <c:pt idx="52">
                  <c:v>10.0</c:v>
                </c:pt>
                <c:pt idx="53">
                  <c:v>5.0</c:v>
                </c:pt>
                <c:pt idx="54">
                  <c:v>7.0</c:v>
                </c:pt>
                <c:pt idx="55">
                  <c:v>3.0</c:v>
                </c:pt>
                <c:pt idx="56">
                  <c:v>7.0</c:v>
                </c:pt>
                <c:pt idx="57">
                  <c:v>10.0</c:v>
                </c:pt>
                <c:pt idx="58">
                  <c:v>8.0</c:v>
                </c:pt>
                <c:pt idx="59">
                  <c:v>3.0</c:v>
                </c:pt>
                <c:pt idx="60">
                  <c:v>0.0</c:v>
                </c:pt>
                <c:pt idx="61">
                  <c:v>5.0</c:v>
                </c:pt>
                <c:pt idx="62">
                  <c:v>14.0</c:v>
                </c:pt>
                <c:pt idx="63">
                  <c:v>4.0</c:v>
                </c:pt>
                <c:pt idx="64">
                  <c:v>2.0</c:v>
                </c:pt>
                <c:pt idx="65">
                  <c:v>8.0</c:v>
                </c:pt>
                <c:pt idx="66">
                  <c:v>5.0</c:v>
                </c:pt>
                <c:pt idx="67">
                  <c:v>5.0</c:v>
                </c:pt>
                <c:pt idx="68">
                  <c:v>4.0</c:v>
                </c:pt>
                <c:pt idx="69">
                  <c:v>9.0</c:v>
                </c:pt>
                <c:pt idx="70">
                  <c:v>7.0</c:v>
                </c:pt>
                <c:pt idx="71">
                  <c:v>1.0</c:v>
                </c:pt>
                <c:pt idx="72">
                  <c:v>3.0</c:v>
                </c:pt>
                <c:pt idx="73">
                  <c:v>6.0</c:v>
                </c:pt>
                <c:pt idx="74">
                  <c:v>8.0</c:v>
                </c:pt>
                <c:pt idx="75">
                  <c:v>6.0</c:v>
                </c:pt>
                <c:pt idx="76">
                  <c:v>1.0</c:v>
                </c:pt>
                <c:pt idx="77">
                  <c:v>7.0</c:v>
                </c:pt>
                <c:pt idx="78">
                  <c:v>4.0</c:v>
                </c:pt>
                <c:pt idx="79">
                  <c:v>3.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1.0</c:v>
                </c:pt>
                <c:pt idx="40">
                  <c:v>75.0</c:v>
                </c:pt>
                <c:pt idx="41">
                  <c:v>73.0</c:v>
                </c:pt>
                <c:pt idx="42">
                  <c:v>56.0</c:v>
                </c:pt>
                <c:pt idx="43">
                  <c:v>2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92.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8.0</c:v>
                </c:pt>
                <c:pt idx="1">
                  <c:v>6.0</c:v>
                </c:pt>
                <c:pt idx="2">
                  <c:v>8.0</c:v>
                </c:pt>
                <c:pt idx="3">
                  <c:v>10.0</c:v>
                </c:pt>
                <c:pt idx="4">
                  <c:v>7.0</c:v>
                </c:pt>
                <c:pt idx="5">
                  <c:v>10.0</c:v>
                </c:pt>
                <c:pt idx="6">
                  <c:v>10.0</c:v>
                </c:pt>
                <c:pt idx="7">
                  <c:v>15.0</c:v>
                </c:pt>
                <c:pt idx="8">
                  <c:v>5.0</c:v>
                </c:pt>
                <c:pt idx="9">
                  <c:v>13.0</c:v>
                </c:pt>
                <c:pt idx="10">
                  <c:v>11.0</c:v>
                </c:pt>
                <c:pt idx="11">
                  <c:v>12.0</c:v>
                </c:pt>
                <c:pt idx="12">
                  <c:v>16.0</c:v>
                </c:pt>
                <c:pt idx="13">
                  <c:v>9.0</c:v>
                </c:pt>
                <c:pt idx="14">
                  <c:v>12.0</c:v>
                </c:pt>
                <c:pt idx="15">
                  <c:v>14.0</c:v>
                </c:pt>
                <c:pt idx="16">
                  <c:v>10.0</c:v>
                </c:pt>
                <c:pt idx="17">
                  <c:v>5.0</c:v>
                </c:pt>
                <c:pt idx="18">
                  <c:v>7.0</c:v>
                </c:pt>
                <c:pt idx="19">
                  <c:v>14.0</c:v>
                </c:pt>
                <c:pt idx="20">
                  <c:v>13.0</c:v>
                </c:pt>
                <c:pt idx="21">
                  <c:v>18.0</c:v>
                </c:pt>
                <c:pt idx="22">
                  <c:v>38.0</c:v>
                </c:pt>
                <c:pt idx="23">
                  <c:v>15.0</c:v>
                </c:pt>
                <c:pt idx="24">
                  <c:v>17.0</c:v>
                </c:pt>
                <c:pt idx="25">
                  <c:v>4.0</c:v>
                </c:pt>
                <c:pt idx="26">
                  <c:v>7.0</c:v>
                </c:pt>
                <c:pt idx="27">
                  <c:v>7.0</c:v>
                </c:pt>
                <c:pt idx="28">
                  <c:v>10.0</c:v>
                </c:pt>
                <c:pt idx="29">
                  <c:v>9.0</c:v>
                </c:pt>
                <c:pt idx="30">
                  <c:v>7.0</c:v>
                </c:pt>
                <c:pt idx="31">
                  <c:v>5.0</c:v>
                </c:pt>
                <c:pt idx="32">
                  <c:v>6.0</c:v>
                </c:pt>
                <c:pt idx="33">
                  <c:v>8.0</c:v>
                </c:pt>
                <c:pt idx="34">
                  <c:v>11.0</c:v>
                </c:pt>
                <c:pt idx="35">
                  <c:v>11.0</c:v>
                </c:pt>
                <c:pt idx="36">
                  <c:v>15.0</c:v>
                </c:pt>
                <c:pt idx="37">
                  <c:v>10.0</c:v>
                </c:pt>
                <c:pt idx="38">
                  <c:v>6.0</c:v>
                </c:pt>
                <c:pt idx="39">
                  <c:v>0.0</c:v>
                </c:pt>
                <c:pt idx="40">
                  <c:v>0.0</c:v>
                </c:pt>
                <c:pt idx="41">
                  <c:v>0.0</c:v>
                </c:pt>
                <c:pt idx="42">
                  <c:v>0.0</c:v>
                </c:pt>
                <c:pt idx="43">
                  <c:v>4.0</c:v>
                </c:pt>
                <c:pt idx="44">
                  <c:v>5.0</c:v>
                </c:pt>
                <c:pt idx="45">
                  <c:v>3.0</c:v>
                </c:pt>
                <c:pt idx="46">
                  <c:v>13.0</c:v>
                </c:pt>
                <c:pt idx="47">
                  <c:v>3.0</c:v>
                </c:pt>
                <c:pt idx="48">
                  <c:v>11.0</c:v>
                </c:pt>
                <c:pt idx="49">
                  <c:v>6.0</c:v>
                </c:pt>
                <c:pt idx="50">
                  <c:v>6.0</c:v>
                </c:pt>
                <c:pt idx="51">
                  <c:v>9.0</c:v>
                </c:pt>
                <c:pt idx="52">
                  <c:v>3.0</c:v>
                </c:pt>
                <c:pt idx="53">
                  <c:v>3.0</c:v>
                </c:pt>
                <c:pt idx="54">
                  <c:v>3.0</c:v>
                </c:pt>
                <c:pt idx="55">
                  <c:v>6.0</c:v>
                </c:pt>
                <c:pt idx="56">
                  <c:v>5.0</c:v>
                </c:pt>
                <c:pt idx="57">
                  <c:v>10.0</c:v>
                </c:pt>
                <c:pt idx="58">
                  <c:v>4.0</c:v>
                </c:pt>
                <c:pt idx="59">
                  <c:v>7.0</c:v>
                </c:pt>
                <c:pt idx="60">
                  <c:v>3.0</c:v>
                </c:pt>
                <c:pt idx="61">
                  <c:v>8.0</c:v>
                </c:pt>
                <c:pt idx="62">
                  <c:v>4.0</c:v>
                </c:pt>
                <c:pt idx="63">
                  <c:v>6.0</c:v>
                </c:pt>
                <c:pt idx="64">
                  <c:v>10.0</c:v>
                </c:pt>
                <c:pt idx="65">
                  <c:v>6.0</c:v>
                </c:pt>
                <c:pt idx="66">
                  <c:v>7.0</c:v>
                </c:pt>
                <c:pt idx="67">
                  <c:v>3.0</c:v>
                </c:pt>
                <c:pt idx="68">
                  <c:v>23.0</c:v>
                </c:pt>
                <c:pt idx="69">
                  <c:v>7.0</c:v>
                </c:pt>
                <c:pt idx="70">
                  <c:v>2.0</c:v>
                </c:pt>
                <c:pt idx="71">
                  <c:v>2.0</c:v>
                </c:pt>
                <c:pt idx="72">
                  <c:v>12.0</c:v>
                </c:pt>
                <c:pt idx="73">
                  <c:v>6.0</c:v>
                </c:pt>
                <c:pt idx="74">
                  <c:v>8.0</c:v>
                </c:pt>
                <c:pt idx="75">
                  <c:v>12.0</c:v>
                </c:pt>
                <c:pt idx="76">
                  <c:v>1.0</c:v>
                </c:pt>
                <c:pt idx="77">
                  <c:v>4.0</c:v>
                </c:pt>
                <c:pt idx="78">
                  <c:v>6.0</c:v>
                </c:pt>
                <c:pt idx="79">
                  <c:v>5.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67.0</c:v>
                </c:pt>
                <c:pt idx="40">
                  <c:v>58.0</c:v>
                </c:pt>
                <c:pt idx="41">
                  <c:v>69.0</c:v>
                </c:pt>
                <c:pt idx="42">
                  <c:v>45.0</c:v>
                </c:pt>
                <c:pt idx="43">
                  <c:v>1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2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6.0</c:v>
                </c:pt>
                <c:pt idx="1">
                  <c:v>16.0</c:v>
                </c:pt>
                <c:pt idx="2">
                  <c:v>7.0</c:v>
                </c:pt>
                <c:pt idx="3">
                  <c:v>10.0</c:v>
                </c:pt>
                <c:pt idx="4">
                  <c:v>13.0</c:v>
                </c:pt>
                <c:pt idx="5">
                  <c:v>11.0</c:v>
                </c:pt>
                <c:pt idx="6">
                  <c:v>25.0</c:v>
                </c:pt>
                <c:pt idx="7">
                  <c:v>10.0</c:v>
                </c:pt>
                <c:pt idx="8">
                  <c:v>8.0</c:v>
                </c:pt>
                <c:pt idx="9">
                  <c:v>9.0</c:v>
                </c:pt>
                <c:pt idx="10">
                  <c:v>14.0</c:v>
                </c:pt>
                <c:pt idx="11">
                  <c:v>12.0</c:v>
                </c:pt>
                <c:pt idx="12">
                  <c:v>21.0</c:v>
                </c:pt>
                <c:pt idx="13">
                  <c:v>17.0</c:v>
                </c:pt>
                <c:pt idx="14">
                  <c:v>10.0</c:v>
                </c:pt>
                <c:pt idx="15">
                  <c:v>16.0</c:v>
                </c:pt>
                <c:pt idx="16">
                  <c:v>19.0</c:v>
                </c:pt>
                <c:pt idx="17">
                  <c:v>12.0</c:v>
                </c:pt>
                <c:pt idx="18">
                  <c:v>19.0</c:v>
                </c:pt>
                <c:pt idx="19">
                  <c:v>13.0</c:v>
                </c:pt>
                <c:pt idx="20">
                  <c:v>16.0</c:v>
                </c:pt>
                <c:pt idx="21">
                  <c:v>19.0</c:v>
                </c:pt>
                <c:pt idx="22">
                  <c:v>68.0</c:v>
                </c:pt>
                <c:pt idx="23">
                  <c:v>21.0</c:v>
                </c:pt>
                <c:pt idx="24">
                  <c:v>24.0</c:v>
                </c:pt>
                <c:pt idx="25">
                  <c:v>10.0</c:v>
                </c:pt>
                <c:pt idx="26">
                  <c:v>10.0</c:v>
                </c:pt>
                <c:pt idx="27">
                  <c:v>5.0</c:v>
                </c:pt>
                <c:pt idx="28">
                  <c:v>4.0</c:v>
                </c:pt>
                <c:pt idx="29">
                  <c:v>11.0</c:v>
                </c:pt>
                <c:pt idx="30">
                  <c:v>17.0</c:v>
                </c:pt>
                <c:pt idx="31">
                  <c:v>10.0</c:v>
                </c:pt>
                <c:pt idx="32">
                  <c:v>4.0</c:v>
                </c:pt>
                <c:pt idx="33">
                  <c:v>11.0</c:v>
                </c:pt>
                <c:pt idx="34">
                  <c:v>18.0</c:v>
                </c:pt>
                <c:pt idx="35">
                  <c:v>7.0</c:v>
                </c:pt>
                <c:pt idx="36">
                  <c:v>15.0</c:v>
                </c:pt>
                <c:pt idx="37">
                  <c:v>10.0</c:v>
                </c:pt>
                <c:pt idx="38">
                  <c:v>12.0</c:v>
                </c:pt>
                <c:pt idx="39">
                  <c:v>1.0</c:v>
                </c:pt>
                <c:pt idx="40">
                  <c:v>0.0</c:v>
                </c:pt>
                <c:pt idx="41">
                  <c:v>0.0</c:v>
                </c:pt>
                <c:pt idx="42">
                  <c:v>0.0</c:v>
                </c:pt>
                <c:pt idx="43">
                  <c:v>5.0</c:v>
                </c:pt>
                <c:pt idx="44">
                  <c:v>5.0</c:v>
                </c:pt>
                <c:pt idx="45">
                  <c:v>6.0</c:v>
                </c:pt>
                <c:pt idx="46">
                  <c:v>9.0</c:v>
                </c:pt>
                <c:pt idx="47">
                  <c:v>11.0</c:v>
                </c:pt>
                <c:pt idx="48">
                  <c:v>10.0</c:v>
                </c:pt>
                <c:pt idx="49">
                  <c:v>12.0</c:v>
                </c:pt>
                <c:pt idx="50">
                  <c:v>9.0</c:v>
                </c:pt>
                <c:pt idx="51">
                  <c:v>7.0</c:v>
                </c:pt>
                <c:pt idx="52">
                  <c:v>11.0</c:v>
                </c:pt>
                <c:pt idx="53">
                  <c:v>5.0</c:v>
                </c:pt>
                <c:pt idx="54">
                  <c:v>4.0</c:v>
                </c:pt>
                <c:pt idx="55">
                  <c:v>6.0</c:v>
                </c:pt>
                <c:pt idx="56">
                  <c:v>1.0</c:v>
                </c:pt>
                <c:pt idx="57">
                  <c:v>6.0</c:v>
                </c:pt>
                <c:pt idx="58">
                  <c:v>7.0</c:v>
                </c:pt>
                <c:pt idx="59">
                  <c:v>5.0</c:v>
                </c:pt>
                <c:pt idx="60">
                  <c:v>11.0</c:v>
                </c:pt>
                <c:pt idx="61">
                  <c:v>3.0</c:v>
                </c:pt>
                <c:pt idx="62">
                  <c:v>5.0</c:v>
                </c:pt>
                <c:pt idx="63">
                  <c:v>11.0</c:v>
                </c:pt>
                <c:pt idx="64">
                  <c:v>8.0</c:v>
                </c:pt>
                <c:pt idx="65">
                  <c:v>11.0</c:v>
                </c:pt>
                <c:pt idx="66">
                  <c:v>9.0</c:v>
                </c:pt>
                <c:pt idx="67">
                  <c:v>5.0</c:v>
                </c:pt>
                <c:pt idx="68">
                  <c:v>8.0</c:v>
                </c:pt>
                <c:pt idx="69">
                  <c:v>9.0</c:v>
                </c:pt>
                <c:pt idx="70">
                  <c:v>4.0</c:v>
                </c:pt>
                <c:pt idx="71">
                  <c:v>3.0</c:v>
                </c:pt>
                <c:pt idx="72">
                  <c:v>16.0</c:v>
                </c:pt>
                <c:pt idx="73">
                  <c:v>5.0</c:v>
                </c:pt>
                <c:pt idx="74">
                  <c:v>13.0</c:v>
                </c:pt>
                <c:pt idx="75">
                  <c:v>8.0</c:v>
                </c:pt>
                <c:pt idx="76">
                  <c:v>3.0</c:v>
                </c:pt>
                <c:pt idx="77">
                  <c:v>2.0</c:v>
                </c:pt>
                <c:pt idx="78">
                  <c:v>6.0</c:v>
                </c:pt>
                <c:pt idx="79">
                  <c:v>2.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49.0</c:v>
                </c:pt>
                <c:pt idx="40">
                  <c:v>58.0</c:v>
                </c:pt>
                <c:pt idx="41">
                  <c:v>77.0</c:v>
                </c:pt>
                <c:pt idx="42">
                  <c:v>36.0</c:v>
                </c:pt>
                <c:pt idx="43">
                  <c:v>9.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8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4.0</c:v>
                </c:pt>
                <c:pt idx="1">
                  <c:v>4.0</c:v>
                </c:pt>
                <c:pt idx="2">
                  <c:v>0.0</c:v>
                </c:pt>
                <c:pt idx="3">
                  <c:v>1.0</c:v>
                </c:pt>
                <c:pt idx="4">
                  <c:v>4.0</c:v>
                </c:pt>
                <c:pt idx="5">
                  <c:v>0.0</c:v>
                </c:pt>
                <c:pt idx="6">
                  <c:v>8.0</c:v>
                </c:pt>
                <c:pt idx="7">
                  <c:v>0.0</c:v>
                </c:pt>
                <c:pt idx="8">
                  <c:v>4.0</c:v>
                </c:pt>
                <c:pt idx="9">
                  <c:v>1.0</c:v>
                </c:pt>
                <c:pt idx="10">
                  <c:v>1.0</c:v>
                </c:pt>
                <c:pt idx="11">
                  <c:v>1.0</c:v>
                </c:pt>
                <c:pt idx="12">
                  <c:v>5.0</c:v>
                </c:pt>
                <c:pt idx="13">
                  <c:v>5.0</c:v>
                </c:pt>
                <c:pt idx="14">
                  <c:v>0.0</c:v>
                </c:pt>
                <c:pt idx="15">
                  <c:v>3.0</c:v>
                </c:pt>
                <c:pt idx="16">
                  <c:v>1.0</c:v>
                </c:pt>
                <c:pt idx="17">
                  <c:v>1.0</c:v>
                </c:pt>
                <c:pt idx="18">
                  <c:v>3.0</c:v>
                </c:pt>
                <c:pt idx="19">
                  <c:v>2.0</c:v>
                </c:pt>
                <c:pt idx="20">
                  <c:v>2.0</c:v>
                </c:pt>
                <c:pt idx="21">
                  <c:v>5.0</c:v>
                </c:pt>
                <c:pt idx="22">
                  <c:v>4.0</c:v>
                </c:pt>
                <c:pt idx="23">
                  <c:v>5.0</c:v>
                </c:pt>
                <c:pt idx="24">
                  <c:v>4.0</c:v>
                </c:pt>
                <c:pt idx="25">
                  <c:v>1.0</c:v>
                </c:pt>
                <c:pt idx="26">
                  <c:v>1.0</c:v>
                </c:pt>
                <c:pt idx="27">
                  <c:v>0.0</c:v>
                </c:pt>
                <c:pt idx="28">
                  <c:v>2.0</c:v>
                </c:pt>
                <c:pt idx="29">
                  <c:v>2.0</c:v>
                </c:pt>
                <c:pt idx="30">
                  <c:v>7.0</c:v>
                </c:pt>
                <c:pt idx="31">
                  <c:v>1.0</c:v>
                </c:pt>
                <c:pt idx="32">
                  <c:v>5.0</c:v>
                </c:pt>
                <c:pt idx="33">
                  <c:v>2.0</c:v>
                </c:pt>
                <c:pt idx="34">
                  <c:v>2.0</c:v>
                </c:pt>
                <c:pt idx="35">
                  <c:v>7.0</c:v>
                </c:pt>
                <c:pt idx="36">
                  <c:v>2.0</c:v>
                </c:pt>
                <c:pt idx="37">
                  <c:v>3.0</c:v>
                </c:pt>
                <c:pt idx="38">
                  <c:v>4.0</c:v>
                </c:pt>
                <c:pt idx="39">
                  <c:v>0.0</c:v>
                </c:pt>
                <c:pt idx="40">
                  <c:v>0.0</c:v>
                </c:pt>
                <c:pt idx="41">
                  <c:v>0.0</c:v>
                </c:pt>
                <c:pt idx="42">
                  <c:v>0.0</c:v>
                </c:pt>
                <c:pt idx="43">
                  <c:v>1.0</c:v>
                </c:pt>
                <c:pt idx="44">
                  <c:v>1.0</c:v>
                </c:pt>
                <c:pt idx="45">
                  <c:v>3.0</c:v>
                </c:pt>
                <c:pt idx="46">
                  <c:v>0.0</c:v>
                </c:pt>
                <c:pt idx="47">
                  <c:v>5.0</c:v>
                </c:pt>
                <c:pt idx="48">
                  <c:v>4.0</c:v>
                </c:pt>
                <c:pt idx="49">
                  <c:v>3.0</c:v>
                </c:pt>
                <c:pt idx="50">
                  <c:v>1.0</c:v>
                </c:pt>
                <c:pt idx="51">
                  <c:v>5.0</c:v>
                </c:pt>
                <c:pt idx="52">
                  <c:v>2.0</c:v>
                </c:pt>
                <c:pt idx="53">
                  <c:v>4.0</c:v>
                </c:pt>
                <c:pt idx="54">
                  <c:v>1.0</c:v>
                </c:pt>
                <c:pt idx="55">
                  <c:v>1.0</c:v>
                </c:pt>
                <c:pt idx="56">
                  <c:v>1.0</c:v>
                </c:pt>
                <c:pt idx="57">
                  <c:v>1.0</c:v>
                </c:pt>
                <c:pt idx="58">
                  <c:v>1.0</c:v>
                </c:pt>
                <c:pt idx="59">
                  <c:v>1.0</c:v>
                </c:pt>
                <c:pt idx="60">
                  <c:v>3.0</c:v>
                </c:pt>
                <c:pt idx="61">
                  <c:v>2.0</c:v>
                </c:pt>
                <c:pt idx="62">
                  <c:v>0.0</c:v>
                </c:pt>
                <c:pt idx="63">
                  <c:v>1.0</c:v>
                </c:pt>
                <c:pt idx="64">
                  <c:v>3.0</c:v>
                </c:pt>
                <c:pt idx="65">
                  <c:v>1.0</c:v>
                </c:pt>
                <c:pt idx="66">
                  <c:v>1.0</c:v>
                </c:pt>
                <c:pt idx="67">
                  <c:v>2.0</c:v>
                </c:pt>
                <c:pt idx="68">
                  <c:v>3.0</c:v>
                </c:pt>
                <c:pt idx="69">
                  <c:v>2.0</c:v>
                </c:pt>
                <c:pt idx="70">
                  <c:v>3.0</c:v>
                </c:pt>
                <c:pt idx="71">
                  <c:v>0.0</c:v>
                </c:pt>
                <c:pt idx="72">
                  <c:v>9.0</c:v>
                </c:pt>
                <c:pt idx="73">
                  <c:v>4.0</c:v>
                </c:pt>
                <c:pt idx="74">
                  <c:v>1.0</c:v>
                </c:pt>
                <c:pt idx="75">
                  <c:v>2.0</c:v>
                </c:pt>
                <c:pt idx="76">
                  <c:v>0.0</c:v>
                </c:pt>
                <c:pt idx="77">
                  <c:v>0.0</c:v>
                </c:pt>
                <c:pt idx="78">
                  <c:v>3.0</c:v>
                </c:pt>
                <c:pt idx="79">
                  <c:v>2.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8.0</c:v>
                </c:pt>
                <c:pt idx="40">
                  <c:v>40.0</c:v>
                </c:pt>
                <c:pt idx="41">
                  <c:v>38.0</c:v>
                </c:pt>
                <c:pt idx="42">
                  <c:v>11.0</c:v>
                </c:pt>
                <c:pt idx="43">
                  <c:v>3.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6.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6.0</c:v>
                </c:pt>
                <c:pt idx="1">
                  <c:v>7.0</c:v>
                </c:pt>
                <c:pt idx="2">
                  <c:v>1.0</c:v>
                </c:pt>
                <c:pt idx="3">
                  <c:v>2.0</c:v>
                </c:pt>
                <c:pt idx="4">
                  <c:v>4.0</c:v>
                </c:pt>
                <c:pt idx="5">
                  <c:v>4.0</c:v>
                </c:pt>
                <c:pt idx="6">
                  <c:v>2.0</c:v>
                </c:pt>
                <c:pt idx="7">
                  <c:v>0.0</c:v>
                </c:pt>
                <c:pt idx="8">
                  <c:v>3.0</c:v>
                </c:pt>
                <c:pt idx="9">
                  <c:v>2.0</c:v>
                </c:pt>
                <c:pt idx="10">
                  <c:v>5.0</c:v>
                </c:pt>
                <c:pt idx="11">
                  <c:v>3.0</c:v>
                </c:pt>
                <c:pt idx="12">
                  <c:v>0.0</c:v>
                </c:pt>
                <c:pt idx="13">
                  <c:v>2.0</c:v>
                </c:pt>
                <c:pt idx="14">
                  <c:v>2.0</c:v>
                </c:pt>
                <c:pt idx="15">
                  <c:v>2.0</c:v>
                </c:pt>
                <c:pt idx="16">
                  <c:v>1.0</c:v>
                </c:pt>
                <c:pt idx="17">
                  <c:v>2.0</c:v>
                </c:pt>
                <c:pt idx="18">
                  <c:v>2.0</c:v>
                </c:pt>
                <c:pt idx="19">
                  <c:v>4.0</c:v>
                </c:pt>
                <c:pt idx="20">
                  <c:v>1.0</c:v>
                </c:pt>
                <c:pt idx="21">
                  <c:v>4.0</c:v>
                </c:pt>
                <c:pt idx="22">
                  <c:v>7.0</c:v>
                </c:pt>
                <c:pt idx="23">
                  <c:v>2.0</c:v>
                </c:pt>
                <c:pt idx="24">
                  <c:v>3.0</c:v>
                </c:pt>
                <c:pt idx="25">
                  <c:v>2.0</c:v>
                </c:pt>
                <c:pt idx="26">
                  <c:v>1.0</c:v>
                </c:pt>
                <c:pt idx="27">
                  <c:v>0.0</c:v>
                </c:pt>
                <c:pt idx="28">
                  <c:v>0.0</c:v>
                </c:pt>
                <c:pt idx="29">
                  <c:v>3.0</c:v>
                </c:pt>
                <c:pt idx="30">
                  <c:v>4.0</c:v>
                </c:pt>
                <c:pt idx="31">
                  <c:v>5.0</c:v>
                </c:pt>
                <c:pt idx="32">
                  <c:v>3.0</c:v>
                </c:pt>
                <c:pt idx="33">
                  <c:v>4.0</c:v>
                </c:pt>
                <c:pt idx="34">
                  <c:v>4.0</c:v>
                </c:pt>
                <c:pt idx="35">
                  <c:v>2.0</c:v>
                </c:pt>
                <c:pt idx="36">
                  <c:v>2.0</c:v>
                </c:pt>
                <c:pt idx="37">
                  <c:v>3.0</c:v>
                </c:pt>
                <c:pt idx="38">
                  <c:v>4.0</c:v>
                </c:pt>
                <c:pt idx="39">
                  <c:v>0.0</c:v>
                </c:pt>
                <c:pt idx="40">
                  <c:v>0.0</c:v>
                </c:pt>
                <c:pt idx="41">
                  <c:v>0.0</c:v>
                </c:pt>
                <c:pt idx="42">
                  <c:v>0.0</c:v>
                </c:pt>
                <c:pt idx="43">
                  <c:v>4.0</c:v>
                </c:pt>
                <c:pt idx="44">
                  <c:v>3.0</c:v>
                </c:pt>
                <c:pt idx="45">
                  <c:v>0.0</c:v>
                </c:pt>
                <c:pt idx="46">
                  <c:v>4.0</c:v>
                </c:pt>
                <c:pt idx="47">
                  <c:v>1.0</c:v>
                </c:pt>
                <c:pt idx="48">
                  <c:v>2.0</c:v>
                </c:pt>
                <c:pt idx="49">
                  <c:v>1.0</c:v>
                </c:pt>
                <c:pt idx="50">
                  <c:v>2.0</c:v>
                </c:pt>
                <c:pt idx="51">
                  <c:v>3.0</c:v>
                </c:pt>
                <c:pt idx="52">
                  <c:v>1.0</c:v>
                </c:pt>
                <c:pt idx="53">
                  <c:v>0.0</c:v>
                </c:pt>
                <c:pt idx="54">
                  <c:v>0.0</c:v>
                </c:pt>
                <c:pt idx="55">
                  <c:v>3.0</c:v>
                </c:pt>
                <c:pt idx="56">
                  <c:v>1.0</c:v>
                </c:pt>
                <c:pt idx="57">
                  <c:v>1.0</c:v>
                </c:pt>
                <c:pt idx="58">
                  <c:v>1.0</c:v>
                </c:pt>
                <c:pt idx="59">
                  <c:v>3.0</c:v>
                </c:pt>
                <c:pt idx="60">
                  <c:v>0.0</c:v>
                </c:pt>
                <c:pt idx="61">
                  <c:v>0.0</c:v>
                </c:pt>
                <c:pt idx="62">
                  <c:v>2.0</c:v>
                </c:pt>
                <c:pt idx="63">
                  <c:v>0.0</c:v>
                </c:pt>
                <c:pt idx="64">
                  <c:v>1.0</c:v>
                </c:pt>
                <c:pt idx="65">
                  <c:v>3.0</c:v>
                </c:pt>
                <c:pt idx="66">
                  <c:v>0.0</c:v>
                </c:pt>
                <c:pt idx="67">
                  <c:v>0.0</c:v>
                </c:pt>
                <c:pt idx="68">
                  <c:v>2.0</c:v>
                </c:pt>
                <c:pt idx="69">
                  <c:v>0.0</c:v>
                </c:pt>
                <c:pt idx="70">
                  <c:v>0.0</c:v>
                </c:pt>
                <c:pt idx="71">
                  <c:v>1.0</c:v>
                </c:pt>
                <c:pt idx="72">
                  <c:v>0.0</c:v>
                </c:pt>
                <c:pt idx="73">
                  <c:v>0.0</c:v>
                </c:pt>
                <c:pt idx="74">
                  <c:v>8.0</c:v>
                </c:pt>
                <c:pt idx="75">
                  <c:v>2.0</c:v>
                </c:pt>
                <c:pt idx="76">
                  <c:v>1.0</c:v>
                </c:pt>
                <c:pt idx="77">
                  <c:v>0.0</c:v>
                </c:pt>
                <c:pt idx="78">
                  <c:v>2.0</c:v>
                </c:pt>
                <c:pt idx="79">
                  <c:v>2.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1.0</c:v>
                </c:pt>
                <c:pt idx="40">
                  <c:v>15.0</c:v>
                </c:pt>
                <c:pt idx="41">
                  <c:v>16.0</c:v>
                </c:pt>
                <c:pt idx="42">
                  <c:v>13.0</c:v>
                </c:pt>
                <c:pt idx="43">
                  <c:v>6.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14.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40.0</c:v>
                </c:pt>
                <c:pt idx="1">
                  <c:v>42.0</c:v>
                </c:pt>
                <c:pt idx="2">
                  <c:v>18.0</c:v>
                </c:pt>
                <c:pt idx="3">
                  <c:v>31.0</c:v>
                </c:pt>
                <c:pt idx="4">
                  <c:v>21.0</c:v>
                </c:pt>
                <c:pt idx="5">
                  <c:v>16.0</c:v>
                </c:pt>
                <c:pt idx="6">
                  <c:v>48.0</c:v>
                </c:pt>
                <c:pt idx="7">
                  <c:v>43.0</c:v>
                </c:pt>
                <c:pt idx="8">
                  <c:v>27.0</c:v>
                </c:pt>
                <c:pt idx="9">
                  <c:v>40.0</c:v>
                </c:pt>
                <c:pt idx="10">
                  <c:v>31.0</c:v>
                </c:pt>
                <c:pt idx="11">
                  <c:v>36.0</c:v>
                </c:pt>
                <c:pt idx="12">
                  <c:v>65.0</c:v>
                </c:pt>
                <c:pt idx="13">
                  <c:v>50.0</c:v>
                </c:pt>
                <c:pt idx="14">
                  <c:v>37.0</c:v>
                </c:pt>
                <c:pt idx="15">
                  <c:v>26.0</c:v>
                </c:pt>
                <c:pt idx="16">
                  <c:v>46.0</c:v>
                </c:pt>
                <c:pt idx="17">
                  <c:v>25.0</c:v>
                </c:pt>
                <c:pt idx="18">
                  <c:v>51.0</c:v>
                </c:pt>
                <c:pt idx="19">
                  <c:v>36.0</c:v>
                </c:pt>
                <c:pt idx="20">
                  <c:v>25.0</c:v>
                </c:pt>
                <c:pt idx="21">
                  <c:v>37.0</c:v>
                </c:pt>
                <c:pt idx="22">
                  <c:v>121.0</c:v>
                </c:pt>
                <c:pt idx="23">
                  <c:v>65.0</c:v>
                </c:pt>
                <c:pt idx="24">
                  <c:v>48.0</c:v>
                </c:pt>
                <c:pt idx="25">
                  <c:v>32.0</c:v>
                </c:pt>
                <c:pt idx="26">
                  <c:v>25.0</c:v>
                </c:pt>
                <c:pt idx="27">
                  <c:v>23.0</c:v>
                </c:pt>
                <c:pt idx="28">
                  <c:v>25.0</c:v>
                </c:pt>
                <c:pt idx="29">
                  <c:v>26.0</c:v>
                </c:pt>
                <c:pt idx="30">
                  <c:v>34.0</c:v>
                </c:pt>
                <c:pt idx="31">
                  <c:v>30.0</c:v>
                </c:pt>
                <c:pt idx="32">
                  <c:v>18.0</c:v>
                </c:pt>
                <c:pt idx="33">
                  <c:v>28.0</c:v>
                </c:pt>
                <c:pt idx="34">
                  <c:v>34.0</c:v>
                </c:pt>
                <c:pt idx="35">
                  <c:v>25.0</c:v>
                </c:pt>
                <c:pt idx="36">
                  <c:v>37.0</c:v>
                </c:pt>
                <c:pt idx="37">
                  <c:v>28.0</c:v>
                </c:pt>
                <c:pt idx="38">
                  <c:v>28.0</c:v>
                </c:pt>
                <c:pt idx="39">
                  <c:v>4.0</c:v>
                </c:pt>
                <c:pt idx="40">
                  <c:v>0.0</c:v>
                </c:pt>
                <c:pt idx="41">
                  <c:v>0.0</c:v>
                </c:pt>
                <c:pt idx="42">
                  <c:v>0.0</c:v>
                </c:pt>
                <c:pt idx="43">
                  <c:v>16.0</c:v>
                </c:pt>
                <c:pt idx="44">
                  <c:v>19.0</c:v>
                </c:pt>
                <c:pt idx="45">
                  <c:v>29.0</c:v>
                </c:pt>
                <c:pt idx="46">
                  <c:v>26.0</c:v>
                </c:pt>
                <c:pt idx="47">
                  <c:v>33.0</c:v>
                </c:pt>
                <c:pt idx="48">
                  <c:v>38.0</c:v>
                </c:pt>
                <c:pt idx="49">
                  <c:v>38.0</c:v>
                </c:pt>
                <c:pt idx="50">
                  <c:v>26.0</c:v>
                </c:pt>
                <c:pt idx="51">
                  <c:v>34.0</c:v>
                </c:pt>
                <c:pt idx="52">
                  <c:v>23.0</c:v>
                </c:pt>
                <c:pt idx="53">
                  <c:v>18.0</c:v>
                </c:pt>
                <c:pt idx="54">
                  <c:v>10.0</c:v>
                </c:pt>
                <c:pt idx="55">
                  <c:v>10.0</c:v>
                </c:pt>
                <c:pt idx="56">
                  <c:v>7.0</c:v>
                </c:pt>
                <c:pt idx="57">
                  <c:v>19.0</c:v>
                </c:pt>
                <c:pt idx="58">
                  <c:v>13.0</c:v>
                </c:pt>
                <c:pt idx="59">
                  <c:v>18.0</c:v>
                </c:pt>
                <c:pt idx="60">
                  <c:v>13.0</c:v>
                </c:pt>
                <c:pt idx="61">
                  <c:v>12.0</c:v>
                </c:pt>
                <c:pt idx="62">
                  <c:v>19.0</c:v>
                </c:pt>
                <c:pt idx="63">
                  <c:v>16.0</c:v>
                </c:pt>
                <c:pt idx="64">
                  <c:v>22.0</c:v>
                </c:pt>
                <c:pt idx="65">
                  <c:v>22.0</c:v>
                </c:pt>
                <c:pt idx="66">
                  <c:v>17.0</c:v>
                </c:pt>
                <c:pt idx="67">
                  <c:v>16.0</c:v>
                </c:pt>
                <c:pt idx="68">
                  <c:v>38.0</c:v>
                </c:pt>
                <c:pt idx="69">
                  <c:v>32.0</c:v>
                </c:pt>
                <c:pt idx="70">
                  <c:v>18.0</c:v>
                </c:pt>
                <c:pt idx="71">
                  <c:v>7.0</c:v>
                </c:pt>
                <c:pt idx="72">
                  <c:v>26.0</c:v>
                </c:pt>
                <c:pt idx="73">
                  <c:v>13.0</c:v>
                </c:pt>
                <c:pt idx="74">
                  <c:v>17.0</c:v>
                </c:pt>
                <c:pt idx="75">
                  <c:v>17.0</c:v>
                </c:pt>
                <c:pt idx="76">
                  <c:v>4.0</c:v>
                </c:pt>
                <c:pt idx="77">
                  <c:v>8.0</c:v>
                </c:pt>
                <c:pt idx="78">
                  <c:v>8.0</c:v>
                </c:pt>
                <c:pt idx="79">
                  <c:v>8.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72.0</c:v>
                </c:pt>
                <c:pt idx="40">
                  <c:v>241.0</c:v>
                </c:pt>
                <c:pt idx="41">
                  <c:v>264.0</c:v>
                </c:pt>
                <c:pt idx="42">
                  <c:v>151.0</c:v>
                </c:pt>
                <c:pt idx="43">
                  <c:v>43.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361.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10.0</c:v>
                </c:pt>
                <c:pt idx="1">
                  <c:v>10.0</c:v>
                </c:pt>
                <c:pt idx="2">
                  <c:v>12.0</c:v>
                </c:pt>
                <c:pt idx="3">
                  <c:v>14.0</c:v>
                </c:pt>
                <c:pt idx="4">
                  <c:v>13.0</c:v>
                </c:pt>
                <c:pt idx="5">
                  <c:v>8.0</c:v>
                </c:pt>
                <c:pt idx="6">
                  <c:v>4.0</c:v>
                </c:pt>
                <c:pt idx="7">
                  <c:v>6.0</c:v>
                </c:pt>
                <c:pt idx="8">
                  <c:v>2.0</c:v>
                </c:pt>
                <c:pt idx="9">
                  <c:v>4.0</c:v>
                </c:pt>
                <c:pt idx="10">
                  <c:v>3.0</c:v>
                </c:pt>
                <c:pt idx="11">
                  <c:v>7.0</c:v>
                </c:pt>
                <c:pt idx="12">
                  <c:v>3.0</c:v>
                </c:pt>
                <c:pt idx="13">
                  <c:v>3.0</c:v>
                </c:pt>
                <c:pt idx="14">
                  <c:v>2.0</c:v>
                </c:pt>
                <c:pt idx="15">
                  <c:v>2.0</c:v>
                </c:pt>
                <c:pt idx="16">
                  <c:v>4.0</c:v>
                </c:pt>
                <c:pt idx="17">
                  <c:v>2.0</c:v>
                </c:pt>
                <c:pt idx="18">
                  <c:v>1.0</c:v>
                </c:pt>
                <c:pt idx="19">
                  <c:v>4.0</c:v>
                </c:pt>
                <c:pt idx="20">
                  <c:v>5.0</c:v>
                </c:pt>
                <c:pt idx="21">
                  <c:v>10.0</c:v>
                </c:pt>
                <c:pt idx="22">
                  <c:v>14.0</c:v>
                </c:pt>
                <c:pt idx="23">
                  <c:v>13.0</c:v>
                </c:pt>
                <c:pt idx="24">
                  <c:v>5.0</c:v>
                </c:pt>
                <c:pt idx="25">
                  <c:v>3.0</c:v>
                </c:pt>
                <c:pt idx="26">
                  <c:v>1.0</c:v>
                </c:pt>
                <c:pt idx="27">
                  <c:v>1.0</c:v>
                </c:pt>
                <c:pt idx="28">
                  <c:v>7.0</c:v>
                </c:pt>
                <c:pt idx="29">
                  <c:v>2.0</c:v>
                </c:pt>
                <c:pt idx="30">
                  <c:v>5.0</c:v>
                </c:pt>
                <c:pt idx="31">
                  <c:v>5.0</c:v>
                </c:pt>
                <c:pt idx="32">
                  <c:v>3.0</c:v>
                </c:pt>
                <c:pt idx="33">
                  <c:v>4.0</c:v>
                </c:pt>
                <c:pt idx="34">
                  <c:v>2.0</c:v>
                </c:pt>
                <c:pt idx="35">
                  <c:v>3.0</c:v>
                </c:pt>
                <c:pt idx="36">
                  <c:v>9.0</c:v>
                </c:pt>
                <c:pt idx="37">
                  <c:v>26.0</c:v>
                </c:pt>
                <c:pt idx="38">
                  <c:v>5.0</c:v>
                </c:pt>
                <c:pt idx="39">
                  <c:v>1.0</c:v>
                </c:pt>
                <c:pt idx="40">
                  <c:v>0.0</c:v>
                </c:pt>
                <c:pt idx="41">
                  <c:v>0.0</c:v>
                </c:pt>
                <c:pt idx="42">
                  <c:v>0.0</c:v>
                </c:pt>
                <c:pt idx="43">
                  <c:v>3.0</c:v>
                </c:pt>
                <c:pt idx="44">
                  <c:v>4.0</c:v>
                </c:pt>
                <c:pt idx="45">
                  <c:v>2.0</c:v>
                </c:pt>
                <c:pt idx="46">
                  <c:v>1.0</c:v>
                </c:pt>
                <c:pt idx="47">
                  <c:v>2.0</c:v>
                </c:pt>
                <c:pt idx="48">
                  <c:v>6.0</c:v>
                </c:pt>
                <c:pt idx="49">
                  <c:v>4.0</c:v>
                </c:pt>
                <c:pt idx="50">
                  <c:v>5.0</c:v>
                </c:pt>
                <c:pt idx="51">
                  <c:v>5.0</c:v>
                </c:pt>
                <c:pt idx="52">
                  <c:v>3.0</c:v>
                </c:pt>
                <c:pt idx="53">
                  <c:v>2.0</c:v>
                </c:pt>
                <c:pt idx="54">
                  <c:v>4.0</c:v>
                </c:pt>
                <c:pt idx="55">
                  <c:v>3.0</c:v>
                </c:pt>
                <c:pt idx="56">
                  <c:v>4.0</c:v>
                </c:pt>
                <c:pt idx="57">
                  <c:v>3.0</c:v>
                </c:pt>
                <c:pt idx="58">
                  <c:v>3.0</c:v>
                </c:pt>
                <c:pt idx="59">
                  <c:v>2.0</c:v>
                </c:pt>
                <c:pt idx="60">
                  <c:v>3.0</c:v>
                </c:pt>
                <c:pt idx="61">
                  <c:v>4.0</c:v>
                </c:pt>
                <c:pt idx="62">
                  <c:v>2.0</c:v>
                </c:pt>
                <c:pt idx="63">
                  <c:v>2.0</c:v>
                </c:pt>
                <c:pt idx="64">
                  <c:v>2.0</c:v>
                </c:pt>
                <c:pt idx="65">
                  <c:v>6.0</c:v>
                </c:pt>
                <c:pt idx="66">
                  <c:v>3.0</c:v>
                </c:pt>
                <c:pt idx="67">
                  <c:v>1.0</c:v>
                </c:pt>
                <c:pt idx="68">
                  <c:v>3.0</c:v>
                </c:pt>
                <c:pt idx="69">
                  <c:v>1.0</c:v>
                </c:pt>
                <c:pt idx="70">
                  <c:v>0.0</c:v>
                </c:pt>
                <c:pt idx="71">
                  <c:v>1.0</c:v>
                </c:pt>
                <c:pt idx="72">
                  <c:v>6.0</c:v>
                </c:pt>
                <c:pt idx="73">
                  <c:v>2.0</c:v>
                </c:pt>
                <c:pt idx="74">
                  <c:v>6.0</c:v>
                </c:pt>
                <c:pt idx="75">
                  <c:v>7.0</c:v>
                </c:pt>
                <c:pt idx="76">
                  <c:v>0.0</c:v>
                </c:pt>
                <c:pt idx="77">
                  <c:v>2.0</c:v>
                </c:pt>
                <c:pt idx="78">
                  <c:v>0.0</c:v>
                </c:pt>
                <c:pt idx="79">
                  <c:v>6.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2.0</c:v>
                </c:pt>
                <c:pt idx="40">
                  <c:v>39.0</c:v>
                </c:pt>
                <c:pt idx="41">
                  <c:v>38.0</c:v>
                </c:pt>
                <c:pt idx="42">
                  <c:v>27.0</c:v>
                </c:pt>
                <c:pt idx="43">
                  <c:v>22.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47.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Malard</c:v>
                </c:pt>
                <c:pt idx="3">
                  <c:v>De Bligny</c:v>
                </c:pt>
                <c:pt idx="4">
                  <c:v>Nicolas</c:v>
                </c:pt>
              </c:strCache>
            </c:strRef>
          </c:cat>
          <c:val>
            <c:numRef>
              <c:f>Sheet1!$B$2:$B$6</c:f>
              <c:numCache>
                <c:formatCode>General</c:formatCode>
                <c:ptCount val="5"/>
                <c:pt idx="0">
                  <c:v>5.167</c:v>
                </c:pt>
                <c:pt idx="1">
                  <c:v>-0.031000000000000028</c:v>
                </c:pt>
                <c:pt idx="2">
                  <c:v>-0.08599999999999997</c:v>
                </c:pt>
                <c:pt idx="3">
                  <c:v>0.3640000000000001</c:v>
                </c:pt>
                <c:pt idx="4">
                  <c:v>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27.0</c:v>
                </c:pt>
                <c:pt idx="1">
                  <c:v>28.0</c:v>
                </c:pt>
                <c:pt idx="2">
                  <c:v>22.0</c:v>
                </c:pt>
                <c:pt idx="3">
                  <c:v>30.0</c:v>
                </c:pt>
                <c:pt idx="4">
                  <c:v>20.0</c:v>
                </c:pt>
                <c:pt idx="5">
                  <c:v>19.0</c:v>
                </c:pt>
                <c:pt idx="6">
                  <c:v>15.0</c:v>
                </c:pt>
                <c:pt idx="7">
                  <c:v>36.0</c:v>
                </c:pt>
                <c:pt idx="8">
                  <c:v>31.0</c:v>
                </c:pt>
                <c:pt idx="9">
                  <c:v>47.0</c:v>
                </c:pt>
                <c:pt idx="10">
                  <c:v>35.0</c:v>
                </c:pt>
                <c:pt idx="11">
                  <c:v>27.0</c:v>
                </c:pt>
                <c:pt idx="12">
                  <c:v>42.0</c:v>
                </c:pt>
                <c:pt idx="13">
                  <c:v>32.0</c:v>
                </c:pt>
                <c:pt idx="14">
                  <c:v>37.0</c:v>
                </c:pt>
                <c:pt idx="15">
                  <c:v>43.0</c:v>
                </c:pt>
                <c:pt idx="16">
                  <c:v>27.0</c:v>
                </c:pt>
                <c:pt idx="17">
                  <c:v>37.0</c:v>
                </c:pt>
                <c:pt idx="18">
                  <c:v>53.0</c:v>
                </c:pt>
                <c:pt idx="19">
                  <c:v>44.0</c:v>
                </c:pt>
                <c:pt idx="20">
                  <c:v>66.0</c:v>
                </c:pt>
                <c:pt idx="21">
                  <c:v>59.0</c:v>
                </c:pt>
                <c:pt idx="22">
                  <c:v>117.0</c:v>
                </c:pt>
                <c:pt idx="23">
                  <c:v>74.0</c:v>
                </c:pt>
                <c:pt idx="24">
                  <c:v>79.0</c:v>
                </c:pt>
                <c:pt idx="25">
                  <c:v>17.0</c:v>
                </c:pt>
                <c:pt idx="26">
                  <c:v>33.0</c:v>
                </c:pt>
                <c:pt idx="27">
                  <c:v>42.0</c:v>
                </c:pt>
                <c:pt idx="28">
                  <c:v>25.0</c:v>
                </c:pt>
                <c:pt idx="29">
                  <c:v>28.0</c:v>
                </c:pt>
                <c:pt idx="30">
                  <c:v>36.0</c:v>
                </c:pt>
                <c:pt idx="31">
                  <c:v>37.0</c:v>
                </c:pt>
                <c:pt idx="32">
                  <c:v>29.0</c:v>
                </c:pt>
                <c:pt idx="33">
                  <c:v>26.0</c:v>
                </c:pt>
                <c:pt idx="34">
                  <c:v>23.0</c:v>
                </c:pt>
                <c:pt idx="35">
                  <c:v>25.0</c:v>
                </c:pt>
                <c:pt idx="36">
                  <c:v>35.0</c:v>
                </c:pt>
                <c:pt idx="37">
                  <c:v>36.0</c:v>
                </c:pt>
                <c:pt idx="38">
                  <c:v>29.0</c:v>
                </c:pt>
                <c:pt idx="39">
                  <c:v>11.0</c:v>
                </c:pt>
                <c:pt idx="40">
                  <c:v>19.0</c:v>
                </c:pt>
                <c:pt idx="41">
                  <c:v>12.0</c:v>
                </c:pt>
                <c:pt idx="42">
                  <c:v>22.0</c:v>
                </c:pt>
                <c:pt idx="43">
                  <c:v>28.0</c:v>
                </c:pt>
                <c:pt idx="44">
                  <c:v>36.0</c:v>
                </c:pt>
                <c:pt idx="45">
                  <c:v>27.0</c:v>
                </c:pt>
                <c:pt idx="46">
                  <c:v>23.0</c:v>
                </c:pt>
                <c:pt idx="47">
                  <c:v>30.0</c:v>
                </c:pt>
                <c:pt idx="48">
                  <c:v>31.0</c:v>
                </c:pt>
                <c:pt idx="49">
                  <c:v>37.0</c:v>
                </c:pt>
                <c:pt idx="50">
                  <c:v>27.0</c:v>
                </c:pt>
                <c:pt idx="51">
                  <c:v>31.0</c:v>
                </c:pt>
                <c:pt idx="52">
                  <c:v>24.0</c:v>
                </c:pt>
                <c:pt idx="53">
                  <c:v>32.0</c:v>
                </c:pt>
                <c:pt idx="54">
                  <c:v>15.0</c:v>
                </c:pt>
                <c:pt idx="55">
                  <c:v>9.0</c:v>
                </c:pt>
                <c:pt idx="56">
                  <c:v>21.0</c:v>
                </c:pt>
                <c:pt idx="57">
                  <c:v>33.0</c:v>
                </c:pt>
                <c:pt idx="58">
                  <c:v>17.0</c:v>
                </c:pt>
                <c:pt idx="59">
                  <c:v>22.0</c:v>
                </c:pt>
                <c:pt idx="60">
                  <c:v>20.0</c:v>
                </c:pt>
                <c:pt idx="61">
                  <c:v>29.0</c:v>
                </c:pt>
                <c:pt idx="62">
                  <c:v>29.0</c:v>
                </c:pt>
                <c:pt idx="63">
                  <c:v>17.0</c:v>
                </c:pt>
                <c:pt idx="64">
                  <c:v>19.0</c:v>
                </c:pt>
                <c:pt idx="65">
                  <c:v>25.0</c:v>
                </c:pt>
                <c:pt idx="66">
                  <c:v>20.0</c:v>
                </c:pt>
                <c:pt idx="67">
                  <c:v>39.0</c:v>
                </c:pt>
                <c:pt idx="68">
                  <c:v>31.0</c:v>
                </c:pt>
                <c:pt idx="69">
                  <c:v>27.0</c:v>
                </c:pt>
                <c:pt idx="70">
                  <c:v>28.0</c:v>
                </c:pt>
                <c:pt idx="71">
                  <c:v>45.0</c:v>
                </c:pt>
                <c:pt idx="72">
                  <c:v>40.0</c:v>
                </c:pt>
                <c:pt idx="73">
                  <c:v>48.0</c:v>
                </c:pt>
                <c:pt idx="74">
                  <c:v>72.0</c:v>
                </c:pt>
                <c:pt idx="75">
                  <c:v>62.0</c:v>
                </c:pt>
                <c:pt idx="76">
                  <c:v>14.0</c:v>
                </c:pt>
                <c:pt idx="77">
                  <c:v>30.0</c:v>
                </c:pt>
                <c:pt idx="78">
                  <c:v>37.0</c:v>
                </c:pt>
                <c:pt idx="79">
                  <c:v>22.0</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8.0</c:v>
                </c:pt>
                <c:pt idx="40">
                  <c:v>28.0</c:v>
                </c:pt>
                <c:pt idx="41">
                  <c:v>36.0</c:v>
                </c:pt>
                <c:pt idx="42">
                  <c:v>28.0</c:v>
                </c:pt>
                <c:pt idx="43">
                  <c:v>5.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46.0</c:v>
                </c:pt>
                <c:pt idx="1">
                  <c:v>47.0</c:v>
                </c:pt>
                <c:pt idx="2">
                  <c:v>42.0</c:v>
                </c:pt>
                <c:pt idx="3">
                  <c:v>38.0</c:v>
                </c:pt>
                <c:pt idx="4">
                  <c:v>43.0</c:v>
                </c:pt>
                <c:pt idx="5">
                  <c:v>41.0</c:v>
                </c:pt>
                <c:pt idx="6">
                  <c:v>54.0</c:v>
                </c:pt>
                <c:pt idx="7">
                  <c:v>59.0</c:v>
                </c:pt>
                <c:pt idx="8">
                  <c:v>34.0</c:v>
                </c:pt>
                <c:pt idx="9">
                  <c:v>63.0</c:v>
                </c:pt>
                <c:pt idx="10">
                  <c:v>57.0</c:v>
                </c:pt>
                <c:pt idx="11">
                  <c:v>55.0</c:v>
                </c:pt>
                <c:pt idx="12">
                  <c:v>53.0</c:v>
                </c:pt>
                <c:pt idx="13">
                  <c:v>53.0</c:v>
                </c:pt>
                <c:pt idx="14">
                  <c:v>63.0</c:v>
                </c:pt>
                <c:pt idx="15">
                  <c:v>46.0</c:v>
                </c:pt>
                <c:pt idx="16">
                  <c:v>50.0</c:v>
                </c:pt>
                <c:pt idx="17">
                  <c:v>56.0</c:v>
                </c:pt>
                <c:pt idx="18">
                  <c:v>76.0</c:v>
                </c:pt>
                <c:pt idx="19">
                  <c:v>68.0</c:v>
                </c:pt>
                <c:pt idx="20">
                  <c:v>102.0</c:v>
                </c:pt>
                <c:pt idx="21">
                  <c:v>100.0</c:v>
                </c:pt>
                <c:pt idx="22">
                  <c:v>223.0</c:v>
                </c:pt>
                <c:pt idx="23">
                  <c:v>140.0</c:v>
                </c:pt>
                <c:pt idx="24">
                  <c:v>116.0</c:v>
                </c:pt>
                <c:pt idx="25">
                  <c:v>54.0</c:v>
                </c:pt>
                <c:pt idx="26">
                  <c:v>44.0</c:v>
                </c:pt>
                <c:pt idx="27">
                  <c:v>55.0</c:v>
                </c:pt>
                <c:pt idx="28">
                  <c:v>28.0</c:v>
                </c:pt>
                <c:pt idx="29">
                  <c:v>38.0</c:v>
                </c:pt>
                <c:pt idx="30">
                  <c:v>61.0</c:v>
                </c:pt>
                <c:pt idx="31">
                  <c:v>40.0</c:v>
                </c:pt>
                <c:pt idx="32">
                  <c:v>37.0</c:v>
                </c:pt>
                <c:pt idx="33">
                  <c:v>39.0</c:v>
                </c:pt>
                <c:pt idx="34">
                  <c:v>50.0</c:v>
                </c:pt>
                <c:pt idx="35">
                  <c:v>30.0</c:v>
                </c:pt>
                <c:pt idx="36">
                  <c:v>62.0</c:v>
                </c:pt>
                <c:pt idx="37">
                  <c:v>38.0</c:v>
                </c:pt>
                <c:pt idx="38">
                  <c:v>47.0</c:v>
                </c:pt>
                <c:pt idx="39">
                  <c:v>40.0</c:v>
                </c:pt>
                <c:pt idx="40">
                  <c:v>32.0</c:v>
                </c:pt>
                <c:pt idx="41">
                  <c:v>22.0</c:v>
                </c:pt>
                <c:pt idx="42">
                  <c:v>36.0</c:v>
                </c:pt>
                <c:pt idx="43">
                  <c:v>43.0</c:v>
                </c:pt>
                <c:pt idx="44">
                  <c:v>56.0</c:v>
                </c:pt>
                <c:pt idx="45">
                  <c:v>35.0</c:v>
                </c:pt>
                <c:pt idx="46">
                  <c:v>43.0</c:v>
                </c:pt>
                <c:pt idx="47">
                  <c:v>52.0</c:v>
                </c:pt>
                <c:pt idx="48">
                  <c:v>48.0</c:v>
                </c:pt>
                <c:pt idx="49">
                  <c:v>49.0</c:v>
                </c:pt>
                <c:pt idx="50">
                  <c:v>49.0</c:v>
                </c:pt>
                <c:pt idx="51">
                  <c:v>45.0</c:v>
                </c:pt>
                <c:pt idx="52">
                  <c:v>41.0</c:v>
                </c:pt>
                <c:pt idx="53">
                  <c:v>25.0</c:v>
                </c:pt>
                <c:pt idx="54">
                  <c:v>29.0</c:v>
                </c:pt>
                <c:pt idx="55">
                  <c:v>25.0</c:v>
                </c:pt>
                <c:pt idx="56">
                  <c:v>36.0</c:v>
                </c:pt>
                <c:pt idx="57">
                  <c:v>23.0</c:v>
                </c:pt>
                <c:pt idx="58">
                  <c:v>28.0</c:v>
                </c:pt>
                <c:pt idx="59">
                  <c:v>21.0</c:v>
                </c:pt>
                <c:pt idx="60">
                  <c:v>38.0</c:v>
                </c:pt>
                <c:pt idx="61">
                  <c:v>35.0</c:v>
                </c:pt>
                <c:pt idx="62">
                  <c:v>44.0</c:v>
                </c:pt>
                <c:pt idx="63">
                  <c:v>38.0</c:v>
                </c:pt>
                <c:pt idx="64">
                  <c:v>44.0</c:v>
                </c:pt>
                <c:pt idx="65">
                  <c:v>48.0</c:v>
                </c:pt>
                <c:pt idx="66">
                  <c:v>36.0</c:v>
                </c:pt>
                <c:pt idx="67">
                  <c:v>32.0</c:v>
                </c:pt>
                <c:pt idx="68">
                  <c:v>44.0</c:v>
                </c:pt>
                <c:pt idx="69">
                  <c:v>52.0</c:v>
                </c:pt>
                <c:pt idx="70">
                  <c:v>42.0</c:v>
                </c:pt>
                <c:pt idx="71">
                  <c:v>39.0</c:v>
                </c:pt>
                <c:pt idx="72">
                  <c:v>50.0</c:v>
                </c:pt>
                <c:pt idx="73">
                  <c:v>105.0</c:v>
                </c:pt>
                <c:pt idx="74">
                  <c:v>134.0</c:v>
                </c:pt>
                <c:pt idx="75">
                  <c:v>122.0</c:v>
                </c:pt>
                <c:pt idx="76">
                  <c:v>35.0</c:v>
                </c:pt>
                <c:pt idx="77">
                  <c:v>41.0</c:v>
                </c:pt>
                <c:pt idx="78">
                  <c:v>48.0</c:v>
                </c:pt>
                <c:pt idx="79">
                  <c:v>35.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30.0</c:v>
                </c:pt>
                <c:pt idx="40">
                  <c:v>47.0</c:v>
                </c:pt>
                <c:pt idx="41">
                  <c:v>50.0</c:v>
                </c:pt>
                <c:pt idx="42">
                  <c:v>41.0</c:v>
                </c:pt>
                <c:pt idx="43">
                  <c:v>7.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36.0</c:v>
                </c:pt>
                <c:pt idx="1">
                  <c:v>36.0</c:v>
                </c:pt>
                <c:pt idx="2">
                  <c:v>18.0</c:v>
                </c:pt>
                <c:pt idx="3">
                  <c:v>24.0</c:v>
                </c:pt>
                <c:pt idx="4">
                  <c:v>21.0</c:v>
                </c:pt>
                <c:pt idx="5">
                  <c:v>25.0</c:v>
                </c:pt>
                <c:pt idx="6">
                  <c:v>45.0</c:v>
                </c:pt>
                <c:pt idx="7">
                  <c:v>36.0</c:v>
                </c:pt>
                <c:pt idx="8">
                  <c:v>35.0</c:v>
                </c:pt>
                <c:pt idx="9">
                  <c:v>44.0</c:v>
                </c:pt>
                <c:pt idx="10">
                  <c:v>40.0</c:v>
                </c:pt>
                <c:pt idx="11">
                  <c:v>28.0</c:v>
                </c:pt>
                <c:pt idx="12">
                  <c:v>54.0</c:v>
                </c:pt>
                <c:pt idx="13">
                  <c:v>45.0</c:v>
                </c:pt>
                <c:pt idx="14">
                  <c:v>47.0</c:v>
                </c:pt>
                <c:pt idx="15">
                  <c:v>44.0</c:v>
                </c:pt>
                <c:pt idx="16">
                  <c:v>41.0</c:v>
                </c:pt>
                <c:pt idx="17">
                  <c:v>41.0</c:v>
                </c:pt>
                <c:pt idx="18">
                  <c:v>43.0</c:v>
                </c:pt>
                <c:pt idx="19">
                  <c:v>52.0</c:v>
                </c:pt>
                <c:pt idx="20">
                  <c:v>56.0</c:v>
                </c:pt>
                <c:pt idx="21">
                  <c:v>81.0</c:v>
                </c:pt>
                <c:pt idx="22">
                  <c:v>163.0</c:v>
                </c:pt>
                <c:pt idx="23">
                  <c:v>147.0</c:v>
                </c:pt>
                <c:pt idx="24">
                  <c:v>114.0</c:v>
                </c:pt>
                <c:pt idx="25">
                  <c:v>25.0</c:v>
                </c:pt>
                <c:pt idx="26">
                  <c:v>28.0</c:v>
                </c:pt>
                <c:pt idx="27">
                  <c:v>26.0</c:v>
                </c:pt>
                <c:pt idx="28">
                  <c:v>42.0</c:v>
                </c:pt>
                <c:pt idx="29">
                  <c:v>36.0</c:v>
                </c:pt>
                <c:pt idx="30">
                  <c:v>40.0</c:v>
                </c:pt>
                <c:pt idx="31">
                  <c:v>18.0</c:v>
                </c:pt>
                <c:pt idx="32">
                  <c:v>26.0</c:v>
                </c:pt>
                <c:pt idx="33">
                  <c:v>39.0</c:v>
                </c:pt>
                <c:pt idx="34">
                  <c:v>33.0</c:v>
                </c:pt>
                <c:pt idx="35">
                  <c:v>36.0</c:v>
                </c:pt>
                <c:pt idx="36">
                  <c:v>39.0</c:v>
                </c:pt>
                <c:pt idx="37">
                  <c:v>31.0</c:v>
                </c:pt>
                <c:pt idx="38">
                  <c:v>37.0</c:v>
                </c:pt>
                <c:pt idx="39">
                  <c:v>19.0</c:v>
                </c:pt>
                <c:pt idx="40">
                  <c:v>20.0</c:v>
                </c:pt>
                <c:pt idx="41">
                  <c:v>29.0</c:v>
                </c:pt>
                <c:pt idx="42">
                  <c:v>19.0</c:v>
                </c:pt>
                <c:pt idx="43">
                  <c:v>40.0</c:v>
                </c:pt>
                <c:pt idx="44">
                  <c:v>47.0</c:v>
                </c:pt>
                <c:pt idx="45">
                  <c:v>41.0</c:v>
                </c:pt>
                <c:pt idx="46">
                  <c:v>46.0</c:v>
                </c:pt>
                <c:pt idx="47">
                  <c:v>42.0</c:v>
                </c:pt>
                <c:pt idx="48">
                  <c:v>51.0</c:v>
                </c:pt>
                <c:pt idx="49">
                  <c:v>44.0</c:v>
                </c:pt>
                <c:pt idx="50">
                  <c:v>46.0</c:v>
                </c:pt>
                <c:pt idx="51">
                  <c:v>43.0</c:v>
                </c:pt>
                <c:pt idx="52">
                  <c:v>29.0</c:v>
                </c:pt>
                <c:pt idx="53">
                  <c:v>32.0</c:v>
                </c:pt>
                <c:pt idx="54">
                  <c:v>23.0</c:v>
                </c:pt>
                <c:pt idx="55">
                  <c:v>26.0</c:v>
                </c:pt>
                <c:pt idx="56">
                  <c:v>22.0</c:v>
                </c:pt>
                <c:pt idx="57">
                  <c:v>26.0</c:v>
                </c:pt>
                <c:pt idx="58">
                  <c:v>38.0</c:v>
                </c:pt>
                <c:pt idx="59">
                  <c:v>30.0</c:v>
                </c:pt>
                <c:pt idx="60">
                  <c:v>44.0</c:v>
                </c:pt>
                <c:pt idx="61">
                  <c:v>31.0</c:v>
                </c:pt>
                <c:pt idx="62">
                  <c:v>34.0</c:v>
                </c:pt>
                <c:pt idx="63">
                  <c:v>51.0</c:v>
                </c:pt>
                <c:pt idx="64">
                  <c:v>42.0</c:v>
                </c:pt>
                <c:pt idx="65">
                  <c:v>24.0</c:v>
                </c:pt>
                <c:pt idx="66">
                  <c:v>32.0</c:v>
                </c:pt>
                <c:pt idx="67">
                  <c:v>41.0</c:v>
                </c:pt>
                <c:pt idx="68">
                  <c:v>42.0</c:v>
                </c:pt>
                <c:pt idx="69">
                  <c:v>32.0</c:v>
                </c:pt>
                <c:pt idx="70">
                  <c:v>43.0</c:v>
                </c:pt>
                <c:pt idx="71">
                  <c:v>46.0</c:v>
                </c:pt>
                <c:pt idx="72">
                  <c:v>51.0</c:v>
                </c:pt>
                <c:pt idx="73">
                  <c:v>68.0</c:v>
                </c:pt>
                <c:pt idx="74">
                  <c:v>106.0</c:v>
                </c:pt>
                <c:pt idx="75">
                  <c:v>127.0</c:v>
                </c:pt>
                <c:pt idx="76">
                  <c:v>22.0</c:v>
                </c:pt>
                <c:pt idx="77">
                  <c:v>33.0</c:v>
                </c:pt>
                <c:pt idx="78">
                  <c:v>34.0</c:v>
                </c:pt>
                <c:pt idx="79">
                  <c:v>31.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18.0</c:v>
                </c:pt>
                <c:pt idx="40">
                  <c:v>38.0</c:v>
                </c:pt>
                <c:pt idx="41">
                  <c:v>39.0</c:v>
                </c:pt>
                <c:pt idx="42">
                  <c:v>28.0</c:v>
                </c:pt>
                <c:pt idx="43">
                  <c:v>5.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B$2:$B$81</c:f>
              <c:numCache>
                <c:formatCode>General</c:formatCode>
                <c:ptCount val="80"/>
                <c:pt idx="0">
                  <c:v>35.0</c:v>
                </c:pt>
                <c:pt idx="1">
                  <c:v>56.0</c:v>
                </c:pt>
                <c:pt idx="2">
                  <c:v>23.0</c:v>
                </c:pt>
                <c:pt idx="3">
                  <c:v>43.0</c:v>
                </c:pt>
                <c:pt idx="4">
                  <c:v>19.0</c:v>
                </c:pt>
                <c:pt idx="5">
                  <c:v>27.0</c:v>
                </c:pt>
                <c:pt idx="6">
                  <c:v>23.0</c:v>
                </c:pt>
                <c:pt idx="7">
                  <c:v>33.0</c:v>
                </c:pt>
                <c:pt idx="8">
                  <c:v>39.0</c:v>
                </c:pt>
                <c:pt idx="9">
                  <c:v>39.0</c:v>
                </c:pt>
                <c:pt idx="10">
                  <c:v>41.0</c:v>
                </c:pt>
                <c:pt idx="11">
                  <c:v>35.0</c:v>
                </c:pt>
                <c:pt idx="12">
                  <c:v>44.0</c:v>
                </c:pt>
                <c:pt idx="13">
                  <c:v>53.0</c:v>
                </c:pt>
                <c:pt idx="14">
                  <c:v>67.0</c:v>
                </c:pt>
                <c:pt idx="15">
                  <c:v>42.0</c:v>
                </c:pt>
                <c:pt idx="16">
                  <c:v>42.0</c:v>
                </c:pt>
                <c:pt idx="17">
                  <c:v>34.0</c:v>
                </c:pt>
                <c:pt idx="18">
                  <c:v>48.0</c:v>
                </c:pt>
                <c:pt idx="19">
                  <c:v>60.0</c:v>
                </c:pt>
                <c:pt idx="20">
                  <c:v>62.0</c:v>
                </c:pt>
                <c:pt idx="21">
                  <c:v>97.0</c:v>
                </c:pt>
                <c:pt idx="22">
                  <c:v>212.0</c:v>
                </c:pt>
                <c:pt idx="23">
                  <c:v>172.0</c:v>
                </c:pt>
                <c:pt idx="24">
                  <c:v>114.0</c:v>
                </c:pt>
                <c:pt idx="25">
                  <c:v>25.0</c:v>
                </c:pt>
                <c:pt idx="26">
                  <c:v>26.0</c:v>
                </c:pt>
                <c:pt idx="27">
                  <c:v>44.0</c:v>
                </c:pt>
                <c:pt idx="28">
                  <c:v>36.0</c:v>
                </c:pt>
                <c:pt idx="29">
                  <c:v>31.0</c:v>
                </c:pt>
                <c:pt idx="30">
                  <c:v>56.0</c:v>
                </c:pt>
                <c:pt idx="31">
                  <c:v>20.0</c:v>
                </c:pt>
                <c:pt idx="32">
                  <c:v>37.0</c:v>
                </c:pt>
                <c:pt idx="33">
                  <c:v>24.0</c:v>
                </c:pt>
                <c:pt idx="34">
                  <c:v>29.0</c:v>
                </c:pt>
                <c:pt idx="35">
                  <c:v>40.0</c:v>
                </c:pt>
                <c:pt idx="36">
                  <c:v>35.0</c:v>
                </c:pt>
                <c:pt idx="37">
                  <c:v>35.0</c:v>
                </c:pt>
                <c:pt idx="38">
                  <c:v>39.0</c:v>
                </c:pt>
                <c:pt idx="39">
                  <c:v>28.0</c:v>
                </c:pt>
                <c:pt idx="40">
                  <c:v>25.0</c:v>
                </c:pt>
                <c:pt idx="41">
                  <c:v>26.0</c:v>
                </c:pt>
                <c:pt idx="42">
                  <c:v>21.0</c:v>
                </c:pt>
                <c:pt idx="43">
                  <c:v>33.0</c:v>
                </c:pt>
                <c:pt idx="44">
                  <c:v>49.0</c:v>
                </c:pt>
                <c:pt idx="45">
                  <c:v>33.0</c:v>
                </c:pt>
                <c:pt idx="46">
                  <c:v>45.0</c:v>
                </c:pt>
                <c:pt idx="47">
                  <c:v>52.0</c:v>
                </c:pt>
                <c:pt idx="48">
                  <c:v>26.0</c:v>
                </c:pt>
                <c:pt idx="49">
                  <c:v>59.0</c:v>
                </c:pt>
                <c:pt idx="50">
                  <c:v>32.0</c:v>
                </c:pt>
                <c:pt idx="51">
                  <c:v>48.0</c:v>
                </c:pt>
                <c:pt idx="52">
                  <c:v>32.0</c:v>
                </c:pt>
                <c:pt idx="53">
                  <c:v>31.0</c:v>
                </c:pt>
                <c:pt idx="54">
                  <c:v>31.0</c:v>
                </c:pt>
                <c:pt idx="55">
                  <c:v>17.0</c:v>
                </c:pt>
                <c:pt idx="56">
                  <c:v>25.0</c:v>
                </c:pt>
                <c:pt idx="57">
                  <c:v>24.0</c:v>
                </c:pt>
                <c:pt idx="58">
                  <c:v>43.0</c:v>
                </c:pt>
                <c:pt idx="59">
                  <c:v>41.0</c:v>
                </c:pt>
                <c:pt idx="60">
                  <c:v>22.0</c:v>
                </c:pt>
                <c:pt idx="61">
                  <c:v>33.0</c:v>
                </c:pt>
                <c:pt idx="62">
                  <c:v>33.0</c:v>
                </c:pt>
                <c:pt idx="63">
                  <c:v>39.0</c:v>
                </c:pt>
                <c:pt idx="64">
                  <c:v>28.0</c:v>
                </c:pt>
                <c:pt idx="65">
                  <c:v>33.0</c:v>
                </c:pt>
                <c:pt idx="66">
                  <c:v>26.0</c:v>
                </c:pt>
                <c:pt idx="67">
                  <c:v>41.0</c:v>
                </c:pt>
                <c:pt idx="68">
                  <c:v>48.0</c:v>
                </c:pt>
                <c:pt idx="69">
                  <c:v>46.0</c:v>
                </c:pt>
                <c:pt idx="70">
                  <c:v>38.0</c:v>
                </c:pt>
                <c:pt idx="71">
                  <c:v>46.0</c:v>
                </c:pt>
                <c:pt idx="72">
                  <c:v>58.0</c:v>
                </c:pt>
                <c:pt idx="73">
                  <c:v>48.0</c:v>
                </c:pt>
                <c:pt idx="74">
                  <c:v>146.0</c:v>
                </c:pt>
                <c:pt idx="75">
                  <c:v>109.0</c:v>
                </c:pt>
                <c:pt idx="76">
                  <c:v>17.0</c:v>
                </c:pt>
                <c:pt idx="77">
                  <c:v>39.0</c:v>
                </c:pt>
                <c:pt idx="78">
                  <c:v>34.0</c:v>
                </c:pt>
                <c:pt idx="79">
                  <c:v>33.0</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81</c:f>
              <c:numCache>
                <c:formatCode>yyyy\-mm\-dd</c:formatCode>
                <c:ptCount val="80"/>
                <c:pt idx="0">
                  <c:v>45130.0</c:v>
                </c:pt>
                <c:pt idx="1">
                  <c:v>45137.0</c:v>
                </c:pt>
                <c:pt idx="2">
                  <c:v>45144.0</c:v>
                </c:pt>
                <c:pt idx="3">
                  <c:v>45151.0</c:v>
                </c:pt>
                <c:pt idx="4">
                  <c:v>45158.0</c:v>
                </c:pt>
                <c:pt idx="5">
                  <c:v>45165.0</c:v>
                </c:pt>
                <c:pt idx="6">
                  <c:v>45172.0</c:v>
                </c:pt>
                <c:pt idx="7">
                  <c:v>45179.0</c:v>
                </c:pt>
                <c:pt idx="8">
                  <c:v>45186.0</c:v>
                </c:pt>
                <c:pt idx="9">
                  <c:v>45193.0</c:v>
                </c:pt>
                <c:pt idx="10">
                  <c:v>45200.0</c:v>
                </c:pt>
                <c:pt idx="11">
                  <c:v>45207.0</c:v>
                </c:pt>
                <c:pt idx="12">
                  <c:v>45214.0</c:v>
                </c:pt>
                <c:pt idx="13">
                  <c:v>45221.0</c:v>
                </c:pt>
                <c:pt idx="14">
                  <c:v>45228.0</c:v>
                </c:pt>
                <c:pt idx="15">
                  <c:v>45235.0</c:v>
                </c:pt>
                <c:pt idx="16">
                  <c:v>45242.0</c:v>
                </c:pt>
                <c:pt idx="17">
                  <c:v>45249.0</c:v>
                </c:pt>
                <c:pt idx="18">
                  <c:v>45256.0</c:v>
                </c:pt>
                <c:pt idx="19">
                  <c:v>45263.0</c:v>
                </c:pt>
                <c:pt idx="20">
                  <c:v>45270.0</c:v>
                </c:pt>
                <c:pt idx="21">
                  <c:v>45277.0</c:v>
                </c:pt>
                <c:pt idx="22">
                  <c:v>45284.0</c:v>
                </c:pt>
                <c:pt idx="23">
                  <c:v>45291.0</c:v>
                </c:pt>
                <c:pt idx="24">
                  <c:v>45298.0</c:v>
                </c:pt>
                <c:pt idx="25">
                  <c:v>45305.0</c:v>
                </c:pt>
                <c:pt idx="26">
                  <c:v>45312.0</c:v>
                </c:pt>
                <c:pt idx="27">
                  <c:v>45319.0</c:v>
                </c:pt>
                <c:pt idx="28">
                  <c:v>45326.0</c:v>
                </c:pt>
                <c:pt idx="29">
                  <c:v>45333.0</c:v>
                </c:pt>
                <c:pt idx="30">
                  <c:v>45340.0</c:v>
                </c:pt>
                <c:pt idx="31">
                  <c:v>45347.0</c:v>
                </c:pt>
                <c:pt idx="32">
                  <c:v>45354.0</c:v>
                </c:pt>
                <c:pt idx="33">
                  <c:v>45361.0</c:v>
                </c:pt>
                <c:pt idx="34">
                  <c:v>45368.0</c:v>
                </c:pt>
                <c:pt idx="35">
                  <c:v>45375.0</c:v>
                </c:pt>
                <c:pt idx="36">
                  <c:v>45382.0</c:v>
                </c:pt>
                <c:pt idx="37">
                  <c:v>45389.0</c:v>
                </c:pt>
                <c:pt idx="38">
                  <c:v>45396.0</c:v>
                </c:pt>
                <c:pt idx="39">
                  <c:v>45403.0</c:v>
                </c:pt>
                <c:pt idx="40">
                  <c:v>45410.0</c:v>
                </c:pt>
                <c:pt idx="41">
                  <c:v>45417.0</c:v>
                </c:pt>
                <c:pt idx="42">
                  <c:v>45424.0</c:v>
                </c:pt>
                <c:pt idx="43">
                  <c:v>45431.0</c:v>
                </c:pt>
                <c:pt idx="44">
                  <c:v>45438.0</c:v>
                </c:pt>
                <c:pt idx="45">
                  <c:v>45445.0</c:v>
                </c:pt>
                <c:pt idx="46">
                  <c:v>45452.0</c:v>
                </c:pt>
                <c:pt idx="47">
                  <c:v>45459.0</c:v>
                </c:pt>
                <c:pt idx="48">
                  <c:v>45466.0</c:v>
                </c:pt>
                <c:pt idx="49">
                  <c:v>45473.0</c:v>
                </c:pt>
                <c:pt idx="50">
                  <c:v>45480.0</c:v>
                </c:pt>
                <c:pt idx="51">
                  <c:v>45487.0</c:v>
                </c:pt>
                <c:pt idx="52">
                  <c:v>45494.0</c:v>
                </c:pt>
                <c:pt idx="53">
                  <c:v>45501.0</c:v>
                </c:pt>
                <c:pt idx="54">
                  <c:v>45508.0</c:v>
                </c:pt>
                <c:pt idx="55">
                  <c:v>45515.0</c:v>
                </c:pt>
                <c:pt idx="56">
                  <c:v>45522.0</c:v>
                </c:pt>
                <c:pt idx="57">
                  <c:v>45529.0</c:v>
                </c:pt>
                <c:pt idx="58">
                  <c:v>45536.0</c:v>
                </c:pt>
                <c:pt idx="59">
                  <c:v>45543.0</c:v>
                </c:pt>
                <c:pt idx="60">
                  <c:v>45550.0</c:v>
                </c:pt>
                <c:pt idx="61">
                  <c:v>45557.0</c:v>
                </c:pt>
                <c:pt idx="62">
                  <c:v>45564.0</c:v>
                </c:pt>
                <c:pt idx="63">
                  <c:v>45571.0</c:v>
                </c:pt>
                <c:pt idx="64">
                  <c:v>45578.0</c:v>
                </c:pt>
                <c:pt idx="65">
                  <c:v>45585.0</c:v>
                </c:pt>
                <c:pt idx="66">
                  <c:v>45592.0</c:v>
                </c:pt>
                <c:pt idx="67">
                  <c:v>45599.0</c:v>
                </c:pt>
                <c:pt idx="68">
                  <c:v>45606.0</c:v>
                </c:pt>
                <c:pt idx="69">
                  <c:v>45613.0</c:v>
                </c:pt>
                <c:pt idx="70">
                  <c:v>45620.0</c:v>
                </c:pt>
                <c:pt idx="71">
                  <c:v>45627.0</c:v>
                </c:pt>
                <c:pt idx="72">
                  <c:v>45634.0</c:v>
                </c:pt>
                <c:pt idx="73">
                  <c:v>45641.0</c:v>
                </c:pt>
                <c:pt idx="74">
                  <c:v>45648.0</c:v>
                </c:pt>
                <c:pt idx="75">
                  <c:v>45655.0</c:v>
                </c:pt>
                <c:pt idx="76">
                  <c:v>45662.0</c:v>
                </c:pt>
                <c:pt idx="77">
                  <c:v>45669.0</c:v>
                </c:pt>
                <c:pt idx="78">
                  <c:v>45676.0</c:v>
                </c:pt>
                <c:pt idx="79">
                  <c:v>45683.0</c:v>
                </c:pt>
              </c:numCache>
            </c:numRef>
          </c:cat>
          <c:val>
            <c:numRef>
              <c:f>Sheet1!$C$2:$C$81</c:f>
              <c:numCache>
                <c:formatCode>General</c:formatCode>
                <c:ptCount val="8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26.0</c:v>
                </c:pt>
                <c:pt idx="40">
                  <c:v>27.0</c:v>
                </c:pt>
                <c:pt idx="41">
                  <c:v>26.0</c:v>
                </c:pt>
                <c:pt idx="42">
                  <c:v>21.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c:f>
              <c:numCache>
                <c:formatCode>General</c:formatCode>
                <c:ptCount val="6"/>
                <c:pt idx="0">
                  <c:v>0.2</c:v>
                </c:pt>
                <c:pt idx="1">
                  <c:v>0.2</c:v>
                </c:pt>
                <c:pt idx="2">
                  <c:v>0.2</c:v>
                </c:pt>
                <c:pt idx="3">
                  <c:v>0.30000000000000004</c:v>
                </c:pt>
                <c:pt idx="4">
                  <c:v>0.25</c:v>
                </c:pt>
                <c:pt idx="5">
                  <c:v>0.30000000000000004</c:v>
                </c:pt>
              </c:numCache>
            </c:numRef>
          </c:xVal>
          <c:yVal>
            <c:numRef>
              <c:f>Sheet1!$B$2:$B$7</c:f>
              <c:numCache>
                <c:formatCode>General</c:formatCode>
                <c:ptCount val="6"/>
                <c:pt idx="0">
                  <c:v>1.0483333333333336</c:v>
                </c:pt>
                <c:pt idx="1">
                  <c:v>0.45716945996275604</c:v>
                </c:pt>
                <c:pt idx="2">
                  <c:v>1.4965156794425087</c:v>
                </c:pt>
                <c:pt idx="3">
                  <c:v>6.070443349753695</c:v>
                </c:pt>
                <c:pt idx="4">
                  <c:v>3.622356495468278</c:v>
                </c:pt>
                <c:pt idx="5">
                  <c:v>4.2507552870090635</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284532019704434"/>
          <c:min val="0.3657355679702048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c:f>
              <c:numCache>
                <c:formatCode>General</c:formatCode>
                <c:ptCount val="6"/>
                <c:pt idx="0">
                  <c:v>29.5</c:v>
                </c:pt>
                <c:pt idx="1">
                  <c:v>29.5</c:v>
                </c:pt>
                <c:pt idx="2">
                  <c:v>29.5</c:v>
                </c:pt>
                <c:pt idx="3">
                  <c:v>30.0</c:v>
                </c:pt>
                <c:pt idx="4">
                  <c:v>30.0</c:v>
                </c:pt>
                <c:pt idx="5">
                  <c:v>30.0</c:v>
                </c:pt>
              </c:numCache>
            </c:numRef>
          </c:xVal>
          <c:yVal>
            <c:numRef>
              <c:f>Sheet1!$B$2:$B$7</c:f>
              <c:numCache>
                <c:formatCode>General</c:formatCode>
                <c:ptCount val="6"/>
                <c:pt idx="0">
                  <c:v>1.0483333333333336</c:v>
                </c:pt>
                <c:pt idx="1">
                  <c:v>0.45716945996275604</c:v>
                </c:pt>
                <c:pt idx="2">
                  <c:v>1.4965156794425087</c:v>
                </c:pt>
                <c:pt idx="3">
                  <c:v>6.070443349753695</c:v>
                </c:pt>
                <c:pt idx="4">
                  <c:v>3.622356495468278</c:v>
                </c:pt>
                <c:pt idx="5">
                  <c:v>4.2507552870090635</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2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284532019704434"/>
          <c:min val="0.3657355679702048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35000000000000003</c:v>
                </c:pt>
                <c:pt idx="1">
                  <c:v>0.35000000000000003</c:v>
                </c:pt>
                <c:pt idx="2">
                  <c:v>0.2</c:v>
                </c:pt>
                <c:pt idx="3">
                  <c:v>0.2</c:v>
                </c:pt>
                <c:pt idx="4">
                  <c:v>-0.05</c:v>
                </c:pt>
                <c:pt idx="5">
                  <c:v>0.2</c:v>
                </c:pt>
                <c:pt idx="6">
                  <c:v>0.30000000000000004</c:v>
                </c:pt>
                <c:pt idx="7">
                  <c:v>0.2</c:v>
                </c:pt>
                <c:pt idx="8">
                  <c:v>0.25</c:v>
                </c:pt>
                <c:pt idx="9">
                  <c:v>0.25</c:v>
                </c:pt>
                <c:pt idx="10">
                  <c:v>0.2</c:v>
                </c:pt>
                <c:pt idx="11">
                  <c:v>0.2</c:v>
                </c:pt>
                <c:pt idx="12">
                  <c:v>0.30000000000000004</c:v>
                </c:pt>
              </c:numCache>
            </c:numRef>
          </c:xVal>
          <c:yVal>
            <c:numRef>
              <c:f>Sheet1!$B$2:$B$14</c:f>
              <c:numCache>
                <c:formatCode>General</c:formatCode>
                <c:ptCount val="13"/>
                <c:pt idx="0">
                  <c:v>4.998316498316498</c:v>
                </c:pt>
                <c:pt idx="1">
                  <c:v>6.095299145299145</c:v>
                </c:pt>
                <c:pt idx="2">
                  <c:v>1.255184257266194</c:v>
                </c:pt>
                <c:pt idx="3">
                  <c:v>0.703978622327791</c:v>
                </c:pt>
                <c:pt idx="4">
                  <c:v>2.260752688172043</c:v>
                </c:pt>
                <c:pt idx="5">
                  <c:v>1.7019122609673791</c:v>
                </c:pt>
                <c:pt idx="6">
                  <c:v>0.41458333333333336</c:v>
                </c:pt>
                <c:pt idx="7">
                  <c:v>0.45274235984618505</c:v>
                </c:pt>
                <c:pt idx="8">
                  <c:v>3.79842032967033</c:v>
                </c:pt>
                <c:pt idx="9">
                  <c:v>0.30518018018018017</c:v>
                </c:pt>
                <c:pt idx="10">
                  <c:v>3.6965361445783134</c:v>
                </c:pt>
                <c:pt idx="11">
                  <c:v>0.628125</c:v>
                </c:pt>
                <c:pt idx="12">
                  <c:v>3.380141843971631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2000000000000004"/>
          <c:min val="-0.04000000000000001"/>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314358974358973"/>
          <c:min val="0.2441441441441441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6.0</c:v>
                </c:pt>
                <c:pt idx="1">
                  <c:v>26.0</c:v>
                </c:pt>
                <c:pt idx="2">
                  <c:v>29.5</c:v>
                </c:pt>
                <c:pt idx="3">
                  <c:v>29.5</c:v>
                </c:pt>
                <c:pt idx="4">
                  <c:v>29.5</c:v>
                </c:pt>
                <c:pt idx="5">
                  <c:v>29.5</c:v>
                </c:pt>
                <c:pt idx="6">
                  <c:v>18.0</c:v>
                </c:pt>
                <c:pt idx="7">
                  <c:v>29.5</c:v>
                </c:pt>
                <c:pt idx="8">
                  <c:v>30.0</c:v>
                </c:pt>
                <c:pt idx="9">
                  <c:v>18.0</c:v>
                </c:pt>
                <c:pt idx="10">
                  <c:v>30.0</c:v>
                </c:pt>
                <c:pt idx="11">
                  <c:v>18.0</c:v>
                </c:pt>
                <c:pt idx="12">
                  <c:v>30.0</c:v>
                </c:pt>
              </c:numCache>
            </c:numRef>
          </c:xVal>
          <c:yVal>
            <c:numRef>
              <c:f>Sheet1!$B$2:$B$14</c:f>
              <c:numCache>
                <c:formatCode>General</c:formatCode>
                <c:ptCount val="13"/>
                <c:pt idx="0">
                  <c:v>4.998316498316498</c:v>
                </c:pt>
                <c:pt idx="1">
                  <c:v>6.095299145299145</c:v>
                </c:pt>
                <c:pt idx="2">
                  <c:v>1.255184257266194</c:v>
                </c:pt>
                <c:pt idx="3">
                  <c:v>0.703978622327791</c:v>
                </c:pt>
                <c:pt idx="4">
                  <c:v>2.260752688172043</c:v>
                </c:pt>
                <c:pt idx="5">
                  <c:v>1.7019122609673791</c:v>
                </c:pt>
                <c:pt idx="6">
                  <c:v>0.41458333333333336</c:v>
                </c:pt>
                <c:pt idx="7">
                  <c:v>0.45274235984618505</c:v>
                </c:pt>
                <c:pt idx="8">
                  <c:v>3.79842032967033</c:v>
                </c:pt>
                <c:pt idx="9">
                  <c:v>0.30518018018018017</c:v>
                </c:pt>
                <c:pt idx="10">
                  <c:v>3.6965361445783134</c:v>
                </c:pt>
                <c:pt idx="11">
                  <c:v>0.628125</c:v>
                </c:pt>
                <c:pt idx="12">
                  <c:v>3.380141843971631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14.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314358974358973"/>
          <c:min val="0.2441441441441441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c:f>
              <c:numCache>
                <c:formatCode>General</c:formatCode>
                <c:ptCount val="7"/>
                <c:pt idx="0">
                  <c:v>0.4</c:v>
                </c:pt>
                <c:pt idx="1">
                  <c:v>0.2</c:v>
                </c:pt>
                <c:pt idx="2">
                  <c:v>0.2</c:v>
                </c:pt>
                <c:pt idx="3">
                  <c:v>0.2</c:v>
                </c:pt>
                <c:pt idx="4">
                  <c:v>0.25</c:v>
                </c:pt>
                <c:pt idx="5">
                  <c:v>0.25</c:v>
                </c:pt>
                <c:pt idx="6">
                  <c:v>0.30000000000000004</c:v>
                </c:pt>
              </c:numCache>
            </c:numRef>
          </c:xVal>
          <c:yVal>
            <c:numRef>
              <c:f>Sheet1!$B$2:$B$8</c:f>
              <c:numCache>
                <c:formatCode>General</c:formatCode>
                <c:ptCount val="7"/>
                <c:pt idx="0">
                  <c:v>9.954954954954955</c:v>
                </c:pt>
                <c:pt idx="1">
                  <c:v>1.4504504504504505</c:v>
                </c:pt>
                <c:pt idx="2">
                  <c:v>0.07014157014157014</c:v>
                </c:pt>
                <c:pt idx="3">
                  <c:v>2.1056422569027613</c:v>
                </c:pt>
                <c:pt idx="4">
                  <c:v>5.346774193548387</c:v>
                </c:pt>
                <c:pt idx="5">
                  <c:v>6.277628032345014</c:v>
                </c:pt>
                <c:pt idx="6">
                  <c:v>7.19854721549636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945945945945946"/>
          <c:min val="0.0561132561132561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c:f>
              <c:numCache>
                <c:formatCode>General</c:formatCode>
                <c:ptCount val="7"/>
                <c:pt idx="0">
                  <c:v>26.0</c:v>
                </c:pt>
                <c:pt idx="1">
                  <c:v>29.5</c:v>
                </c:pt>
                <c:pt idx="2">
                  <c:v>29.5</c:v>
                </c:pt>
                <c:pt idx="3">
                  <c:v>29.5</c:v>
                </c:pt>
                <c:pt idx="4">
                  <c:v>30.0</c:v>
                </c:pt>
                <c:pt idx="5">
                  <c:v>30.0</c:v>
                </c:pt>
                <c:pt idx="6">
                  <c:v>30.0</c:v>
                </c:pt>
              </c:numCache>
            </c:numRef>
          </c:xVal>
          <c:yVal>
            <c:numRef>
              <c:f>Sheet1!$B$2:$B$8</c:f>
              <c:numCache>
                <c:formatCode>General</c:formatCode>
                <c:ptCount val="7"/>
                <c:pt idx="0">
                  <c:v>9.954954954954955</c:v>
                </c:pt>
                <c:pt idx="1">
                  <c:v>1.4504504504504505</c:v>
                </c:pt>
                <c:pt idx="2">
                  <c:v>0.07014157014157014</c:v>
                </c:pt>
                <c:pt idx="3">
                  <c:v>2.1056422569027613</c:v>
                </c:pt>
                <c:pt idx="4">
                  <c:v>5.346774193548387</c:v>
                </c:pt>
                <c:pt idx="5">
                  <c:v>6.277628032345014</c:v>
                </c:pt>
                <c:pt idx="6">
                  <c:v>7.19854721549636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2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945945945945946"/>
          <c:min val="0.0561132561132561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0.2</c:v>
                </c:pt>
                <c:pt idx="1">
                  <c:v>0.2</c:v>
                </c:pt>
                <c:pt idx="2">
                  <c:v>0.2</c:v>
                </c:pt>
                <c:pt idx="3">
                  <c:v>0.25</c:v>
                </c:pt>
                <c:pt idx="4">
                  <c:v>0.2</c:v>
                </c:pt>
                <c:pt idx="5">
                  <c:v>0.25</c:v>
                </c:pt>
                <c:pt idx="6">
                  <c:v>0.25</c:v>
                </c:pt>
                <c:pt idx="7">
                  <c:v>0.30000000000000004</c:v>
                </c:pt>
                <c:pt idx="8">
                  <c:v>0.25</c:v>
                </c:pt>
              </c:numCache>
            </c:numRef>
          </c:xVal>
          <c:yVal>
            <c:numRef>
              <c:f>Sheet1!$B$2:$B$10</c:f>
              <c:numCache>
                <c:formatCode>General</c:formatCode>
                <c:ptCount val="9"/>
                <c:pt idx="0">
                  <c:v>1.4902929094481157</c:v>
                </c:pt>
                <c:pt idx="1">
                  <c:v>0.31515444015444016</c:v>
                </c:pt>
                <c:pt idx="2">
                  <c:v>1.731081081081081</c:v>
                </c:pt>
                <c:pt idx="3">
                  <c:v>0.49583333333333335</c:v>
                </c:pt>
                <c:pt idx="4">
                  <c:v>0.4570911269024477</c:v>
                </c:pt>
                <c:pt idx="5">
                  <c:v>4.092662632375189</c:v>
                </c:pt>
                <c:pt idx="6">
                  <c:v>5.80786686838124</c:v>
                </c:pt>
                <c:pt idx="7">
                  <c:v>0.7332490518331226</c:v>
                </c:pt>
                <c:pt idx="8">
                  <c:v>5.45014245014245</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6.969440242057488"/>
          <c:min val="0.2521235521235521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29.5</c:v>
                </c:pt>
                <c:pt idx="1">
                  <c:v>29.5</c:v>
                </c:pt>
                <c:pt idx="2">
                  <c:v>29.5</c:v>
                </c:pt>
                <c:pt idx="3">
                  <c:v>18.0</c:v>
                </c:pt>
                <c:pt idx="4">
                  <c:v>29.5</c:v>
                </c:pt>
                <c:pt idx="5">
                  <c:v>30.0</c:v>
                </c:pt>
                <c:pt idx="6">
                  <c:v>30.0</c:v>
                </c:pt>
                <c:pt idx="7">
                  <c:v>18.0</c:v>
                </c:pt>
                <c:pt idx="8">
                  <c:v>30.0</c:v>
                </c:pt>
              </c:numCache>
            </c:numRef>
          </c:xVal>
          <c:yVal>
            <c:numRef>
              <c:f>Sheet1!$B$2:$B$10</c:f>
              <c:numCache>
                <c:formatCode>General</c:formatCode>
                <c:ptCount val="9"/>
                <c:pt idx="0">
                  <c:v>1.4902929094481157</c:v>
                </c:pt>
                <c:pt idx="1">
                  <c:v>0.31515444015444016</c:v>
                </c:pt>
                <c:pt idx="2">
                  <c:v>1.731081081081081</c:v>
                </c:pt>
                <c:pt idx="3">
                  <c:v>0.49583333333333335</c:v>
                </c:pt>
                <c:pt idx="4">
                  <c:v>0.4570911269024477</c:v>
                </c:pt>
                <c:pt idx="5">
                  <c:v>4.092662632375189</c:v>
                </c:pt>
                <c:pt idx="6">
                  <c:v>5.80786686838124</c:v>
                </c:pt>
                <c:pt idx="7">
                  <c:v>0.7332490518331226</c:v>
                </c:pt>
                <c:pt idx="8">
                  <c:v>5.45014245014245</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14.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6.969440242057488"/>
          <c:min val="0.2521235521235521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c:f>
              <c:numCache>
                <c:formatCode>General</c:formatCode>
                <c:ptCount val="7"/>
                <c:pt idx="0">
                  <c:v>0.05</c:v>
                </c:pt>
                <c:pt idx="1">
                  <c:v>0.30000000000000004</c:v>
                </c:pt>
                <c:pt idx="2">
                  <c:v>0.25</c:v>
                </c:pt>
                <c:pt idx="3">
                  <c:v>0.2</c:v>
                </c:pt>
                <c:pt idx="4">
                  <c:v>0.2</c:v>
                </c:pt>
                <c:pt idx="5">
                  <c:v>0.4</c:v>
                </c:pt>
                <c:pt idx="6">
                  <c:v>0.25</c:v>
                </c:pt>
              </c:numCache>
            </c:numRef>
          </c:xVal>
          <c:yVal>
            <c:numRef>
              <c:f>Sheet1!$B$2:$B$8</c:f>
              <c:numCache>
                <c:formatCode>General</c:formatCode>
                <c:ptCount val="7"/>
                <c:pt idx="0">
                  <c:v>8.0</c:v>
                </c:pt>
                <c:pt idx="1">
                  <c:v>9.324324324324325</c:v>
                </c:pt>
                <c:pt idx="2">
                  <c:v>1.1066293183940243</c:v>
                </c:pt>
                <c:pt idx="3">
                  <c:v>1.0174603174603174</c:v>
                </c:pt>
                <c:pt idx="4">
                  <c:v>1.6434659090909092</c:v>
                </c:pt>
                <c:pt idx="5">
                  <c:v>5.951690821256038</c:v>
                </c:pt>
                <c:pt idx="6">
                  <c:v>7.24637681159420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04000000000000001"/>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18918918918919"/>
          <c:min val="0.81396825396825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c:f>
              <c:numCache>
                <c:formatCode>General</c:formatCode>
                <c:ptCount val="7"/>
                <c:pt idx="0">
                  <c:v>26.0</c:v>
                </c:pt>
                <c:pt idx="1">
                  <c:v>26.0</c:v>
                </c:pt>
                <c:pt idx="2">
                  <c:v>29.5</c:v>
                </c:pt>
                <c:pt idx="3">
                  <c:v>29.5</c:v>
                </c:pt>
                <c:pt idx="4">
                  <c:v>29.5</c:v>
                </c:pt>
                <c:pt idx="5">
                  <c:v>30.0</c:v>
                </c:pt>
                <c:pt idx="6">
                  <c:v>30.0</c:v>
                </c:pt>
              </c:numCache>
            </c:numRef>
          </c:xVal>
          <c:yVal>
            <c:numRef>
              <c:f>Sheet1!$B$2:$B$8</c:f>
              <c:numCache>
                <c:formatCode>General</c:formatCode>
                <c:ptCount val="7"/>
                <c:pt idx="0">
                  <c:v>8.0</c:v>
                </c:pt>
                <c:pt idx="1">
                  <c:v>9.324324324324325</c:v>
                </c:pt>
                <c:pt idx="2">
                  <c:v>1.1066293183940243</c:v>
                </c:pt>
                <c:pt idx="3">
                  <c:v>1.0174603174603174</c:v>
                </c:pt>
                <c:pt idx="4">
                  <c:v>1.6434659090909092</c:v>
                </c:pt>
                <c:pt idx="5">
                  <c:v>5.951690821256038</c:v>
                </c:pt>
                <c:pt idx="6">
                  <c:v>7.24637681159420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2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18918918918919"/>
          <c:min val="0.813968253968254"/>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3800000000000003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c:f>
              <c:numCache>
                <c:formatCode>General</c:formatCode>
                <c:ptCount val="5"/>
                <c:pt idx="0">
                  <c:v>0.35000000000000003</c:v>
                </c:pt>
                <c:pt idx="1">
                  <c:v>0.2</c:v>
                </c:pt>
                <c:pt idx="2">
                  <c:v>0.2</c:v>
                </c:pt>
                <c:pt idx="3">
                  <c:v>0.2</c:v>
                </c:pt>
                <c:pt idx="4">
                  <c:v>0.2</c:v>
                </c:pt>
              </c:numCache>
            </c:numRef>
          </c:xVal>
          <c:yVal>
            <c:numRef>
              <c:f>Sheet1!$B$2:$B$6</c:f>
              <c:numCache>
                <c:formatCode>General</c:formatCode>
                <c:ptCount val="5"/>
                <c:pt idx="0">
                  <c:v>4.998316498316498</c:v>
                </c:pt>
                <c:pt idx="1">
                  <c:v>1.255184257266194</c:v>
                </c:pt>
                <c:pt idx="2">
                  <c:v>0.703978622327791</c:v>
                </c:pt>
                <c:pt idx="3">
                  <c:v>1.7019122609673791</c:v>
                </c:pt>
                <c:pt idx="4">
                  <c:v>0.45274235984618505</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2000000000000004"/>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997979797979798"/>
          <c:min val="0.3621938878769480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c:f>
              <c:numCache>
                <c:formatCode>General</c:formatCode>
                <c:ptCount val="5"/>
                <c:pt idx="0">
                  <c:v>26.0</c:v>
                </c:pt>
                <c:pt idx="1">
                  <c:v>29.5</c:v>
                </c:pt>
                <c:pt idx="2">
                  <c:v>29.5</c:v>
                </c:pt>
                <c:pt idx="3">
                  <c:v>29.5</c:v>
                </c:pt>
                <c:pt idx="4">
                  <c:v>29.5</c:v>
                </c:pt>
              </c:numCache>
            </c:numRef>
          </c:xVal>
          <c:yVal>
            <c:numRef>
              <c:f>Sheet1!$B$2:$B$6</c:f>
              <c:numCache>
                <c:formatCode>General</c:formatCode>
                <c:ptCount val="5"/>
                <c:pt idx="0">
                  <c:v>4.998316498316498</c:v>
                </c:pt>
                <c:pt idx="1">
                  <c:v>1.255184257266194</c:v>
                </c:pt>
                <c:pt idx="2">
                  <c:v>0.703978622327791</c:v>
                </c:pt>
                <c:pt idx="3">
                  <c:v>1.7019122609673791</c:v>
                </c:pt>
                <c:pt idx="4">
                  <c:v>0.45274235984618505</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2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997979797979798"/>
          <c:min val="0.3621938878769480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1774248760412873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136</c:v>
                </c:pt>
                <c:pt idx="1">
                  <c:v>0.588000000000000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c:f>
              <c:numCache>
                <c:formatCode>General</c:formatCode>
                <c:ptCount val="6"/>
                <c:pt idx="0">
                  <c:v>0.30000000000000004</c:v>
                </c:pt>
                <c:pt idx="1">
                  <c:v>0.25</c:v>
                </c:pt>
                <c:pt idx="2">
                  <c:v>0.25</c:v>
                </c:pt>
                <c:pt idx="3">
                  <c:v>0.2</c:v>
                </c:pt>
                <c:pt idx="4">
                  <c:v>0.2</c:v>
                </c:pt>
                <c:pt idx="5">
                  <c:v>0.30000000000000004</c:v>
                </c:pt>
              </c:numCache>
            </c:numRef>
          </c:xVal>
          <c:yVal>
            <c:numRef>
              <c:f>Sheet1!$B$2:$B$7</c:f>
              <c:numCache>
                <c:formatCode>General</c:formatCode>
                <c:ptCount val="6"/>
                <c:pt idx="0">
                  <c:v>0.41458333333333336</c:v>
                </c:pt>
                <c:pt idx="1">
                  <c:v>3.79842032967033</c:v>
                </c:pt>
                <c:pt idx="2">
                  <c:v>0.30518018018018017</c:v>
                </c:pt>
                <c:pt idx="3">
                  <c:v>3.6965361445783134</c:v>
                </c:pt>
                <c:pt idx="4">
                  <c:v>0.628125</c:v>
                </c:pt>
                <c:pt idx="5">
                  <c:v>3.380141843971631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558104395604396"/>
          <c:min val="0.2441441441441441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c:f>
              <c:numCache>
                <c:formatCode>General</c:formatCode>
                <c:ptCount val="6"/>
                <c:pt idx="0">
                  <c:v>18.0</c:v>
                </c:pt>
                <c:pt idx="1">
                  <c:v>30.0</c:v>
                </c:pt>
                <c:pt idx="2">
                  <c:v>18.0</c:v>
                </c:pt>
                <c:pt idx="3">
                  <c:v>30.0</c:v>
                </c:pt>
                <c:pt idx="4">
                  <c:v>18.0</c:v>
                </c:pt>
                <c:pt idx="5">
                  <c:v>30.0</c:v>
                </c:pt>
              </c:numCache>
            </c:numRef>
          </c:xVal>
          <c:yVal>
            <c:numRef>
              <c:f>Sheet1!$B$2:$B$7</c:f>
              <c:numCache>
                <c:formatCode>General</c:formatCode>
                <c:ptCount val="6"/>
                <c:pt idx="0">
                  <c:v>0.41458333333333336</c:v>
                </c:pt>
                <c:pt idx="1">
                  <c:v>3.79842032967033</c:v>
                </c:pt>
                <c:pt idx="2">
                  <c:v>0.30518018018018017</c:v>
                </c:pt>
                <c:pt idx="3">
                  <c:v>3.6965361445783134</c:v>
                </c:pt>
                <c:pt idx="4">
                  <c:v>0.628125</c:v>
                </c:pt>
                <c:pt idx="5">
                  <c:v>3.380141843971631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14.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558104395604396"/>
          <c:min val="0.2441441441441441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0.2417989833896066</c:v>
                </c:pt>
                <c:pt idx="1">
                  <c:v>-0.320185954750407</c:v>
                </c:pt>
                <c:pt idx="2">
                  <c:v>-0.5259835817606109</c:v>
                </c:pt>
                <c:pt idx="3">
                  <c:v>-0.2166742505152378</c:v>
                </c:pt>
                <c:pt idx="4">
                  <c:v>1.591720865405803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Malard</c:v>
                </c:pt>
                <c:pt idx="3">
                  <c:v>De Bligny</c:v>
                </c:pt>
                <c:pt idx="4">
                  <c:v>Nicolas</c:v>
                </c:pt>
              </c:strCache>
            </c:strRef>
          </c:cat>
          <c:val>
            <c:numRef>
              <c:f>Sheet1!$B$2:$B$6</c:f>
              <c:numCache>
                <c:formatCode>General</c:formatCode>
                <c:ptCount val="5"/>
                <c:pt idx="0">
                  <c:v>-0.39756792933964225</c:v>
                </c:pt>
                <c:pt idx="1">
                  <c:v>-0.2744843925853456</c:v>
                </c:pt>
                <c:pt idx="2">
                  <c:v>-0.2571564983279626</c:v>
                </c:pt>
                <c:pt idx="3">
                  <c:v>2.7614604023820366</c:v>
                </c:pt>
                <c:pt idx="4">
                  <c:v>5.30923241209416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4618275882885855</c:v>
                </c:pt>
                <c:pt idx="1">
                  <c:v>1.735876267249293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0.30000000000000004</c:v>
                </c:pt>
                <c:pt idx="1">
                  <c:v>0.30000000000000004</c:v>
                </c:pt>
                <c:pt idx="2">
                  <c:v>0.25</c:v>
                </c:pt>
              </c:numCache>
            </c:numRef>
          </c:xVal>
          <c:yVal>
            <c:numRef>
              <c:f>Sheet1!$B$2:$B$4</c:f>
              <c:numCache>
                <c:formatCode>General</c:formatCode>
                <c:ptCount val="3"/>
                <c:pt idx="0">
                  <c:v>2.9704433497536944</c:v>
                </c:pt>
                <c:pt idx="1">
                  <c:v>3.809090909090909</c:v>
                </c:pt>
                <c:pt idx="2">
                  <c:v>3.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57090909090909"/>
          <c:min val="2.37635467980295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30.0</c:v>
                </c:pt>
                <c:pt idx="1">
                  <c:v>30.0</c:v>
                </c:pt>
                <c:pt idx="2">
                  <c:v>30.0</c:v>
                </c:pt>
              </c:numCache>
            </c:numRef>
          </c:xVal>
          <c:yVal>
            <c:numRef>
              <c:f>Sheet1!$B$2:$B$4</c:f>
              <c:numCache>
                <c:formatCode>General</c:formatCode>
                <c:ptCount val="3"/>
                <c:pt idx="0">
                  <c:v>2.9704433497536944</c:v>
                </c:pt>
                <c:pt idx="1">
                  <c:v>3.809090909090909</c:v>
                </c:pt>
                <c:pt idx="2">
                  <c:v>3.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6.0"/>
          <c:min val="24.0"/>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57090909090909"/>
          <c:min val="2.37635467980295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3%</a:t>
                    </a:r>
                  </a:p>
                </c:rich>
              </c:tx>
              <c:dLblPos val="ctr"/>
              <c:showLegendKey val="0"/>
              <c:showVal val="1"/>
              <c:showCatName val="0"/>
              <c:showSerName val="0"/>
              <c:showPercent val="0"/>
              <c:showBubbleSize val="0"/>
            </c:dLbl>
            <c:dLbl>
              <c:idx val="23"/>
              <c:tx>
                <c:rich>
                  <a:bodyPr/>
                  <a:lstStyle/>
                  <a:p>
                    <a:r>
                      <a:rPr sz="800"/>
                      <a:t>169%</a:t>
                    </a:r>
                  </a:p>
                </c:rich>
              </c:tx>
              <c:dLblPos val="ctr"/>
              <c:showLegendKey val="0"/>
              <c:showVal val="1"/>
              <c:showCatName val="0"/>
              <c:showSerName val="0"/>
              <c:showPercent val="0"/>
              <c:showBubbleSize val="0"/>
            </c:dLbl>
            <c:dLbl>
              <c:idx val="28"/>
              <c:tx>
                <c:rich>
                  <a:bodyPr/>
                  <a:lstStyle/>
                  <a:p>
                    <a:r>
                      <a:rPr sz="800"/>
                      <a:t>11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7</c:v>
                </c:pt>
                <c:pt idx="1">
                  <c:v>84</c:v>
                </c:pt>
                <c:pt idx="2">
                  <c:v>98</c:v>
                </c:pt>
                <c:pt idx="3">
                  <c:v>98</c:v>
                </c:pt>
                <c:pt idx="4">
                  <c:v>90</c:v>
                </c:pt>
                <c:pt idx="5">
                  <c:v>101</c:v>
                </c:pt>
                <c:pt idx="6">
                  <c:v>76</c:v>
                </c:pt>
                <c:pt idx="7">
                  <c:v>51</c:v>
                </c:pt>
                <c:pt idx="8">
                  <c:v>82</c:v>
                </c:pt>
                <c:pt idx="9">
                  <c:v>103</c:v>
                </c:pt>
                <c:pt idx="10">
                  <c:v>113</c:v>
                </c:pt>
                <c:pt idx="11">
                  <c:v>213</c:v>
                </c:pt>
                <c:pt idx="12">
                  <c:v>107</c:v>
                </c:pt>
                <c:pt idx="13">
                  <c:v>80</c:v>
                </c:pt>
                <c:pt idx="14">
                  <c:v>88</c:v>
                </c:pt>
                <c:pt idx="15">
                  <c:v>101</c:v>
                </c:pt>
                <c:pt idx="16">
                  <c:v>99</c:v>
                </c:pt>
                <c:pt idx="17">
                  <c:v>119</c:v>
                </c:pt>
                <c:pt idx="18">
                  <c:v>79</c:v>
                </c:pt>
                <c:pt idx="19">
                  <c:v>49</c:v>
                </c:pt>
                <c:pt idx="20">
                  <c:v>79</c:v>
                </c:pt>
                <c:pt idx="21">
                  <c:v>100</c:v>
                </c:pt>
                <c:pt idx="22">
                  <c:v>123</c:v>
                </c:pt>
                <c:pt idx="23">
                  <c:v>169</c:v>
                </c:pt>
                <c:pt idx="24">
                  <c:v>103</c:v>
                </c:pt>
                <c:pt idx="25">
                  <c:v>83</c:v>
                </c:pt>
                <c:pt idx="26">
                  <c:v>88</c:v>
                </c:pt>
                <c:pt idx="27">
                  <c:v>98</c:v>
                </c:pt>
                <c:pt idx="28">
                  <c:v>116</c:v>
                </c:pt>
                <c:pt idx="29">
                  <c:v>1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4%</a:t>
                    </a:r>
                  </a:p>
                </c:rich>
              </c:tx>
              <c:dLblPos val="ctr"/>
              <c:showLegendKey val="0"/>
              <c:showVal val="1"/>
              <c:showCatName val="0"/>
              <c:showSerName val="0"/>
              <c:showPercent val="0"/>
              <c:showBubbleSize val="0"/>
            </c:dLbl>
            <c:dLbl>
              <c:idx val="23"/>
              <c:tx>
                <c:rich>
                  <a:bodyPr/>
                  <a:lstStyle/>
                  <a:p>
                    <a:r>
                      <a:rPr sz="800"/>
                      <a:t>177%</a:t>
                    </a:r>
                  </a:p>
                </c:rich>
              </c:tx>
              <c:dLblPos val="ctr"/>
              <c:showLegendKey val="0"/>
              <c:showVal val="1"/>
              <c:showCatName val="0"/>
              <c:showSerName val="0"/>
              <c:showPercent val="0"/>
              <c:showBubbleSize val="0"/>
            </c:dLbl>
            <c:dLbl>
              <c:idx val="28"/>
              <c:tx>
                <c:rich>
                  <a:bodyPr/>
                  <a:lstStyle/>
                  <a:p>
                    <a:r>
                      <a:rPr sz="800"/>
                      <a:t>13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63</c:v>
                </c:pt>
                <c:pt idx="1">
                  <c:v>68</c:v>
                </c:pt>
                <c:pt idx="2">
                  <c:v>83</c:v>
                </c:pt>
                <c:pt idx="3">
                  <c:v>85</c:v>
                </c:pt>
                <c:pt idx="4">
                  <c:v>105</c:v>
                </c:pt>
                <c:pt idx="5">
                  <c:v>103</c:v>
                </c:pt>
                <c:pt idx="6">
                  <c:v>95</c:v>
                </c:pt>
                <c:pt idx="7">
                  <c:v>105</c:v>
                </c:pt>
                <c:pt idx="8">
                  <c:v>91</c:v>
                </c:pt>
                <c:pt idx="9">
                  <c:v>94</c:v>
                </c:pt>
                <c:pt idx="10">
                  <c:v>87</c:v>
                </c:pt>
                <c:pt idx="11">
                  <c:v>214</c:v>
                </c:pt>
                <c:pt idx="12">
                  <c:v>95</c:v>
                </c:pt>
                <c:pt idx="13">
                  <c:v>67</c:v>
                </c:pt>
                <c:pt idx="14">
                  <c:v>63</c:v>
                </c:pt>
                <c:pt idx="15">
                  <c:v>88</c:v>
                </c:pt>
                <c:pt idx="16">
                  <c:v>116</c:v>
                </c:pt>
                <c:pt idx="17">
                  <c:v>109</c:v>
                </c:pt>
                <c:pt idx="18">
                  <c:v>104</c:v>
                </c:pt>
                <c:pt idx="19">
                  <c:v>113</c:v>
                </c:pt>
                <c:pt idx="20">
                  <c:v>80</c:v>
                </c:pt>
                <c:pt idx="21">
                  <c:v>84</c:v>
                </c:pt>
                <c:pt idx="22">
                  <c:v>99</c:v>
                </c:pt>
                <c:pt idx="23">
                  <c:v>177</c:v>
                </c:pt>
                <c:pt idx="24">
                  <c:v>91</c:v>
                </c:pt>
                <c:pt idx="25">
                  <c:v>78</c:v>
                </c:pt>
                <c:pt idx="26">
                  <c:v>80</c:v>
                </c:pt>
                <c:pt idx="27">
                  <c:v>107</c:v>
                </c:pt>
                <c:pt idx="28">
                  <c:v>130</c:v>
                </c:pt>
                <c:pt idx="29">
                  <c:v>112</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44%</a:t>
                    </a:r>
                  </a:p>
                </c:rich>
              </c:tx>
              <c:dLblPos val="ctr"/>
              <c:showLegendKey val="0"/>
              <c:showVal val="1"/>
              <c:showCatName val="0"/>
              <c:showSerName val="0"/>
              <c:showPercent val="0"/>
              <c:showBubbleSize val="0"/>
            </c:dLbl>
            <c:dLbl>
              <c:idx val="23"/>
              <c:tx>
                <c:rich>
                  <a:bodyPr/>
                  <a:lstStyle/>
                  <a:p>
                    <a:r>
                      <a:rPr sz="800"/>
                      <a:t>181%</a:t>
                    </a:r>
                  </a:p>
                </c:rich>
              </c:tx>
              <c:dLblPos val="ctr"/>
              <c:showLegendKey val="0"/>
              <c:showVal val="1"/>
              <c:showCatName val="0"/>
              <c:showSerName val="0"/>
              <c:showPercent val="0"/>
              <c:showBubbleSize val="0"/>
            </c:dLbl>
            <c:dLbl>
              <c:idx val="28"/>
              <c:tx>
                <c:rich>
                  <a:bodyPr/>
                  <a:lstStyle/>
                  <a:p>
                    <a:r>
                      <a:rPr sz="800"/>
                      <a:t>13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67</c:v>
                </c:pt>
                <c:pt idx="1">
                  <c:v>57</c:v>
                </c:pt>
                <c:pt idx="2">
                  <c:v>62</c:v>
                </c:pt>
                <c:pt idx="3">
                  <c:v>93</c:v>
                </c:pt>
                <c:pt idx="4">
                  <c:v>101</c:v>
                </c:pt>
                <c:pt idx="5">
                  <c:v>93</c:v>
                </c:pt>
                <c:pt idx="6">
                  <c:v>95</c:v>
                </c:pt>
                <c:pt idx="7">
                  <c:v>116</c:v>
                </c:pt>
                <c:pt idx="8">
                  <c:v>85</c:v>
                </c:pt>
                <c:pt idx="9">
                  <c:v>82</c:v>
                </c:pt>
                <c:pt idx="10">
                  <c:v>99</c:v>
                </c:pt>
                <c:pt idx="11">
                  <c:v>244</c:v>
                </c:pt>
                <c:pt idx="12">
                  <c:v>103</c:v>
                </c:pt>
                <c:pt idx="13">
                  <c:v>66</c:v>
                </c:pt>
                <c:pt idx="14">
                  <c:v>71</c:v>
                </c:pt>
                <c:pt idx="15">
                  <c:v>75</c:v>
                </c:pt>
                <c:pt idx="16">
                  <c:v>90</c:v>
                </c:pt>
                <c:pt idx="17">
                  <c:v>96</c:v>
                </c:pt>
                <c:pt idx="18">
                  <c:v>109</c:v>
                </c:pt>
                <c:pt idx="19">
                  <c:v>112</c:v>
                </c:pt>
                <c:pt idx="20">
                  <c:v>78</c:v>
                </c:pt>
                <c:pt idx="21">
                  <c:v>103</c:v>
                </c:pt>
                <c:pt idx="22">
                  <c:v>110</c:v>
                </c:pt>
                <c:pt idx="23">
                  <c:v>181</c:v>
                </c:pt>
                <c:pt idx="24">
                  <c:v>94</c:v>
                </c:pt>
                <c:pt idx="25">
                  <c:v>72</c:v>
                </c:pt>
                <c:pt idx="26">
                  <c:v>75</c:v>
                </c:pt>
                <c:pt idx="27">
                  <c:v>108</c:v>
                </c:pt>
                <c:pt idx="28">
                  <c:v>137</c:v>
                </c:pt>
                <c:pt idx="29">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28%</a:t>
                    </a:r>
                  </a:p>
                </c:rich>
              </c:tx>
              <c:dLblPos val="ctr"/>
              <c:showLegendKey val="0"/>
              <c:showVal val="1"/>
              <c:showCatName val="0"/>
              <c:showSerName val="0"/>
              <c:showPercent val="0"/>
              <c:showBubbleSize val="0"/>
            </c:dLbl>
            <c:dLbl>
              <c:idx val="23"/>
              <c:tx>
                <c:rich>
                  <a:bodyPr/>
                  <a:lstStyle/>
                  <a:p>
                    <a:r>
                      <a:rPr sz="800"/>
                      <a:t>196%</a:t>
                    </a:r>
                  </a:p>
                </c:rich>
              </c:tx>
              <c:dLblPos val="ctr"/>
              <c:showLegendKey val="0"/>
              <c:showVal val="1"/>
              <c:showCatName val="0"/>
              <c:showSerName val="0"/>
              <c:showPercent val="0"/>
              <c:showBubbleSize val="0"/>
            </c:dLbl>
            <c:dLbl>
              <c:idx val="28"/>
              <c:tx>
                <c:rich>
                  <a:bodyPr/>
                  <a:lstStyle/>
                  <a:p>
                    <a:r>
                      <a:rPr sz="800"/>
                      <a:t>12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3</c:v>
                </c:pt>
                <c:pt idx="1">
                  <c:v>75</c:v>
                </c:pt>
                <c:pt idx="2">
                  <c:v>87</c:v>
                </c:pt>
                <c:pt idx="3">
                  <c:v>95</c:v>
                </c:pt>
                <c:pt idx="4">
                  <c:v>96</c:v>
                </c:pt>
                <c:pt idx="5">
                  <c:v>110</c:v>
                </c:pt>
                <c:pt idx="6">
                  <c:v>83</c:v>
                </c:pt>
                <c:pt idx="7">
                  <c:v>54</c:v>
                </c:pt>
                <c:pt idx="8">
                  <c:v>79</c:v>
                </c:pt>
                <c:pt idx="9">
                  <c:v>98</c:v>
                </c:pt>
                <c:pt idx="10">
                  <c:v>106</c:v>
                </c:pt>
                <c:pt idx="11">
                  <c:v>228</c:v>
                </c:pt>
                <c:pt idx="12">
                  <c:v>108</c:v>
                </c:pt>
                <c:pt idx="13">
                  <c:v>72</c:v>
                </c:pt>
                <c:pt idx="14">
                  <c:v>79</c:v>
                </c:pt>
                <c:pt idx="15">
                  <c:v>94</c:v>
                </c:pt>
                <c:pt idx="16">
                  <c:v>91</c:v>
                </c:pt>
                <c:pt idx="17">
                  <c:v>113</c:v>
                </c:pt>
                <c:pt idx="18">
                  <c:v>89</c:v>
                </c:pt>
                <c:pt idx="19">
                  <c:v>59</c:v>
                </c:pt>
                <c:pt idx="20">
                  <c:v>71</c:v>
                </c:pt>
                <c:pt idx="21">
                  <c:v>94</c:v>
                </c:pt>
                <c:pt idx="22">
                  <c:v>126</c:v>
                </c:pt>
                <c:pt idx="23">
                  <c:v>196</c:v>
                </c:pt>
                <c:pt idx="24">
                  <c:v>98</c:v>
                </c:pt>
                <c:pt idx="25">
                  <c:v>76</c:v>
                </c:pt>
                <c:pt idx="26">
                  <c:v>83</c:v>
                </c:pt>
                <c:pt idx="27">
                  <c:v>103</c:v>
                </c:pt>
                <c:pt idx="28">
                  <c:v>127</c:v>
                </c:pt>
                <c:pt idx="29">
                  <c:v>11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85%</a:t>
                    </a:r>
                  </a:p>
                </c:rich>
              </c:tx>
              <c:dLblPos val="ctr"/>
              <c:showLegendKey val="0"/>
              <c:showVal val="1"/>
              <c:showCatName val="0"/>
              <c:showSerName val="0"/>
              <c:showPercent val="0"/>
              <c:showBubbleSize val="0"/>
            </c:dLbl>
            <c:dLbl>
              <c:idx val="23"/>
              <c:tx>
                <c:rich>
                  <a:bodyPr/>
                  <a:lstStyle/>
                  <a:p>
                    <a:r>
                      <a:rPr sz="800"/>
                      <a:t>157%</a:t>
                    </a:r>
                  </a:p>
                </c:rich>
              </c:tx>
              <c:dLblPos val="ctr"/>
              <c:showLegendKey val="0"/>
              <c:showVal val="1"/>
              <c:showCatName val="0"/>
              <c:showSerName val="0"/>
              <c:showPercent val="0"/>
              <c:showBubbleSize val="0"/>
            </c:dLbl>
            <c:dLbl>
              <c:idx val="29"/>
              <c:tx>
                <c:rich>
                  <a:bodyPr/>
                  <a:lstStyle/>
                  <a:p>
                    <a:r>
                      <a:rPr sz="800"/>
                      <a:t>11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9</c:v>
                </c:pt>
                <c:pt idx="1">
                  <c:v>78</c:v>
                </c:pt>
                <c:pt idx="2">
                  <c:v>85</c:v>
                </c:pt>
                <c:pt idx="3">
                  <c:v>93</c:v>
                </c:pt>
                <c:pt idx="4">
                  <c:v>102</c:v>
                </c:pt>
                <c:pt idx="5">
                  <c:v>118</c:v>
                </c:pt>
                <c:pt idx="6">
                  <c:v>93</c:v>
                </c:pt>
                <c:pt idx="7">
                  <c:v>72</c:v>
                </c:pt>
                <c:pt idx="8">
                  <c:v>90</c:v>
                </c:pt>
                <c:pt idx="9">
                  <c:v>90</c:v>
                </c:pt>
                <c:pt idx="10">
                  <c:v>97</c:v>
                </c:pt>
                <c:pt idx="11">
                  <c:v>185</c:v>
                </c:pt>
                <c:pt idx="12">
                  <c:v>123</c:v>
                </c:pt>
                <c:pt idx="13">
                  <c:v>80</c:v>
                </c:pt>
                <c:pt idx="14">
                  <c:v>97</c:v>
                </c:pt>
                <c:pt idx="15">
                  <c:v>84</c:v>
                </c:pt>
                <c:pt idx="16">
                  <c:v>98</c:v>
                </c:pt>
                <c:pt idx="17">
                  <c:v>107</c:v>
                </c:pt>
                <c:pt idx="18">
                  <c:v>93</c:v>
                </c:pt>
                <c:pt idx="19">
                  <c:v>69</c:v>
                </c:pt>
                <c:pt idx="20">
                  <c:v>90</c:v>
                </c:pt>
                <c:pt idx="21">
                  <c:v>97</c:v>
                </c:pt>
                <c:pt idx="22">
                  <c:v>99</c:v>
                </c:pt>
                <c:pt idx="23">
                  <c:v>157</c:v>
                </c:pt>
                <c:pt idx="24">
                  <c:v>98</c:v>
                </c:pt>
                <c:pt idx="25">
                  <c:v>81</c:v>
                </c:pt>
                <c:pt idx="26">
                  <c:v>95</c:v>
                </c:pt>
                <c:pt idx="27">
                  <c:v>101</c:v>
                </c:pt>
                <c:pt idx="28">
                  <c:v>109</c:v>
                </c:pt>
                <c:pt idx="29">
                  <c:v>113</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91%</a:t>
                    </a:r>
                  </a:p>
                </c:rich>
              </c:tx>
              <c:dLblPos val="ctr"/>
              <c:showLegendKey val="0"/>
              <c:showVal val="1"/>
              <c:showCatName val="0"/>
              <c:showSerName val="0"/>
              <c:showPercent val="0"/>
              <c:showBubbleSize val="0"/>
            </c:dLbl>
            <c:dLbl>
              <c:idx val="23"/>
              <c:tx>
                <c:rich>
                  <a:bodyPr/>
                  <a:lstStyle/>
                  <a:p>
                    <a:r>
                      <a:rPr sz="800"/>
                      <a:t>267%</a:t>
                    </a:r>
                  </a:p>
                </c:rich>
              </c:tx>
              <c:dLblPos val="ctr"/>
              <c:showLegendKey val="0"/>
              <c:showVal val="1"/>
              <c:showCatName val="0"/>
              <c:showSerName val="0"/>
              <c:showPercent val="0"/>
              <c:showBubbleSize val="0"/>
            </c:dLbl>
            <c:dLbl>
              <c:idx val="29"/>
              <c:tx>
                <c:rich>
                  <a:bodyPr/>
                  <a:lstStyle/>
                  <a:p>
                    <a:r>
                      <a:rPr sz="800"/>
                      <a:t>11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0</c:v>
                </c:pt>
                <c:pt idx="1">
                  <c:v>74</c:v>
                </c:pt>
                <c:pt idx="2">
                  <c:v>80</c:v>
                </c:pt>
                <c:pt idx="3">
                  <c:v>74</c:v>
                </c:pt>
                <c:pt idx="4">
                  <c:v>80</c:v>
                </c:pt>
                <c:pt idx="5">
                  <c:v>95</c:v>
                </c:pt>
                <c:pt idx="6">
                  <c:v>80</c:v>
                </c:pt>
                <c:pt idx="7">
                  <c:v>54</c:v>
                </c:pt>
                <c:pt idx="8">
                  <c:v>79</c:v>
                </c:pt>
                <c:pt idx="9">
                  <c:v>79</c:v>
                </c:pt>
                <c:pt idx="10">
                  <c:v>109</c:v>
                </c:pt>
                <c:pt idx="11">
                  <c:v>291</c:v>
                </c:pt>
                <c:pt idx="12">
                  <c:v>138</c:v>
                </c:pt>
                <c:pt idx="13">
                  <c:v>68</c:v>
                </c:pt>
                <c:pt idx="14">
                  <c:v>78</c:v>
                </c:pt>
                <c:pt idx="15">
                  <c:v>67</c:v>
                </c:pt>
                <c:pt idx="16">
                  <c:v>86</c:v>
                </c:pt>
                <c:pt idx="17">
                  <c:v>90</c:v>
                </c:pt>
                <c:pt idx="18">
                  <c:v>78</c:v>
                </c:pt>
                <c:pt idx="19">
                  <c:v>54</c:v>
                </c:pt>
                <c:pt idx="20">
                  <c:v>78</c:v>
                </c:pt>
                <c:pt idx="21">
                  <c:v>91</c:v>
                </c:pt>
                <c:pt idx="22">
                  <c:v>100</c:v>
                </c:pt>
                <c:pt idx="23">
                  <c:v>267</c:v>
                </c:pt>
                <c:pt idx="24">
                  <c:v>107</c:v>
                </c:pt>
                <c:pt idx="25">
                  <c:v>84</c:v>
                </c:pt>
                <c:pt idx="26">
                  <c:v>92</c:v>
                </c:pt>
                <c:pt idx="27">
                  <c:v>91</c:v>
                </c:pt>
                <c:pt idx="28">
                  <c:v>108</c:v>
                </c:pt>
                <c:pt idx="29">
                  <c:v>115</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422%</a:t>
                    </a:r>
                  </a:p>
                </c:rich>
              </c:tx>
              <c:dLblPos val="ctr"/>
              <c:showLegendKey val="0"/>
              <c:showVal val="1"/>
              <c:showCatName val="0"/>
              <c:showSerName val="0"/>
              <c:showPercent val="0"/>
              <c:showBubbleSize val="0"/>
            </c:dLbl>
            <c:dLbl>
              <c:idx val="23"/>
              <c:tx>
                <c:rich>
                  <a:bodyPr/>
                  <a:lstStyle/>
                  <a:p>
                    <a:r>
                      <a:rPr sz="800"/>
                      <a:t>276%</a:t>
                    </a:r>
                  </a:p>
                </c:rich>
              </c:tx>
              <c:dLblPos val="ctr"/>
              <c:showLegendKey val="0"/>
              <c:showVal val="1"/>
              <c:showCatName val="0"/>
              <c:showSerName val="0"/>
              <c:showPercent val="0"/>
              <c:showBubbleSize val="0"/>
            </c:dLbl>
            <c:dLbl>
              <c:idx val="24"/>
              <c:tx>
                <c:rich>
                  <a:bodyPr/>
                  <a:lstStyle/>
                  <a:p>
                    <a:r>
                      <a:rPr sz="800"/>
                      <a:t>13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37</c:v>
                </c:pt>
                <c:pt idx="1">
                  <c:v>35</c:v>
                </c:pt>
                <c:pt idx="2">
                  <c:v>52</c:v>
                </c:pt>
                <c:pt idx="3">
                  <c:v>53</c:v>
                </c:pt>
                <c:pt idx="4">
                  <c:v>74</c:v>
                </c:pt>
                <c:pt idx="5">
                  <c:v>95</c:v>
                </c:pt>
                <c:pt idx="6">
                  <c:v>78</c:v>
                </c:pt>
                <c:pt idx="7">
                  <c:v>65</c:v>
                </c:pt>
                <c:pt idx="8">
                  <c:v>110</c:v>
                </c:pt>
                <c:pt idx="9">
                  <c:v>80</c:v>
                </c:pt>
                <c:pt idx="10">
                  <c:v>93</c:v>
                </c:pt>
                <c:pt idx="11">
                  <c:v>422</c:v>
                </c:pt>
                <c:pt idx="12">
                  <c:v>133</c:v>
                </c:pt>
                <c:pt idx="13">
                  <c:v>69</c:v>
                </c:pt>
                <c:pt idx="14">
                  <c:v>83</c:v>
                </c:pt>
                <c:pt idx="15">
                  <c:v>71</c:v>
                </c:pt>
                <c:pt idx="16">
                  <c:v>81</c:v>
                </c:pt>
                <c:pt idx="17">
                  <c:v>88</c:v>
                </c:pt>
                <c:pt idx="18">
                  <c:v>79</c:v>
                </c:pt>
                <c:pt idx="19">
                  <c:v>56</c:v>
                </c:pt>
                <c:pt idx="20">
                  <c:v>83</c:v>
                </c:pt>
                <c:pt idx="21">
                  <c:v>82</c:v>
                </c:pt>
                <c:pt idx="22">
                  <c:v>93</c:v>
                </c:pt>
                <c:pt idx="23">
                  <c:v>276</c:v>
                </c:pt>
                <c:pt idx="24">
                  <c:v>133</c:v>
                </c:pt>
                <c:pt idx="25">
                  <c:v>90</c:v>
                </c:pt>
                <c:pt idx="26">
                  <c:v>89</c:v>
                </c:pt>
                <c:pt idx="27">
                  <c:v>89</c:v>
                </c:pt>
                <c:pt idx="28">
                  <c:v>93</c:v>
                </c:pt>
                <c:pt idx="29">
                  <c:v>103</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72%</a:t>
                    </a:r>
                  </a:p>
                </c:rich>
              </c:tx>
              <c:dLblPos val="ctr"/>
              <c:showLegendKey val="0"/>
              <c:showVal val="1"/>
              <c:showCatName val="0"/>
              <c:showSerName val="0"/>
              <c:showPercent val="0"/>
              <c:showBubbleSize val="0"/>
            </c:dLbl>
            <c:dLbl>
              <c:idx val="23"/>
              <c:tx>
                <c:rich>
                  <a:bodyPr/>
                  <a:lstStyle/>
                  <a:p>
                    <a:r>
                      <a:rPr sz="800"/>
                      <a:t>144%</a:t>
                    </a:r>
                  </a:p>
                </c:rich>
              </c:tx>
              <c:dLblPos val="ctr"/>
              <c:showLegendKey val="0"/>
              <c:showVal val="1"/>
              <c:showCatName val="0"/>
              <c:showSerName val="0"/>
              <c:showPercent val="0"/>
              <c:showBubbleSize val="0"/>
            </c:dLbl>
            <c:dLbl>
              <c:idx val="29"/>
              <c:tx>
                <c:rich>
                  <a:bodyPr/>
                  <a:lstStyle/>
                  <a:p>
                    <a:r>
                      <a:rPr sz="800"/>
                      <a:t>11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5</c:v>
                </c:pt>
                <c:pt idx="1">
                  <c:v>82</c:v>
                </c:pt>
                <c:pt idx="2">
                  <c:v>90</c:v>
                </c:pt>
                <c:pt idx="3">
                  <c:v>93</c:v>
                </c:pt>
                <c:pt idx="4">
                  <c:v>104</c:v>
                </c:pt>
                <c:pt idx="5">
                  <c:v>125</c:v>
                </c:pt>
                <c:pt idx="6">
                  <c:v>87</c:v>
                </c:pt>
                <c:pt idx="7">
                  <c:v>59</c:v>
                </c:pt>
                <c:pt idx="8">
                  <c:v>95</c:v>
                </c:pt>
                <c:pt idx="9">
                  <c:v>94</c:v>
                </c:pt>
                <c:pt idx="10">
                  <c:v>99</c:v>
                </c:pt>
                <c:pt idx="11">
                  <c:v>172</c:v>
                </c:pt>
                <c:pt idx="12">
                  <c:v>128</c:v>
                </c:pt>
                <c:pt idx="13">
                  <c:v>84</c:v>
                </c:pt>
                <c:pt idx="14">
                  <c:v>102</c:v>
                </c:pt>
                <c:pt idx="15">
                  <c:v>86</c:v>
                </c:pt>
                <c:pt idx="16">
                  <c:v>100</c:v>
                </c:pt>
                <c:pt idx="17">
                  <c:v>115</c:v>
                </c:pt>
                <c:pt idx="18">
                  <c:v>87</c:v>
                </c:pt>
                <c:pt idx="19">
                  <c:v>54</c:v>
                </c:pt>
                <c:pt idx="20">
                  <c:v>93</c:v>
                </c:pt>
                <c:pt idx="21">
                  <c:v>99</c:v>
                </c:pt>
                <c:pt idx="22">
                  <c:v>102</c:v>
                </c:pt>
                <c:pt idx="23">
                  <c:v>144</c:v>
                </c:pt>
                <c:pt idx="24">
                  <c:v>99</c:v>
                </c:pt>
                <c:pt idx="25">
                  <c:v>80</c:v>
                </c:pt>
                <c:pt idx="26">
                  <c:v>97</c:v>
                </c:pt>
                <c:pt idx="27">
                  <c:v>99</c:v>
                </c:pt>
                <c:pt idx="28">
                  <c:v>108</c:v>
                </c:pt>
                <c:pt idx="29">
                  <c:v>114</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78%</a:t>
                    </a:r>
                  </a:p>
                </c:rich>
              </c:tx>
              <c:dLblPos val="ctr"/>
              <c:showLegendKey val="0"/>
              <c:showVal val="1"/>
              <c:showCatName val="0"/>
              <c:showSerName val="0"/>
              <c:showPercent val="0"/>
              <c:showBubbleSize val="0"/>
            </c:dLbl>
            <c:dLbl>
              <c:idx val="23"/>
              <c:tx>
                <c:rich>
                  <a:bodyPr/>
                  <a:lstStyle/>
                  <a:p>
                    <a:r>
                      <a:rPr sz="800"/>
                      <a:t>252%</a:t>
                    </a:r>
                  </a:p>
                </c:rich>
              </c:tx>
              <c:dLblPos val="ctr"/>
              <c:showLegendKey val="0"/>
              <c:showVal val="1"/>
              <c:showCatName val="0"/>
              <c:showSerName val="0"/>
              <c:showPercent val="0"/>
              <c:showBubbleSize val="0"/>
            </c:dLbl>
            <c:dLbl>
              <c:idx val="29"/>
              <c:tx>
                <c:rich>
                  <a:bodyPr/>
                  <a:lstStyle/>
                  <a:p>
                    <a:r>
                      <a:rPr sz="800"/>
                      <a:t>11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8</c:v>
                </c:pt>
                <c:pt idx="1">
                  <c:v>78</c:v>
                </c:pt>
                <c:pt idx="2">
                  <c:v>84</c:v>
                </c:pt>
                <c:pt idx="3">
                  <c:v>76</c:v>
                </c:pt>
                <c:pt idx="4">
                  <c:v>79</c:v>
                </c:pt>
                <c:pt idx="5">
                  <c:v>98</c:v>
                </c:pt>
                <c:pt idx="6">
                  <c:v>75</c:v>
                </c:pt>
                <c:pt idx="7">
                  <c:v>43</c:v>
                </c:pt>
                <c:pt idx="8">
                  <c:v>81</c:v>
                </c:pt>
                <c:pt idx="9">
                  <c:v>82</c:v>
                </c:pt>
                <c:pt idx="10">
                  <c:v>113</c:v>
                </c:pt>
                <c:pt idx="11">
                  <c:v>278</c:v>
                </c:pt>
                <c:pt idx="12">
                  <c:v>144</c:v>
                </c:pt>
                <c:pt idx="13">
                  <c:v>71</c:v>
                </c:pt>
                <c:pt idx="14">
                  <c:v>84</c:v>
                </c:pt>
                <c:pt idx="15">
                  <c:v>70</c:v>
                </c:pt>
                <c:pt idx="16">
                  <c:v>85</c:v>
                </c:pt>
                <c:pt idx="17">
                  <c:v>95</c:v>
                </c:pt>
                <c:pt idx="18">
                  <c:v>72</c:v>
                </c:pt>
                <c:pt idx="19">
                  <c:v>42</c:v>
                </c:pt>
                <c:pt idx="20">
                  <c:v>80</c:v>
                </c:pt>
                <c:pt idx="21">
                  <c:v>95</c:v>
                </c:pt>
                <c:pt idx="22">
                  <c:v>104</c:v>
                </c:pt>
                <c:pt idx="23">
                  <c:v>252</c:v>
                </c:pt>
                <c:pt idx="24">
                  <c:v>111</c:v>
                </c:pt>
                <c:pt idx="25">
                  <c:v>85</c:v>
                </c:pt>
                <c:pt idx="26">
                  <c:v>94</c:v>
                </c:pt>
                <c:pt idx="27">
                  <c:v>89</c:v>
                </c:pt>
                <c:pt idx="28">
                  <c:v>105</c:v>
                </c:pt>
                <c:pt idx="29">
                  <c:v>113</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403%</a:t>
                    </a:r>
                  </a:p>
                </c:rich>
              </c:tx>
              <c:dLblPos val="ctr"/>
              <c:showLegendKey val="0"/>
              <c:showVal val="1"/>
              <c:showCatName val="0"/>
              <c:showSerName val="0"/>
              <c:showPercent val="0"/>
              <c:showBubbleSize val="0"/>
            </c:dLbl>
            <c:dLbl>
              <c:idx val="23"/>
              <c:tx>
                <c:rich>
                  <a:bodyPr/>
                  <a:lstStyle/>
                  <a:p>
                    <a:r>
                      <a:rPr sz="800"/>
                      <a:t>269%</a:t>
                    </a:r>
                  </a:p>
                </c:rich>
              </c:tx>
              <c:dLblPos val="ctr"/>
              <c:showLegendKey val="0"/>
              <c:showVal val="1"/>
              <c:showCatName val="0"/>
              <c:showSerName val="0"/>
              <c:showPercent val="0"/>
              <c:showBubbleSize val="0"/>
            </c:dLbl>
            <c:dLbl>
              <c:idx val="24"/>
              <c:tx>
                <c:rich>
                  <a:bodyPr/>
                  <a:lstStyle/>
                  <a:p>
                    <a:r>
                      <a:rPr sz="800"/>
                      <a:t>13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38</c:v>
                </c:pt>
                <c:pt idx="1">
                  <c:v>37</c:v>
                </c:pt>
                <c:pt idx="2">
                  <c:v>56</c:v>
                </c:pt>
                <c:pt idx="3">
                  <c:v>54</c:v>
                </c:pt>
                <c:pt idx="4">
                  <c:v>73</c:v>
                </c:pt>
                <c:pt idx="5">
                  <c:v>103</c:v>
                </c:pt>
                <c:pt idx="6">
                  <c:v>71</c:v>
                </c:pt>
                <c:pt idx="7">
                  <c:v>48</c:v>
                </c:pt>
                <c:pt idx="8">
                  <c:v>115</c:v>
                </c:pt>
                <c:pt idx="9">
                  <c:v>90</c:v>
                </c:pt>
                <c:pt idx="10">
                  <c:v>105</c:v>
                </c:pt>
                <c:pt idx="11">
                  <c:v>403</c:v>
                </c:pt>
                <c:pt idx="12">
                  <c:v>137</c:v>
                </c:pt>
                <c:pt idx="13">
                  <c:v>66</c:v>
                </c:pt>
                <c:pt idx="14">
                  <c:v>84</c:v>
                </c:pt>
                <c:pt idx="15">
                  <c:v>75</c:v>
                </c:pt>
                <c:pt idx="16">
                  <c:v>82</c:v>
                </c:pt>
                <c:pt idx="17">
                  <c:v>90</c:v>
                </c:pt>
                <c:pt idx="18">
                  <c:v>73</c:v>
                </c:pt>
                <c:pt idx="19">
                  <c:v>46</c:v>
                </c:pt>
                <c:pt idx="20">
                  <c:v>86</c:v>
                </c:pt>
                <c:pt idx="21">
                  <c:v>86</c:v>
                </c:pt>
                <c:pt idx="22">
                  <c:v>99</c:v>
                </c:pt>
                <c:pt idx="23">
                  <c:v>269</c:v>
                </c:pt>
                <c:pt idx="24">
                  <c:v>138</c:v>
                </c:pt>
                <c:pt idx="25">
                  <c:v>91</c:v>
                </c:pt>
                <c:pt idx="26">
                  <c:v>90</c:v>
                </c:pt>
                <c:pt idx="27">
                  <c:v>88</c:v>
                </c:pt>
                <c:pt idx="28">
                  <c:v>88</c:v>
                </c:pt>
                <c:pt idx="29">
                  <c:v>102</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9%</a:t>
                    </a:r>
                  </a:p>
                </c:rich>
              </c:tx>
              <c:dLblPos val="ctr"/>
              <c:showLegendKey val="0"/>
              <c:showVal val="1"/>
              <c:showCatName val="0"/>
              <c:showSerName val="0"/>
              <c:showPercent val="0"/>
              <c:showBubbleSize val="0"/>
            </c:dLbl>
            <c:dLbl>
              <c:idx val="23"/>
              <c:tx>
                <c:rich>
                  <a:bodyPr/>
                  <a:lstStyle/>
                  <a:p>
                    <a:r>
                      <a:rPr sz="800"/>
                      <a:t>178%</a:t>
                    </a:r>
                  </a:p>
                </c:rich>
              </c:tx>
              <c:dLblPos val="ctr"/>
              <c:showLegendKey val="0"/>
              <c:showVal val="1"/>
              <c:showCatName val="0"/>
              <c:showSerName val="0"/>
              <c:showPercent val="0"/>
              <c:showBubbleSize val="0"/>
            </c:dLbl>
            <c:dLbl>
              <c:idx val="24"/>
              <c:tx>
                <c:rich>
                  <a:bodyPr/>
                  <a:lstStyle/>
                  <a:p>
                    <a:r>
                      <a:rPr sz="800"/>
                      <a:t>11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6</c:v>
                </c:pt>
                <c:pt idx="1">
                  <c:v>75</c:v>
                </c:pt>
                <c:pt idx="2">
                  <c:v>80</c:v>
                </c:pt>
                <c:pt idx="3">
                  <c:v>85</c:v>
                </c:pt>
                <c:pt idx="4">
                  <c:v>97</c:v>
                </c:pt>
                <c:pt idx="5">
                  <c:v>106</c:v>
                </c:pt>
                <c:pt idx="6">
                  <c:v>93</c:v>
                </c:pt>
                <c:pt idx="7">
                  <c:v>94</c:v>
                </c:pt>
                <c:pt idx="8">
                  <c:v>79</c:v>
                </c:pt>
                <c:pt idx="9">
                  <c:v>81</c:v>
                </c:pt>
                <c:pt idx="10">
                  <c:v>99</c:v>
                </c:pt>
                <c:pt idx="11">
                  <c:v>219</c:v>
                </c:pt>
                <c:pt idx="12">
                  <c:v>121</c:v>
                </c:pt>
                <c:pt idx="13">
                  <c:v>84</c:v>
                </c:pt>
                <c:pt idx="14">
                  <c:v>96</c:v>
                </c:pt>
                <c:pt idx="15">
                  <c:v>80</c:v>
                </c:pt>
                <c:pt idx="16">
                  <c:v>96</c:v>
                </c:pt>
                <c:pt idx="17">
                  <c:v>90</c:v>
                </c:pt>
                <c:pt idx="18">
                  <c:v>93</c:v>
                </c:pt>
                <c:pt idx="19">
                  <c:v>87</c:v>
                </c:pt>
                <c:pt idx="20">
                  <c:v>88</c:v>
                </c:pt>
                <c:pt idx="21">
                  <c:v>87</c:v>
                </c:pt>
                <c:pt idx="22">
                  <c:v>92</c:v>
                </c:pt>
                <c:pt idx="23">
                  <c:v>178</c:v>
                </c:pt>
                <c:pt idx="24">
                  <c:v>111</c:v>
                </c:pt>
                <c:pt idx="25">
                  <c:v>89</c:v>
                </c:pt>
                <c:pt idx="26">
                  <c:v>92</c:v>
                </c:pt>
                <c:pt idx="27">
                  <c:v>96</c:v>
                </c:pt>
                <c:pt idx="28">
                  <c:v>105</c:v>
                </c:pt>
                <c:pt idx="29">
                  <c:v>103</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41%</a:t>
                    </a:r>
                  </a:p>
                </c:rich>
              </c:tx>
              <c:dLblPos val="ctr"/>
              <c:showLegendKey val="0"/>
              <c:showVal val="1"/>
              <c:showCatName val="0"/>
              <c:showSerName val="0"/>
              <c:showPercent val="0"/>
              <c:showBubbleSize val="0"/>
            </c:dLbl>
            <c:dLbl>
              <c:idx val="23"/>
              <c:tx>
                <c:rich>
                  <a:bodyPr/>
                  <a:lstStyle/>
                  <a:p>
                    <a:r>
                      <a:rPr sz="800"/>
                      <a:t>318%</a:t>
                    </a:r>
                  </a:p>
                </c:rich>
              </c:tx>
              <c:dLblPos val="ctr"/>
              <c:showLegendKey val="0"/>
              <c:showVal val="1"/>
              <c:showCatName val="0"/>
              <c:showSerName val="0"/>
              <c:showPercent val="0"/>
              <c:showBubbleSize val="0"/>
            </c:dLbl>
            <c:dLbl>
              <c:idx val="24"/>
              <c:tx>
                <c:rich>
                  <a:bodyPr/>
                  <a:lstStyle/>
                  <a:p>
                    <a:r>
                      <a:rPr sz="800"/>
                      <a:t>11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1</c:v>
                </c:pt>
                <c:pt idx="1">
                  <c:v>84</c:v>
                </c:pt>
                <c:pt idx="2">
                  <c:v>74</c:v>
                </c:pt>
                <c:pt idx="3">
                  <c:v>71</c:v>
                </c:pt>
                <c:pt idx="4">
                  <c:v>75</c:v>
                </c:pt>
                <c:pt idx="5">
                  <c:v>78</c:v>
                </c:pt>
                <c:pt idx="6">
                  <c:v>71</c:v>
                </c:pt>
                <c:pt idx="7">
                  <c:v>58</c:v>
                </c:pt>
                <c:pt idx="8">
                  <c:v>70</c:v>
                </c:pt>
                <c:pt idx="9">
                  <c:v>65</c:v>
                </c:pt>
                <c:pt idx="10">
                  <c:v>104</c:v>
                </c:pt>
                <c:pt idx="11">
                  <c:v>341</c:v>
                </c:pt>
                <c:pt idx="12">
                  <c:v>140</c:v>
                </c:pt>
                <c:pt idx="13">
                  <c:v>76</c:v>
                </c:pt>
                <c:pt idx="14">
                  <c:v>79</c:v>
                </c:pt>
                <c:pt idx="15">
                  <c:v>56</c:v>
                </c:pt>
                <c:pt idx="16">
                  <c:v>78</c:v>
                </c:pt>
                <c:pt idx="17">
                  <c:v>74</c:v>
                </c:pt>
                <c:pt idx="18">
                  <c:v>74</c:v>
                </c:pt>
                <c:pt idx="19">
                  <c:v>60</c:v>
                </c:pt>
                <c:pt idx="20">
                  <c:v>71</c:v>
                </c:pt>
                <c:pt idx="21">
                  <c:v>76</c:v>
                </c:pt>
                <c:pt idx="22">
                  <c:v>93</c:v>
                </c:pt>
                <c:pt idx="23">
                  <c:v>318</c:v>
                </c:pt>
                <c:pt idx="24">
                  <c:v>114</c:v>
                </c:pt>
                <c:pt idx="25">
                  <c:v>102</c:v>
                </c:pt>
                <c:pt idx="26">
                  <c:v>93</c:v>
                </c:pt>
                <c:pt idx="27">
                  <c:v>87</c:v>
                </c:pt>
                <c:pt idx="28">
                  <c:v>102</c:v>
                </c:pt>
                <c:pt idx="29">
                  <c:v>98</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464%</a:t>
                    </a:r>
                  </a:p>
                </c:rich>
              </c:tx>
              <c:dLblPos val="ctr"/>
              <c:showLegendKey val="0"/>
              <c:showVal val="1"/>
              <c:showCatName val="0"/>
              <c:showSerName val="0"/>
              <c:showPercent val="0"/>
              <c:showBubbleSize val="0"/>
            </c:dLbl>
            <c:dLbl>
              <c:idx val="23"/>
              <c:tx>
                <c:rich>
                  <a:bodyPr/>
                  <a:lstStyle/>
                  <a:p>
                    <a:r>
                      <a:rPr sz="800"/>
                      <a:t>320%</a:t>
                    </a:r>
                  </a:p>
                </c:rich>
              </c:tx>
              <c:dLblPos val="ctr"/>
              <c:showLegendKey val="0"/>
              <c:showVal val="1"/>
              <c:showCatName val="0"/>
              <c:showSerName val="0"/>
              <c:showPercent val="0"/>
              <c:showBubbleSize val="0"/>
            </c:dLbl>
            <c:dLbl>
              <c:idx val="24"/>
              <c:tx>
                <c:rich>
                  <a:bodyPr/>
                  <a:lstStyle/>
                  <a:p>
                    <a:r>
                      <a:rPr sz="800"/>
                      <a:t>13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41</c:v>
                </c:pt>
                <c:pt idx="1">
                  <c:v>29</c:v>
                </c:pt>
                <c:pt idx="2">
                  <c:v>56</c:v>
                </c:pt>
                <c:pt idx="3">
                  <c:v>50</c:v>
                </c:pt>
                <c:pt idx="4">
                  <c:v>66</c:v>
                </c:pt>
                <c:pt idx="5">
                  <c:v>79</c:v>
                </c:pt>
                <c:pt idx="6">
                  <c:v>101</c:v>
                </c:pt>
                <c:pt idx="7">
                  <c:v>82</c:v>
                </c:pt>
                <c:pt idx="8">
                  <c:v>64</c:v>
                </c:pt>
                <c:pt idx="9">
                  <c:v>73</c:v>
                </c:pt>
                <c:pt idx="10">
                  <c:v>88</c:v>
                </c:pt>
                <c:pt idx="11">
                  <c:v>464</c:v>
                </c:pt>
                <c:pt idx="12">
                  <c:v>122</c:v>
                </c:pt>
                <c:pt idx="13">
                  <c:v>98</c:v>
                </c:pt>
                <c:pt idx="14">
                  <c:v>87</c:v>
                </c:pt>
                <c:pt idx="15">
                  <c:v>51</c:v>
                </c:pt>
                <c:pt idx="16">
                  <c:v>78</c:v>
                </c:pt>
                <c:pt idx="17">
                  <c:v>67</c:v>
                </c:pt>
                <c:pt idx="18">
                  <c:v>85</c:v>
                </c:pt>
                <c:pt idx="19">
                  <c:v>53</c:v>
                </c:pt>
                <c:pt idx="20">
                  <c:v>66</c:v>
                </c:pt>
                <c:pt idx="21">
                  <c:v>68</c:v>
                </c:pt>
                <c:pt idx="22">
                  <c:v>98</c:v>
                </c:pt>
                <c:pt idx="23">
                  <c:v>320</c:v>
                </c:pt>
                <c:pt idx="24">
                  <c:v>131</c:v>
                </c:pt>
                <c:pt idx="25">
                  <c:v>105</c:v>
                </c:pt>
                <c:pt idx="26">
                  <c:v>86</c:v>
                </c:pt>
                <c:pt idx="27">
                  <c:v>73</c:v>
                </c:pt>
                <c:pt idx="28">
                  <c:v>103</c:v>
                </c:pt>
                <c:pt idx="29">
                  <c:v>9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98%</a:t>
                    </a:r>
                  </a:p>
                </c:rich>
              </c:tx>
              <c:dLblPos val="ctr"/>
              <c:showLegendKey val="0"/>
              <c:showVal val="1"/>
              <c:showCatName val="0"/>
              <c:showSerName val="0"/>
              <c:showPercent val="0"/>
              <c:showBubbleSize val="0"/>
            </c:dLbl>
            <c:dLbl>
              <c:idx val="23"/>
              <c:tx>
                <c:rich>
                  <a:bodyPr/>
                  <a:lstStyle/>
                  <a:p>
                    <a:r>
                      <a:rPr sz="800"/>
                      <a:t>166%</a:t>
                    </a:r>
                  </a:p>
                </c:rich>
              </c:tx>
              <c:dLblPos val="ctr"/>
              <c:showLegendKey val="0"/>
              <c:showVal val="1"/>
              <c:showCatName val="0"/>
              <c:showSerName val="0"/>
              <c:showPercent val="0"/>
              <c:showBubbleSize val="0"/>
            </c:dLbl>
            <c:dLbl>
              <c:idx val="29"/>
              <c:tx>
                <c:rich>
                  <a:bodyPr/>
                  <a:lstStyle/>
                  <a:p>
                    <a:r>
                      <a:rPr sz="800"/>
                      <a:t>11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8</c:v>
                </c:pt>
                <c:pt idx="1">
                  <c:v>77</c:v>
                </c:pt>
                <c:pt idx="2">
                  <c:v>84</c:v>
                </c:pt>
                <c:pt idx="3">
                  <c:v>90</c:v>
                </c:pt>
                <c:pt idx="4">
                  <c:v>100</c:v>
                </c:pt>
                <c:pt idx="5">
                  <c:v>118</c:v>
                </c:pt>
                <c:pt idx="6">
                  <c:v>93</c:v>
                </c:pt>
                <c:pt idx="7">
                  <c:v>69</c:v>
                </c:pt>
                <c:pt idx="8">
                  <c:v>89</c:v>
                </c:pt>
                <c:pt idx="9">
                  <c:v>89</c:v>
                </c:pt>
                <c:pt idx="10">
                  <c:v>99</c:v>
                </c:pt>
                <c:pt idx="11">
                  <c:v>198</c:v>
                </c:pt>
                <c:pt idx="12">
                  <c:v>120</c:v>
                </c:pt>
                <c:pt idx="13">
                  <c:v>78</c:v>
                </c:pt>
                <c:pt idx="14">
                  <c:v>96</c:v>
                </c:pt>
                <c:pt idx="15">
                  <c:v>84</c:v>
                </c:pt>
                <c:pt idx="16">
                  <c:v>95</c:v>
                </c:pt>
                <c:pt idx="17">
                  <c:v>108</c:v>
                </c:pt>
                <c:pt idx="18">
                  <c:v>95</c:v>
                </c:pt>
                <c:pt idx="19">
                  <c:v>68</c:v>
                </c:pt>
                <c:pt idx="20">
                  <c:v>90</c:v>
                </c:pt>
                <c:pt idx="21">
                  <c:v>94</c:v>
                </c:pt>
                <c:pt idx="22">
                  <c:v>98</c:v>
                </c:pt>
                <c:pt idx="23">
                  <c:v>166</c:v>
                </c:pt>
                <c:pt idx="24">
                  <c:v>94</c:v>
                </c:pt>
                <c:pt idx="25">
                  <c:v>78</c:v>
                </c:pt>
                <c:pt idx="26">
                  <c:v>101</c:v>
                </c:pt>
                <c:pt idx="27">
                  <c:v>101</c:v>
                </c:pt>
                <c:pt idx="28">
                  <c:v>110</c:v>
                </c:pt>
                <c:pt idx="29">
                  <c:v>113</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01%</a:t>
                    </a:r>
                  </a:p>
                </c:rich>
              </c:tx>
              <c:dLblPos val="ctr"/>
              <c:showLegendKey val="0"/>
              <c:showVal val="1"/>
              <c:showCatName val="0"/>
              <c:showSerName val="0"/>
              <c:showPercent val="0"/>
              <c:showBubbleSize val="0"/>
            </c:dLbl>
            <c:dLbl>
              <c:idx val="23"/>
              <c:tx>
                <c:rich>
                  <a:bodyPr/>
                  <a:lstStyle/>
                  <a:p>
                    <a:r>
                      <a:rPr sz="800"/>
                      <a:t>274%</a:t>
                    </a:r>
                  </a:p>
                </c:rich>
              </c:tx>
              <c:dLblPos val="ctr"/>
              <c:showLegendKey val="0"/>
              <c:showVal val="1"/>
              <c:showCatName val="0"/>
              <c:showSerName val="0"/>
              <c:showPercent val="0"/>
              <c:showBubbleSize val="0"/>
            </c:dLbl>
            <c:dLbl>
              <c:idx val="29"/>
              <c:tx>
                <c:rich>
                  <a:bodyPr/>
                  <a:lstStyle/>
                  <a:p>
                    <a:r>
                      <a:rPr sz="800"/>
                      <a:t>11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6</c:v>
                </c:pt>
                <c:pt idx="1">
                  <c:v>75</c:v>
                </c:pt>
                <c:pt idx="2">
                  <c:v>78</c:v>
                </c:pt>
                <c:pt idx="3">
                  <c:v>74</c:v>
                </c:pt>
                <c:pt idx="4">
                  <c:v>77</c:v>
                </c:pt>
                <c:pt idx="5">
                  <c:v>91</c:v>
                </c:pt>
                <c:pt idx="6">
                  <c:v>80</c:v>
                </c:pt>
                <c:pt idx="7">
                  <c:v>52</c:v>
                </c:pt>
                <c:pt idx="8">
                  <c:v>79</c:v>
                </c:pt>
                <c:pt idx="9">
                  <c:v>79</c:v>
                </c:pt>
                <c:pt idx="10">
                  <c:v>114</c:v>
                </c:pt>
                <c:pt idx="11">
                  <c:v>301</c:v>
                </c:pt>
                <c:pt idx="12">
                  <c:v>139</c:v>
                </c:pt>
                <c:pt idx="13">
                  <c:v>65</c:v>
                </c:pt>
                <c:pt idx="14">
                  <c:v>77</c:v>
                </c:pt>
                <c:pt idx="15">
                  <c:v>69</c:v>
                </c:pt>
                <c:pt idx="16">
                  <c:v>83</c:v>
                </c:pt>
                <c:pt idx="17">
                  <c:v>91</c:v>
                </c:pt>
                <c:pt idx="18">
                  <c:v>80</c:v>
                </c:pt>
                <c:pt idx="19">
                  <c:v>52</c:v>
                </c:pt>
                <c:pt idx="20">
                  <c:v>78</c:v>
                </c:pt>
                <c:pt idx="21">
                  <c:v>88</c:v>
                </c:pt>
                <c:pt idx="22">
                  <c:v>98</c:v>
                </c:pt>
                <c:pt idx="23">
                  <c:v>274</c:v>
                </c:pt>
                <c:pt idx="24">
                  <c:v>103</c:v>
                </c:pt>
                <c:pt idx="25">
                  <c:v>85</c:v>
                </c:pt>
                <c:pt idx="26">
                  <c:v>95</c:v>
                </c:pt>
                <c:pt idx="27">
                  <c:v>91</c:v>
                </c:pt>
                <c:pt idx="28">
                  <c:v>108</c:v>
                </c:pt>
                <c:pt idx="29">
                  <c:v>115</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459%</a:t>
                    </a:r>
                  </a:p>
                </c:rich>
              </c:tx>
              <c:dLblPos val="ctr"/>
              <c:showLegendKey val="0"/>
              <c:showVal val="1"/>
              <c:showCatName val="0"/>
              <c:showSerName val="0"/>
              <c:showPercent val="0"/>
              <c:showBubbleSize val="0"/>
            </c:dLbl>
            <c:dLbl>
              <c:idx val="23"/>
              <c:tx>
                <c:rich>
                  <a:bodyPr/>
                  <a:lstStyle/>
                  <a:p>
                    <a:r>
                      <a:rPr sz="800"/>
                      <a:t>292%</a:t>
                    </a:r>
                  </a:p>
                </c:rich>
              </c:tx>
              <c:dLblPos val="ctr"/>
              <c:showLegendKey val="0"/>
              <c:showVal val="1"/>
              <c:showCatName val="0"/>
              <c:showSerName val="0"/>
              <c:showPercent val="0"/>
              <c:showBubbleSize val="0"/>
            </c:dLbl>
            <c:dLbl>
              <c:idx val="24"/>
              <c:tx>
                <c:rich>
                  <a:bodyPr/>
                  <a:lstStyle/>
                  <a:p>
                    <a:r>
                      <a:rPr sz="800"/>
                      <a:t>13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32</c:v>
                </c:pt>
                <c:pt idx="1">
                  <c:v>31</c:v>
                </c:pt>
                <c:pt idx="2">
                  <c:v>44</c:v>
                </c:pt>
                <c:pt idx="3">
                  <c:v>44</c:v>
                </c:pt>
                <c:pt idx="4">
                  <c:v>58</c:v>
                </c:pt>
                <c:pt idx="5">
                  <c:v>81</c:v>
                </c:pt>
                <c:pt idx="6">
                  <c:v>66</c:v>
                </c:pt>
                <c:pt idx="7">
                  <c:v>43</c:v>
                </c:pt>
                <c:pt idx="8">
                  <c:v>153</c:v>
                </c:pt>
                <c:pt idx="9">
                  <c:v>71</c:v>
                </c:pt>
                <c:pt idx="10">
                  <c:v>111</c:v>
                </c:pt>
                <c:pt idx="11">
                  <c:v>459</c:v>
                </c:pt>
                <c:pt idx="12">
                  <c:v>128</c:v>
                </c:pt>
                <c:pt idx="13">
                  <c:v>73</c:v>
                </c:pt>
                <c:pt idx="14">
                  <c:v>73</c:v>
                </c:pt>
                <c:pt idx="15">
                  <c:v>80</c:v>
                </c:pt>
                <c:pt idx="16">
                  <c:v>78</c:v>
                </c:pt>
                <c:pt idx="17">
                  <c:v>96</c:v>
                </c:pt>
                <c:pt idx="18">
                  <c:v>73</c:v>
                </c:pt>
                <c:pt idx="19">
                  <c:v>47</c:v>
                </c:pt>
                <c:pt idx="20">
                  <c:v>88</c:v>
                </c:pt>
                <c:pt idx="21">
                  <c:v>81</c:v>
                </c:pt>
                <c:pt idx="22">
                  <c:v>85</c:v>
                </c:pt>
                <c:pt idx="23">
                  <c:v>292</c:v>
                </c:pt>
                <c:pt idx="24">
                  <c:v>135</c:v>
                </c:pt>
                <c:pt idx="25">
                  <c:v>84</c:v>
                </c:pt>
                <c:pt idx="26">
                  <c:v>94</c:v>
                </c:pt>
                <c:pt idx="27">
                  <c:v>94</c:v>
                </c:pt>
                <c:pt idx="28">
                  <c:v>88</c:v>
                </c:pt>
                <c:pt idx="29">
                  <c:v>102</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14800000000000002</c:v>
                </c:pt>
                <c:pt idx="1">
                  <c:v>-0.04800000000000004</c:v>
                </c:pt>
                <c:pt idx="2">
                  <c:v>0.524</c:v>
                </c:pt>
                <c:pt idx="3">
                  <c:v>-0.258</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89%</a:t>
                    </a:r>
                  </a:p>
                </c:rich>
              </c:tx>
              <c:dLblPos val="ctr"/>
              <c:showLegendKey val="0"/>
              <c:showVal val="1"/>
              <c:showCatName val="0"/>
              <c:showSerName val="0"/>
              <c:showPercent val="0"/>
              <c:showBubbleSize val="0"/>
            </c:dLbl>
            <c:dLbl>
              <c:idx val="23"/>
              <c:tx>
                <c:rich>
                  <a:bodyPr/>
                  <a:lstStyle/>
                  <a:p>
                    <a:r>
                      <a:rPr sz="800"/>
                      <a:t>259%</a:t>
                    </a:r>
                  </a:p>
                </c:rich>
              </c:tx>
              <c:dLblPos val="ctr"/>
              <c:showLegendKey val="0"/>
              <c:showVal val="1"/>
              <c:showCatName val="0"/>
              <c:showSerName val="0"/>
              <c:showPercent val="0"/>
              <c:showBubbleSize val="0"/>
            </c:dLbl>
            <c:dLbl>
              <c:idx val="29"/>
              <c:tx>
                <c:rich>
                  <a:bodyPr/>
                  <a:lstStyle/>
                  <a:p>
                    <a:r>
                      <a:rPr sz="800"/>
                      <a:t>11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4</c:v>
                </c:pt>
                <c:pt idx="1">
                  <c:v>75</c:v>
                </c:pt>
                <c:pt idx="2">
                  <c:v>80</c:v>
                </c:pt>
                <c:pt idx="3">
                  <c:v>74</c:v>
                </c:pt>
                <c:pt idx="4">
                  <c:v>78</c:v>
                </c:pt>
                <c:pt idx="5">
                  <c:v>94</c:v>
                </c:pt>
                <c:pt idx="6">
                  <c:v>74</c:v>
                </c:pt>
                <c:pt idx="7">
                  <c:v>40</c:v>
                </c:pt>
                <c:pt idx="8">
                  <c:v>83</c:v>
                </c:pt>
                <c:pt idx="9">
                  <c:v>86</c:v>
                </c:pt>
                <c:pt idx="10">
                  <c:v>116</c:v>
                </c:pt>
                <c:pt idx="11">
                  <c:v>289</c:v>
                </c:pt>
                <c:pt idx="12">
                  <c:v>140</c:v>
                </c:pt>
                <c:pt idx="13">
                  <c:v>66</c:v>
                </c:pt>
                <c:pt idx="14">
                  <c:v>84</c:v>
                </c:pt>
                <c:pt idx="15">
                  <c:v>64</c:v>
                </c:pt>
                <c:pt idx="16">
                  <c:v>87</c:v>
                </c:pt>
                <c:pt idx="17">
                  <c:v>92</c:v>
                </c:pt>
                <c:pt idx="18">
                  <c:v>72</c:v>
                </c:pt>
                <c:pt idx="19">
                  <c:v>39</c:v>
                </c:pt>
                <c:pt idx="20">
                  <c:v>85</c:v>
                </c:pt>
                <c:pt idx="21">
                  <c:v>101</c:v>
                </c:pt>
                <c:pt idx="22">
                  <c:v>106</c:v>
                </c:pt>
                <c:pt idx="23">
                  <c:v>259</c:v>
                </c:pt>
                <c:pt idx="24">
                  <c:v>105</c:v>
                </c:pt>
                <c:pt idx="25">
                  <c:v>86</c:v>
                </c:pt>
                <c:pt idx="26">
                  <c:v>102</c:v>
                </c:pt>
                <c:pt idx="27">
                  <c:v>88</c:v>
                </c:pt>
                <c:pt idx="28">
                  <c:v>106</c:v>
                </c:pt>
                <c:pt idx="29">
                  <c:v>110</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80%</a:t>
                    </a:r>
                  </a:p>
                </c:rich>
              </c:tx>
              <c:dLblPos val="ctr"/>
              <c:showLegendKey val="0"/>
              <c:showVal val="1"/>
              <c:showCatName val="0"/>
              <c:showSerName val="0"/>
              <c:showPercent val="0"/>
              <c:showBubbleSize val="0"/>
            </c:dLbl>
            <c:dLbl>
              <c:idx val="23"/>
              <c:tx>
                <c:rich>
                  <a:bodyPr/>
                  <a:lstStyle/>
                  <a:p>
                    <a:r>
                      <a:rPr sz="800"/>
                      <a:t>255%</a:t>
                    </a:r>
                  </a:p>
                </c:rich>
              </c:tx>
              <c:dLblPos val="ctr"/>
              <c:showLegendKey val="0"/>
              <c:showVal val="1"/>
              <c:showCatName val="0"/>
              <c:showSerName val="0"/>
              <c:showPercent val="0"/>
              <c:showBubbleSize val="0"/>
            </c:dLbl>
            <c:dLbl>
              <c:idx val="29"/>
              <c:tx>
                <c:rich>
                  <a:bodyPr/>
                  <a:lstStyle/>
                  <a:p>
                    <a:r>
                      <a:rPr sz="800"/>
                      <a:t>13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9</c:v>
                </c:pt>
                <c:pt idx="1">
                  <c:v>87</c:v>
                </c:pt>
                <c:pt idx="2">
                  <c:v>83</c:v>
                </c:pt>
                <c:pt idx="3">
                  <c:v>67</c:v>
                </c:pt>
                <c:pt idx="4">
                  <c:v>77</c:v>
                </c:pt>
                <c:pt idx="5">
                  <c:v>131</c:v>
                </c:pt>
                <c:pt idx="6">
                  <c:v>78</c:v>
                </c:pt>
                <c:pt idx="7">
                  <c:v>38</c:v>
                </c:pt>
                <c:pt idx="8">
                  <c:v>72</c:v>
                </c:pt>
                <c:pt idx="9">
                  <c:v>79</c:v>
                </c:pt>
                <c:pt idx="10">
                  <c:v>102</c:v>
                </c:pt>
                <c:pt idx="11">
                  <c:v>280</c:v>
                </c:pt>
                <c:pt idx="12">
                  <c:v>143</c:v>
                </c:pt>
                <c:pt idx="13">
                  <c:v>84</c:v>
                </c:pt>
                <c:pt idx="14">
                  <c:v>75</c:v>
                </c:pt>
                <c:pt idx="15">
                  <c:v>71</c:v>
                </c:pt>
                <c:pt idx="16">
                  <c:v>79</c:v>
                </c:pt>
                <c:pt idx="17">
                  <c:v>126</c:v>
                </c:pt>
                <c:pt idx="18">
                  <c:v>70</c:v>
                </c:pt>
                <c:pt idx="19">
                  <c:v>45</c:v>
                </c:pt>
                <c:pt idx="20">
                  <c:v>67</c:v>
                </c:pt>
                <c:pt idx="21">
                  <c:v>81</c:v>
                </c:pt>
                <c:pt idx="22">
                  <c:v>99</c:v>
                </c:pt>
                <c:pt idx="23">
                  <c:v>255</c:v>
                </c:pt>
                <c:pt idx="24">
                  <c:v>106</c:v>
                </c:pt>
                <c:pt idx="25">
                  <c:v>78</c:v>
                </c:pt>
                <c:pt idx="26">
                  <c:v>74</c:v>
                </c:pt>
                <c:pt idx="27">
                  <c:v>111</c:v>
                </c:pt>
                <c:pt idx="28">
                  <c:v>96</c:v>
                </c:pt>
                <c:pt idx="29">
                  <c:v>131</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14%</a:t>
                    </a:r>
                  </a:p>
                </c:rich>
              </c:tx>
              <c:dLblPos val="ctr"/>
              <c:showLegendKey val="0"/>
              <c:showVal val="1"/>
              <c:showCatName val="0"/>
              <c:showSerName val="0"/>
              <c:showPercent val="0"/>
              <c:showBubbleSize val="0"/>
            </c:dLbl>
            <c:dLbl>
              <c:idx val="23"/>
              <c:tx>
                <c:rich>
                  <a:bodyPr/>
                  <a:lstStyle/>
                  <a:p>
                    <a:r>
                      <a:rPr sz="800"/>
                      <a:t>295%</a:t>
                    </a:r>
                  </a:p>
                </c:rich>
              </c:tx>
              <c:dLblPos val="ctr"/>
              <c:showLegendKey val="0"/>
              <c:showVal val="1"/>
              <c:showCatName val="0"/>
              <c:showSerName val="0"/>
              <c:showPercent val="0"/>
              <c:showBubbleSize val="0"/>
            </c:dLbl>
            <c:dLbl>
              <c:idx val="24"/>
              <c:tx>
                <c:rich>
                  <a:bodyPr/>
                  <a:lstStyle/>
                  <a:p>
                    <a:r>
                      <a:rPr sz="800"/>
                      <a:t>13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6</c:v>
                </c:pt>
                <c:pt idx="1">
                  <c:v>66</c:v>
                </c:pt>
                <c:pt idx="2">
                  <c:v>83</c:v>
                </c:pt>
                <c:pt idx="3">
                  <c:v>74</c:v>
                </c:pt>
                <c:pt idx="4">
                  <c:v>69</c:v>
                </c:pt>
                <c:pt idx="5">
                  <c:v>96</c:v>
                </c:pt>
                <c:pt idx="6">
                  <c:v>82</c:v>
                </c:pt>
                <c:pt idx="7">
                  <c:v>39</c:v>
                </c:pt>
                <c:pt idx="8">
                  <c:v>75</c:v>
                </c:pt>
                <c:pt idx="9">
                  <c:v>78</c:v>
                </c:pt>
                <c:pt idx="10">
                  <c:v>92</c:v>
                </c:pt>
                <c:pt idx="11">
                  <c:v>314</c:v>
                </c:pt>
                <c:pt idx="12">
                  <c:v>167</c:v>
                </c:pt>
                <c:pt idx="13">
                  <c:v>68</c:v>
                </c:pt>
                <c:pt idx="14">
                  <c:v>71</c:v>
                </c:pt>
                <c:pt idx="15">
                  <c:v>59</c:v>
                </c:pt>
                <c:pt idx="16">
                  <c:v>66</c:v>
                </c:pt>
                <c:pt idx="17">
                  <c:v>83</c:v>
                </c:pt>
                <c:pt idx="18">
                  <c:v>59</c:v>
                </c:pt>
                <c:pt idx="19">
                  <c:v>52</c:v>
                </c:pt>
                <c:pt idx="20">
                  <c:v>78</c:v>
                </c:pt>
                <c:pt idx="21">
                  <c:v>82</c:v>
                </c:pt>
                <c:pt idx="22">
                  <c:v>114</c:v>
                </c:pt>
                <c:pt idx="23">
                  <c:v>295</c:v>
                </c:pt>
                <c:pt idx="24">
                  <c:v>137</c:v>
                </c:pt>
                <c:pt idx="25">
                  <c:v>71</c:v>
                </c:pt>
                <c:pt idx="26">
                  <c:v>85</c:v>
                </c:pt>
                <c:pt idx="27">
                  <c:v>91</c:v>
                </c:pt>
                <c:pt idx="28">
                  <c:v>95</c:v>
                </c:pt>
                <c:pt idx="29">
                  <c:v>11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48%</a:t>
                    </a:r>
                  </a:p>
                </c:rich>
              </c:tx>
              <c:dLblPos val="ctr"/>
              <c:showLegendKey val="0"/>
              <c:showVal val="1"/>
              <c:showCatName val="0"/>
              <c:showSerName val="0"/>
              <c:showPercent val="0"/>
              <c:showBubbleSize val="0"/>
            </c:dLbl>
            <c:dLbl>
              <c:idx val="23"/>
              <c:tx>
                <c:rich>
                  <a:bodyPr/>
                  <a:lstStyle/>
                  <a:p>
                    <a:r>
                      <a:rPr sz="800"/>
                      <a:t>233%</a:t>
                    </a:r>
                  </a:p>
                </c:rich>
              </c:tx>
              <c:dLblPos val="ctr"/>
              <c:showLegendKey val="0"/>
              <c:showVal val="1"/>
              <c:showCatName val="0"/>
              <c:showSerName val="0"/>
              <c:showPercent val="0"/>
              <c:showBubbleSize val="0"/>
            </c:dLbl>
            <c:dLbl>
              <c:idx val="24"/>
              <c:tx>
                <c:rich>
                  <a:bodyPr/>
                  <a:lstStyle/>
                  <a:p>
                    <a:r>
                      <a:rPr sz="800"/>
                      <a:t>11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8</c:v>
                </c:pt>
                <c:pt idx="1">
                  <c:v>90</c:v>
                </c:pt>
                <c:pt idx="2">
                  <c:v>90</c:v>
                </c:pt>
                <c:pt idx="3">
                  <c:v>67</c:v>
                </c:pt>
                <c:pt idx="4">
                  <c:v>77</c:v>
                </c:pt>
                <c:pt idx="5">
                  <c:v>96</c:v>
                </c:pt>
                <c:pt idx="6">
                  <c:v>86</c:v>
                </c:pt>
                <c:pt idx="7">
                  <c:v>60</c:v>
                </c:pt>
                <c:pt idx="8">
                  <c:v>75</c:v>
                </c:pt>
                <c:pt idx="9">
                  <c:v>76</c:v>
                </c:pt>
                <c:pt idx="10">
                  <c:v>121</c:v>
                </c:pt>
                <c:pt idx="11">
                  <c:v>248</c:v>
                </c:pt>
                <c:pt idx="12">
                  <c:v>145</c:v>
                </c:pt>
                <c:pt idx="13">
                  <c:v>76</c:v>
                </c:pt>
                <c:pt idx="14">
                  <c:v>83</c:v>
                </c:pt>
                <c:pt idx="15">
                  <c:v>81</c:v>
                </c:pt>
                <c:pt idx="16">
                  <c:v>91</c:v>
                </c:pt>
                <c:pt idx="17">
                  <c:v>95</c:v>
                </c:pt>
                <c:pt idx="18">
                  <c:v>76</c:v>
                </c:pt>
                <c:pt idx="19">
                  <c:v>56</c:v>
                </c:pt>
                <c:pt idx="20">
                  <c:v>77</c:v>
                </c:pt>
                <c:pt idx="21">
                  <c:v>85</c:v>
                </c:pt>
                <c:pt idx="22">
                  <c:v>96</c:v>
                </c:pt>
                <c:pt idx="23">
                  <c:v>233</c:v>
                </c:pt>
                <c:pt idx="24">
                  <c:v>119</c:v>
                </c:pt>
                <c:pt idx="25">
                  <c:v>85</c:v>
                </c:pt>
                <c:pt idx="26">
                  <c:v>88</c:v>
                </c:pt>
                <c:pt idx="27">
                  <c:v>88</c:v>
                </c:pt>
                <c:pt idx="28">
                  <c:v>105</c:v>
                </c:pt>
                <c:pt idx="29">
                  <c:v>112</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70%</a:t>
                    </a:r>
                  </a:p>
                </c:rich>
              </c:tx>
              <c:dLblPos val="ctr"/>
              <c:showLegendKey val="0"/>
              <c:showVal val="1"/>
              <c:showCatName val="0"/>
              <c:showSerName val="0"/>
              <c:showPercent val="0"/>
              <c:showBubbleSize val="0"/>
            </c:dLbl>
            <c:dLbl>
              <c:idx val="23"/>
              <c:tx>
                <c:rich>
                  <a:bodyPr/>
                  <a:lstStyle/>
                  <a:p>
                    <a:r>
                      <a:rPr sz="800"/>
                      <a:t>298%</a:t>
                    </a:r>
                  </a:p>
                </c:rich>
              </c:tx>
              <c:dLblPos val="ctr"/>
              <c:showLegendKey val="0"/>
              <c:showVal val="1"/>
              <c:showCatName val="0"/>
              <c:showSerName val="0"/>
              <c:showPercent val="0"/>
              <c:showBubbleSize val="0"/>
            </c:dLbl>
            <c:dLbl>
              <c:idx val="29"/>
              <c:tx>
                <c:rich>
                  <a:bodyPr/>
                  <a:lstStyle/>
                  <a:p>
                    <a:r>
                      <a:rPr sz="800"/>
                      <a:t>11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65</c:v>
                </c:pt>
                <c:pt idx="1">
                  <c:v>66</c:v>
                </c:pt>
                <c:pt idx="2">
                  <c:v>55</c:v>
                </c:pt>
                <c:pt idx="3">
                  <c:v>138</c:v>
                </c:pt>
                <c:pt idx="4">
                  <c:v>84</c:v>
                </c:pt>
                <c:pt idx="5">
                  <c:v>78</c:v>
                </c:pt>
                <c:pt idx="6">
                  <c:v>35</c:v>
                </c:pt>
                <c:pt idx="7">
                  <c:v>18</c:v>
                </c:pt>
                <c:pt idx="8">
                  <c:v>143</c:v>
                </c:pt>
                <c:pt idx="9">
                  <c:v>49</c:v>
                </c:pt>
                <c:pt idx="10">
                  <c:v>92</c:v>
                </c:pt>
                <c:pt idx="11">
                  <c:v>270</c:v>
                </c:pt>
                <c:pt idx="12">
                  <c:v>162</c:v>
                </c:pt>
                <c:pt idx="13">
                  <c:v>90</c:v>
                </c:pt>
                <c:pt idx="14">
                  <c:v>55</c:v>
                </c:pt>
                <c:pt idx="15">
                  <c:v>141</c:v>
                </c:pt>
                <c:pt idx="16">
                  <c:v>75</c:v>
                </c:pt>
                <c:pt idx="17">
                  <c:v>68</c:v>
                </c:pt>
                <c:pt idx="18">
                  <c:v>30</c:v>
                </c:pt>
                <c:pt idx="19">
                  <c:v>15</c:v>
                </c:pt>
                <c:pt idx="20">
                  <c:v>86</c:v>
                </c:pt>
                <c:pt idx="21">
                  <c:v>54</c:v>
                </c:pt>
                <c:pt idx="22">
                  <c:v>118</c:v>
                </c:pt>
                <c:pt idx="23">
                  <c:v>298</c:v>
                </c:pt>
                <c:pt idx="24">
                  <c:v>109</c:v>
                </c:pt>
                <c:pt idx="25">
                  <c:v>112</c:v>
                </c:pt>
                <c:pt idx="26">
                  <c:v>64</c:v>
                </c:pt>
                <c:pt idx="27">
                  <c:v>86</c:v>
                </c:pt>
                <c:pt idx="28">
                  <c:v>108</c:v>
                </c:pt>
                <c:pt idx="29">
                  <c:v>118</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6%</a:t>
                    </a:r>
                  </a:p>
                </c:rich>
              </c:tx>
              <c:dLblPos val="ctr"/>
              <c:showLegendKey val="0"/>
              <c:showVal val="1"/>
              <c:showCatName val="0"/>
              <c:showSerName val="0"/>
              <c:showPercent val="0"/>
              <c:showBubbleSize val="0"/>
            </c:dLbl>
            <c:dLbl>
              <c:idx val="12"/>
              <c:tx>
                <c:rich>
                  <a:bodyPr/>
                  <a:lstStyle/>
                  <a:p>
                    <a:r>
                      <a:rPr sz="800"/>
                      <a:t>171%</a:t>
                    </a:r>
                  </a:p>
                </c:rich>
              </c:tx>
              <c:dLblPos val="ctr"/>
              <c:showLegendKey val="0"/>
              <c:showVal val="1"/>
              <c:showCatName val="0"/>
              <c:showSerName val="0"/>
              <c:showPercent val="0"/>
              <c:showBubbleSize val="0"/>
            </c:dLbl>
            <c:dLbl>
              <c:idx val="24"/>
              <c:tx>
                <c:rich>
                  <a:bodyPr/>
                  <a:lstStyle/>
                  <a:p>
                    <a:r>
                      <a:rPr sz="800"/>
                      <a:t>14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30</c:v>
                </c:pt>
                <c:pt idx="1">
                  <c:v>79</c:v>
                </c:pt>
                <c:pt idx="2">
                  <c:v>112</c:v>
                </c:pt>
                <c:pt idx="3">
                  <c:v>98</c:v>
                </c:pt>
                <c:pt idx="4">
                  <c:v>94</c:v>
                </c:pt>
                <c:pt idx="5">
                  <c:v>132</c:v>
                </c:pt>
                <c:pt idx="6">
                  <c:v>82</c:v>
                </c:pt>
                <c:pt idx="7">
                  <c:v>46</c:v>
                </c:pt>
                <c:pt idx="8">
                  <c:v>42</c:v>
                </c:pt>
                <c:pt idx="9">
                  <c:v>80</c:v>
                </c:pt>
                <c:pt idx="10">
                  <c:v>84</c:v>
                </c:pt>
                <c:pt idx="11">
                  <c:v>216</c:v>
                </c:pt>
                <c:pt idx="12">
                  <c:v>171</c:v>
                </c:pt>
                <c:pt idx="13">
                  <c:v>92</c:v>
                </c:pt>
                <c:pt idx="14">
                  <c:v>110</c:v>
                </c:pt>
                <c:pt idx="15">
                  <c:v>81</c:v>
                </c:pt>
                <c:pt idx="16">
                  <c:v>70</c:v>
                </c:pt>
                <c:pt idx="17">
                  <c:v>121</c:v>
                </c:pt>
                <c:pt idx="18">
                  <c:v>97</c:v>
                </c:pt>
                <c:pt idx="19">
                  <c:v>57</c:v>
                </c:pt>
                <c:pt idx="20">
                  <c:v>49</c:v>
                </c:pt>
                <c:pt idx="21">
                  <c:v>96</c:v>
                </c:pt>
                <c:pt idx="22">
                  <c:v>86</c:v>
                </c:pt>
                <c:pt idx="23">
                  <c:v>163</c:v>
                </c:pt>
                <c:pt idx="24">
                  <c:v>149</c:v>
                </c:pt>
                <c:pt idx="25">
                  <c:v>60</c:v>
                </c:pt>
                <c:pt idx="26">
                  <c:v>75</c:v>
                </c:pt>
                <c:pt idx="27">
                  <c:v>90</c:v>
                </c:pt>
                <c:pt idx="28">
                  <c:v>99</c:v>
                </c:pt>
                <c:pt idx="29">
                  <c:v>12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3254708607953065</c:v>
                </c:pt>
                <c:pt idx="1">
                  <c:v>-0.5529784581056065</c:v>
                </c:pt>
                <c:pt idx="2">
                  <c:v>-0.4524743826489971</c:v>
                </c:pt>
                <c:pt idx="3">
                  <c:v>-0.2089588073216184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03%</a:t>
                    </a:r>
                  </a:p>
                </c:rich>
              </c:tx>
              <c:dLblPos val="ctr"/>
              <c:showLegendKey val="0"/>
              <c:showVal val="1"/>
              <c:showCatName val="0"/>
              <c:showSerName val="0"/>
              <c:showPercent val="0"/>
              <c:showBubbleSize val="0"/>
            </c:dLbl>
            <c:dLbl>
              <c:idx val="23"/>
              <c:tx>
                <c:rich>
                  <a:bodyPr/>
                  <a:lstStyle/>
                  <a:p>
                    <a:r>
                      <a:rPr sz="800"/>
                      <a:t>274%</a:t>
                    </a:r>
                  </a:p>
                </c:rich>
              </c:tx>
              <c:dLblPos val="ctr"/>
              <c:showLegendKey val="0"/>
              <c:showVal val="1"/>
              <c:showCatName val="0"/>
              <c:showSerName val="0"/>
              <c:showPercent val="0"/>
              <c:showBubbleSize val="0"/>
            </c:dLbl>
            <c:dLbl>
              <c:idx val="29"/>
              <c:tx>
                <c:rich>
                  <a:bodyPr/>
                  <a:lstStyle/>
                  <a:p>
                    <a:r>
                      <a:rPr sz="800"/>
                      <a:t>10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1</c:v>
                </c:pt>
                <c:pt idx="1">
                  <c:v>70</c:v>
                </c:pt>
                <c:pt idx="2">
                  <c:v>75</c:v>
                </c:pt>
                <c:pt idx="3">
                  <c:v>70</c:v>
                </c:pt>
                <c:pt idx="4">
                  <c:v>80</c:v>
                </c:pt>
                <c:pt idx="5">
                  <c:v>93</c:v>
                </c:pt>
                <c:pt idx="6">
                  <c:v>75</c:v>
                </c:pt>
                <c:pt idx="7">
                  <c:v>46</c:v>
                </c:pt>
                <c:pt idx="8">
                  <c:v>83</c:v>
                </c:pt>
                <c:pt idx="9">
                  <c:v>84</c:v>
                </c:pt>
                <c:pt idx="10">
                  <c:v>114</c:v>
                </c:pt>
                <c:pt idx="11">
                  <c:v>303</c:v>
                </c:pt>
                <c:pt idx="12">
                  <c:v>137</c:v>
                </c:pt>
                <c:pt idx="13">
                  <c:v>66</c:v>
                </c:pt>
                <c:pt idx="14">
                  <c:v>81</c:v>
                </c:pt>
                <c:pt idx="15">
                  <c:v>60</c:v>
                </c:pt>
                <c:pt idx="16">
                  <c:v>87</c:v>
                </c:pt>
                <c:pt idx="17">
                  <c:v>88</c:v>
                </c:pt>
                <c:pt idx="18">
                  <c:v>73</c:v>
                </c:pt>
                <c:pt idx="19">
                  <c:v>46</c:v>
                </c:pt>
                <c:pt idx="20">
                  <c:v>82</c:v>
                </c:pt>
                <c:pt idx="21">
                  <c:v>96</c:v>
                </c:pt>
                <c:pt idx="22">
                  <c:v>101</c:v>
                </c:pt>
                <c:pt idx="23">
                  <c:v>274</c:v>
                </c:pt>
                <c:pt idx="24">
                  <c:v>107</c:v>
                </c:pt>
                <c:pt idx="25">
                  <c:v>95</c:v>
                </c:pt>
                <c:pt idx="26">
                  <c:v>102</c:v>
                </c:pt>
                <c:pt idx="27">
                  <c:v>85</c:v>
                </c:pt>
                <c:pt idx="28">
                  <c:v>100</c:v>
                </c:pt>
                <c:pt idx="29">
                  <c:v>108</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86%</a:t>
                    </a:r>
                  </a:p>
                </c:rich>
              </c:tx>
              <c:dLblPos val="ctr"/>
              <c:showLegendKey val="0"/>
              <c:showVal val="1"/>
              <c:showCatName val="0"/>
              <c:showSerName val="0"/>
              <c:showPercent val="0"/>
              <c:showBubbleSize val="0"/>
            </c:dLbl>
            <c:dLbl>
              <c:idx val="23"/>
              <c:tx>
                <c:rich>
                  <a:bodyPr/>
                  <a:lstStyle/>
                  <a:p>
                    <a:r>
                      <a:rPr sz="800"/>
                      <a:t>277%</a:t>
                    </a:r>
                  </a:p>
                </c:rich>
              </c:tx>
              <c:dLblPos val="ctr"/>
              <c:showLegendKey val="0"/>
              <c:showVal val="1"/>
              <c:showCatName val="0"/>
              <c:showSerName val="0"/>
              <c:showPercent val="0"/>
              <c:showBubbleSize val="0"/>
            </c:dLbl>
            <c:dLbl>
              <c:idx val="29"/>
              <c:tx>
                <c:rich>
                  <a:bodyPr/>
                  <a:lstStyle/>
                  <a:p>
                    <a:r>
                      <a:rPr sz="800"/>
                      <a:t>13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8</c:v>
                </c:pt>
                <c:pt idx="1">
                  <c:v>93</c:v>
                </c:pt>
                <c:pt idx="2">
                  <c:v>74</c:v>
                </c:pt>
                <c:pt idx="3">
                  <c:v>71</c:v>
                </c:pt>
                <c:pt idx="4">
                  <c:v>66</c:v>
                </c:pt>
                <c:pt idx="5">
                  <c:v>124</c:v>
                </c:pt>
                <c:pt idx="6">
                  <c:v>79</c:v>
                </c:pt>
                <c:pt idx="7">
                  <c:v>52</c:v>
                </c:pt>
                <c:pt idx="8">
                  <c:v>78</c:v>
                </c:pt>
                <c:pt idx="9">
                  <c:v>72</c:v>
                </c:pt>
                <c:pt idx="10">
                  <c:v>100</c:v>
                </c:pt>
                <c:pt idx="11">
                  <c:v>286</c:v>
                </c:pt>
                <c:pt idx="12">
                  <c:v>138</c:v>
                </c:pt>
                <c:pt idx="13">
                  <c:v>72</c:v>
                </c:pt>
                <c:pt idx="14">
                  <c:v>74</c:v>
                </c:pt>
                <c:pt idx="15">
                  <c:v>75</c:v>
                </c:pt>
                <c:pt idx="16">
                  <c:v>82</c:v>
                </c:pt>
                <c:pt idx="17">
                  <c:v>120</c:v>
                </c:pt>
                <c:pt idx="18">
                  <c:v>72</c:v>
                </c:pt>
                <c:pt idx="19">
                  <c:v>53</c:v>
                </c:pt>
                <c:pt idx="20">
                  <c:v>75</c:v>
                </c:pt>
                <c:pt idx="21">
                  <c:v>64</c:v>
                </c:pt>
                <c:pt idx="22">
                  <c:v>92</c:v>
                </c:pt>
                <c:pt idx="23">
                  <c:v>277</c:v>
                </c:pt>
                <c:pt idx="24">
                  <c:v>102</c:v>
                </c:pt>
                <c:pt idx="25">
                  <c:v>92</c:v>
                </c:pt>
                <c:pt idx="26">
                  <c:v>77</c:v>
                </c:pt>
                <c:pt idx="27">
                  <c:v>89</c:v>
                </c:pt>
                <c:pt idx="28">
                  <c:v>103</c:v>
                </c:pt>
                <c:pt idx="29">
                  <c:v>135</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40%</a:t>
                    </a:r>
                  </a:p>
                </c:rich>
              </c:tx>
              <c:dLblPos val="ctr"/>
              <c:showLegendKey val="0"/>
              <c:showVal val="1"/>
              <c:showCatName val="0"/>
              <c:showSerName val="0"/>
              <c:showPercent val="0"/>
              <c:showBubbleSize val="0"/>
            </c:dLbl>
            <c:dLbl>
              <c:idx val="23"/>
              <c:tx>
                <c:rich>
                  <a:bodyPr/>
                  <a:lstStyle/>
                  <a:p>
                    <a:r>
                      <a:rPr sz="800"/>
                      <a:t>304%</a:t>
                    </a:r>
                  </a:p>
                </c:rich>
              </c:tx>
              <c:dLblPos val="ctr"/>
              <c:showLegendKey val="0"/>
              <c:showVal val="1"/>
              <c:showCatName val="0"/>
              <c:showSerName val="0"/>
              <c:showPercent val="0"/>
              <c:showBubbleSize val="0"/>
            </c:dLbl>
            <c:dLbl>
              <c:idx val="24"/>
              <c:tx>
                <c:rich>
                  <a:bodyPr/>
                  <a:lstStyle/>
                  <a:p>
                    <a:r>
                      <a:rPr sz="800"/>
                      <a:t>12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60</c:v>
                </c:pt>
                <c:pt idx="1">
                  <c:v>57</c:v>
                </c:pt>
                <c:pt idx="2">
                  <c:v>93</c:v>
                </c:pt>
                <c:pt idx="3">
                  <c:v>64</c:v>
                </c:pt>
                <c:pt idx="4">
                  <c:v>63</c:v>
                </c:pt>
                <c:pt idx="5">
                  <c:v>71</c:v>
                </c:pt>
                <c:pt idx="6">
                  <c:v>61</c:v>
                </c:pt>
                <c:pt idx="7">
                  <c:v>41</c:v>
                </c:pt>
                <c:pt idx="8">
                  <c:v>75</c:v>
                </c:pt>
                <c:pt idx="9">
                  <c:v>75</c:v>
                </c:pt>
                <c:pt idx="10">
                  <c:v>96</c:v>
                </c:pt>
                <c:pt idx="11">
                  <c:v>340</c:v>
                </c:pt>
                <c:pt idx="12">
                  <c:v>170</c:v>
                </c:pt>
                <c:pt idx="13">
                  <c:v>65</c:v>
                </c:pt>
                <c:pt idx="14">
                  <c:v>77</c:v>
                </c:pt>
                <c:pt idx="15">
                  <c:v>74</c:v>
                </c:pt>
                <c:pt idx="16">
                  <c:v>62</c:v>
                </c:pt>
                <c:pt idx="17">
                  <c:v>78</c:v>
                </c:pt>
                <c:pt idx="18">
                  <c:v>66</c:v>
                </c:pt>
                <c:pt idx="19">
                  <c:v>45</c:v>
                </c:pt>
                <c:pt idx="20">
                  <c:v>72</c:v>
                </c:pt>
                <c:pt idx="21">
                  <c:v>70</c:v>
                </c:pt>
                <c:pt idx="22">
                  <c:v>110</c:v>
                </c:pt>
                <c:pt idx="23">
                  <c:v>304</c:v>
                </c:pt>
                <c:pt idx="24">
                  <c:v>128</c:v>
                </c:pt>
                <c:pt idx="25">
                  <c:v>80</c:v>
                </c:pt>
                <c:pt idx="26">
                  <c:v>83</c:v>
                </c:pt>
                <c:pt idx="27">
                  <c:v>95</c:v>
                </c:pt>
                <c:pt idx="28">
                  <c:v>83</c:v>
                </c:pt>
                <c:pt idx="29">
                  <c:v>12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61%</a:t>
                    </a:r>
                  </a:p>
                </c:rich>
              </c:tx>
              <c:dLblPos val="ctr"/>
              <c:showLegendKey val="0"/>
              <c:showVal val="1"/>
              <c:showCatName val="0"/>
              <c:showSerName val="0"/>
              <c:showPercent val="0"/>
              <c:showBubbleSize val="0"/>
            </c:dLbl>
            <c:dLbl>
              <c:idx val="23"/>
              <c:tx>
                <c:rich>
                  <a:bodyPr/>
                  <a:lstStyle/>
                  <a:p>
                    <a:r>
                      <a:rPr sz="800"/>
                      <a:t>251%</a:t>
                    </a:r>
                  </a:p>
                </c:rich>
              </c:tx>
              <c:dLblPos val="ctr"/>
              <c:showLegendKey val="0"/>
              <c:showVal val="1"/>
              <c:showCatName val="0"/>
              <c:showSerName val="0"/>
              <c:showPercent val="0"/>
              <c:showBubbleSize val="0"/>
            </c:dLbl>
            <c:dLbl>
              <c:idx val="29"/>
              <c:tx>
                <c:rich>
                  <a:bodyPr/>
                  <a:lstStyle/>
                  <a:p>
                    <a:r>
                      <a:rPr sz="800"/>
                      <a:t>12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1</c:v>
                </c:pt>
                <c:pt idx="1">
                  <c:v>90</c:v>
                </c:pt>
                <c:pt idx="2">
                  <c:v>94</c:v>
                </c:pt>
                <c:pt idx="3">
                  <c:v>70</c:v>
                </c:pt>
                <c:pt idx="4">
                  <c:v>82</c:v>
                </c:pt>
                <c:pt idx="5">
                  <c:v>90</c:v>
                </c:pt>
                <c:pt idx="6">
                  <c:v>82</c:v>
                </c:pt>
                <c:pt idx="7">
                  <c:v>59</c:v>
                </c:pt>
                <c:pt idx="8">
                  <c:v>67</c:v>
                </c:pt>
                <c:pt idx="9">
                  <c:v>73</c:v>
                </c:pt>
                <c:pt idx="10">
                  <c:v>103</c:v>
                </c:pt>
                <c:pt idx="11">
                  <c:v>261</c:v>
                </c:pt>
                <c:pt idx="12">
                  <c:v>152</c:v>
                </c:pt>
                <c:pt idx="13">
                  <c:v>77</c:v>
                </c:pt>
                <c:pt idx="14">
                  <c:v>78</c:v>
                </c:pt>
                <c:pt idx="15">
                  <c:v>74</c:v>
                </c:pt>
                <c:pt idx="16">
                  <c:v>90</c:v>
                </c:pt>
                <c:pt idx="17">
                  <c:v>96</c:v>
                </c:pt>
                <c:pt idx="18">
                  <c:v>69</c:v>
                </c:pt>
                <c:pt idx="19">
                  <c:v>64</c:v>
                </c:pt>
                <c:pt idx="20">
                  <c:v>72</c:v>
                </c:pt>
                <c:pt idx="21">
                  <c:v>73</c:v>
                </c:pt>
                <c:pt idx="22">
                  <c:v>98</c:v>
                </c:pt>
                <c:pt idx="23">
                  <c:v>251</c:v>
                </c:pt>
                <c:pt idx="24">
                  <c:v>119</c:v>
                </c:pt>
                <c:pt idx="25">
                  <c:v>87</c:v>
                </c:pt>
                <c:pt idx="26">
                  <c:v>85</c:v>
                </c:pt>
                <c:pt idx="27">
                  <c:v>77</c:v>
                </c:pt>
                <c:pt idx="28">
                  <c:v>101</c:v>
                </c:pt>
                <c:pt idx="29">
                  <c:v>127</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5.5</c:v>
                </c:pt>
                <c:pt idx="1">
                  <c:v>6.75</c:v>
                </c:pt>
                <c:pt idx="2">
                  <c:v>10.5</c:v>
                </c:pt>
                <c:pt idx="3">
                  <c:v>0.038000000000000034</c:v>
                </c:pt>
                <c:pt idx="4">
                  <c:v>-0.383</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64%</a:t>
                    </a:r>
                  </a:p>
                </c:rich>
              </c:tx>
              <c:dLblPos val="ctr"/>
              <c:showLegendKey val="0"/>
              <c:showVal val="1"/>
              <c:showCatName val="0"/>
              <c:showSerName val="0"/>
              <c:showPercent val="0"/>
              <c:showBubbleSize val="0"/>
            </c:dLbl>
            <c:dLbl>
              <c:idx val="23"/>
              <c:tx>
                <c:rich>
                  <a:bodyPr/>
                  <a:lstStyle/>
                  <a:p>
                    <a:r>
                      <a:rPr sz="800"/>
                      <a:t>312%</a:t>
                    </a:r>
                  </a:p>
                </c:rich>
              </c:tx>
              <c:dLblPos val="ctr"/>
              <c:showLegendKey val="0"/>
              <c:showVal val="1"/>
              <c:showCatName val="0"/>
              <c:showSerName val="0"/>
              <c:showPercent val="0"/>
              <c:showBubbleSize val="0"/>
            </c:dLbl>
            <c:dLbl>
              <c:idx val="25"/>
              <c:tx>
                <c:rich>
                  <a:bodyPr/>
                  <a:lstStyle/>
                  <a:p>
                    <a:r>
                      <a:rPr sz="800"/>
                      <a:t>12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78</c:v>
                </c:pt>
                <c:pt idx="1">
                  <c:v>71</c:v>
                </c:pt>
                <c:pt idx="2">
                  <c:v>55</c:v>
                </c:pt>
                <c:pt idx="3">
                  <c:v>131</c:v>
                </c:pt>
                <c:pt idx="4">
                  <c:v>87</c:v>
                </c:pt>
                <c:pt idx="5">
                  <c:v>80</c:v>
                </c:pt>
                <c:pt idx="6">
                  <c:v>34</c:v>
                </c:pt>
                <c:pt idx="7">
                  <c:v>21</c:v>
                </c:pt>
                <c:pt idx="8">
                  <c:v>132</c:v>
                </c:pt>
                <c:pt idx="9">
                  <c:v>44</c:v>
                </c:pt>
                <c:pt idx="10">
                  <c:v>97</c:v>
                </c:pt>
                <c:pt idx="11">
                  <c:v>264</c:v>
                </c:pt>
                <c:pt idx="12">
                  <c:v>167</c:v>
                </c:pt>
                <c:pt idx="13">
                  <c:v>101</c:v>
                </c:pt>
                <c:pt idx="14">
                  <c:v>57</c:v>
                </c:pt>
                <c:pt idx="15">
                  <c:v>131</c:v>
                </c:pt>
                <c:pt idx="16">
                  <c:v>72</c:v>
                </c:pt>
                <c:pt idx="17">
                  <c:v>61</c:v>
                </c:pt>
                <c:pt idx="18">
                  <c:v>28</c:v>
                </c:pt>
                <c:pt idx="19">
                  <c:v>14</c:v>
                </c:pt>
                <c:pt idx="20">
                  <c:v>84</c:v>
                </c:pt>
                <c:pt idx="21">
                  <c:v>52</c:v>
                </c:pt>
                <c:pt idx="22">
                  <c:v>116</c:v>
                </c:pt>
                <c:pt idx="23">
                  <c:v>312</c:v>
                </c:pt>
                <c:pt idx="24">
                  <c:v>118</c:v>
                </c:pt>
                <c:pt idx="25">
                  <c:v>120</c:v>
                </c:pt>
                <c:pt idx="26">
                  <c:v>64</c:v>
                </c:pt>
                <c:pt idx="27">
                  <c:v>87</c:v>
                </c:pt>
                <c:pt idx="28">
                  <c:v>102</c:v>
                </c:pt>
                <c:pt idx="29">
                  <c:v>106</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30%</a:t>
                    </a:r>
                  </a:p>
                </c:rich>
              </c:tx>
              <c:dLblPos val="ctr"/>
              <c:showLegendKey val="0"/>
              <c:showVal val="1"/>
              <c:showCatName val="0"/>
              <c:showSerName val="0"/>
              <c:showPercent val="0"/>
              <c:showBubbleSize val="0"/>
            </c:dLbl>
            <c:dLbl>
              <c:idx val="23"/>
              <c:tx>
                <c:rich>
                  <a:bodyPr/>
                  <a:lstStyle/>
                  <a:p>
                    <a:r>
                      <a:rPr sz="800"/>
                      <a:t>171%</a:t>
                    </a:r>
                  </a:p>
                </c:rich>
              </c:tx>
              <c:dLblPos val="ctr"/>
              <c:showLegendKey val="0"/>
              <c:showVal val="1"/>
              <c:showCatName val="0"/>
              <c:showSerName val="0"/>
              <c:showPercent val="0"/>
              <c:showBubbleSize val="0"/>
            </c:dLbl>
            <c:dLbl>
              <c:idx val="24"/>
              <c:tx>
                <c:rich>
                  <a:bodyPr/>
                  <a:lstStyle/>
                  <a:p>
                    <a:r>
                      <a:rPr sz="800"/>
                      <a:t>15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30</c:v>
                </c:pt>
                <c:pt idx="1">
                  <c:v>80</c:v>
                </c:pt>
                <c:pt idx="2">
                  <c:v>120</c:v>
                </c:pt>
                <c:pt idx="3">
                  <c:v>97</c:v>
                </c:pt>
                <c:pt idx="4">
                  <c:v>97</c:v>
                </c:pt>
                <c:pt idx="5">
                  <c:v>122</c:v>
                </c:pt>
                <c:pt idx="6">
                  <c:v>80</c:v>
                </c:pt>
                <c:pt idx="7">
                  <c:v>52</c:v>
                </c:pt>
                <c:pt idx="8">
                  <c:v>37</c:v>
                </c:pt>
                <c:pt idx="9">
                  <c:v>74</c:v>
                </c:pt>
                <c:pt idx="10">
                  <c:v>76</c:v>
                </c:pt>
                <c:pt idx="11">
                  <c:v>230</c:v>
                </c:pt>
                <c:pt idx="12">
                  <c:v>165</c:v>
                </c:pt>
                <c:pt idx="13">
                  <c:v>90</c:v>
                </c:pt>
                <c:pt idx="14">
                  <c:v>108</c:v>
                </c:pt>
                <c:pt idx="15">
                  <c:v>90</c:v>
                </c:pt>
                <c:pt idx="16">
                  <c:v>67</c:v>
                </c:pt>
                <c:pt idx="17">
                  <c:v>110</c:v>
                </c:pt>
                <c:pt idx="18">
                  <c:v>103</c:v>
                </c:pt>
                <c:pt idx="19">
                  <c:v>69</c:v>
                </c:pt>
                <c:pt idx="20">
                  <c:v>53</c:v>
                </c:pt>
                <c:pt idx="21">
                  <c:v>90</c:v>
                </c:pt>
                <c:pt idx="22">
                  <c:v>76</c:v>
                </c:pt>
                <c:pt idx="23">
                  <c:v>171</c:v>
                </c:pt>
                <c:pt idx="24">
                  <c:v>153</c:v>
                </c:pt>
                <c:pt idx="25">
                  <c:v>61</c:v>
                </c:pt>
                <c:pt idx="26">
                  <c:v>79</c:v>
                </c:pt>
                <c:pt idx="27">
                  <c:v>96</c:v>
                </c:pt>
                <c:pt idx="28">
                  <c:v>92</c:v>
                </c:pt>
                <c:pt idx="29">
                  <c:v>115</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02%</a:t>
                    </a:r>
                  </a:p>
                </c:rich>
              </c:tx>
              <c:dLblPos val="ctr"/>
              <c:showLegendKey val="0"/>
              <c:showVal val="1"/>
              <c:showCatName val="0"/>
              <c:showSerName val="0"/>
              <c:showPercent val="0"/>
              <c:showBubbleSize val="0"/>
            </c:dLbl>
            <c:dLbl>
              <c:idx val="23"/>
              <c:tx>
                <c:rich>
                  <a:bodyPr/>
                  <a:lstStyle/>
                  <a:p>
                    <a:r>
                      <a:rPr sz="800"/>
                      <a:t>271%</a:t>
                    </a:r>
                  </a:p>
                </c:rich>
              </c:tx>
              <c:dLblPos val="ctr"/>
              <c:showLegendKey val="0"/>
              <c:showVal val="1"/>
              <c:showCatName val="0"/>
              <c:showSerName val="0"/>
              <c:showPercent val="0"/>
              <c:showBubbleSize val="0"/>
            </c:dLbl>
            <c:dLbl>
              <c:idx val="29"/>
              <c:tx>
                <c:rich>
                  <a:bodyPr/>
                  <a:lstStyle/>
                  <a:p>
                    <a:r>
                      <a:rPr sz="800"/>
                      <a:t>11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5</c:v>
                </c:pt>
                <c:pt idx="1">
                  <c:v>71</c:v>
                </c:pt>
                <c:pt idx="2">
                  <c:v>73</c:v>
                </c:pt>
                <c:pt idx="3">
                  <c:v>70</c:v>
                </c:pt>
                <c:pt idx="4">
                  <c:v>79</c:v>
                </c:pt>
                <c:pt idx="5">
                  <c:v>94</c:v>
                </c:pt>
                <c:pt idx="6">
                  <c:v>80</c:v>
                </c:pt>
                <c:pt idx="7">
                  <c:v>52</c:v>
                </c:pt>
                <c:pt idx="8">
                  <c:v>82</c:v>
                </c:pt>
                <c:pt idx="9">
                  <c:v>81</c:v>
                </c:pt>
                <c:pt idx="10">
                  <c:v>116</c:v>
                </c:pt>
                <c:pt idx="11">
                  <c:v>302</c:v>
                </c:pt>
                <c:pt idx="12">
                  <c:v>132</c:v>
                </c:pt>
                <c:pt idx="13">
                  <c:v>65</c:v>
                </c:pt>
                <c:pt idx="14">
                  <c:v>80</c:v>
                </c:pt>
                <c:pt idx="15">
                  <c:v>60</c:v>
                </c:pt>
                <c:pt idx="16">
                  <c:v>88</c:v>
                </c:pt>
                <c:pt idx="17">
                  <c:v>89</c:v>
                </c:pt>
                <c:pt idx="18">
                  <c:v>75</c:v>
                </c:pt>
                <c:pt idx="19">
                  <c:v>51</c:v>
                </c:pt>
                <c:pt idx="20">
                  <c:v>83</c:v>
                </c:pt>
                <c:pt idx="21">
                  <c:v>96</c:v>
                </c:pt>
                <c:pt idx="22">
                  <c:v>103</c:v>
                </c:pt>
                <c:pt idx="23">
                  <c:v>271</c:v>
                </c:pt>
                <c:pt idx="24">
                  <c:v>101</c:v>
                </c:pt>
                <c:pt idx="25">
                  <c:v>81</c:v>
                </c:pt>
                <c:pt idx="26">
                  <c:v>101</c:v>
                </c:pt>
                <c:pt idx="27">
                  <c:v>90</c:v>
                </c:pt>
                <c:pt idx="28">
                  <c:v>110</c:v>
                </c:pt>
                <c:pt idx="29">
                  <c:v>114</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90%</a:t>
                    </a:r>
                  </a:p>
                </c:rich>
              </c:tx>
              <c:dLblPos val="ctr"/>
              <c:showLegendKey val="0"/>
              <c:showVal val="1"/>
              <c:showCatName val="0"/>
              <c:showSerName val="0"/>
              <c:showPercent val="0"/>
              <c:showBubbleSize val="0"/>
            </c:dLbl>
            <c:dLbl>
              <c:idx val="23"/>
              <c:tx>
                <c:rich>
                  <a:bodyPr/>
                  <a:lstStyle/>
                  <a:p>
                    <a:r>
                      <a:rPr sz="800"/>
                      <a:t>288%</a:t>
                    </a:r>
                  </a:p>
                </c:rich>
              </c:tx>
              <c:dLblPos val="ctr"/>
              <c:showLegendKey val="0"/>
              <c:showVal val="1"/>
              <c:showCatName val="0"/>
              <c:showSerName val="0"/>
              <c:showPercent val="0"/>
              <c:showBubbleSize val="0"/>
            </c:dLbl>
            <c:dLbl>
              <c:idx val="29"/>
              <c:tx>
                <c:rich>
                  <a:bodyPr/>
                  <a:lstStyle/>
                  <a:p>
                    <a:r>
                      <a:rPr sz="800"/>
                      <a:t>14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1</c:v>
                </c:pt>
                <c:pt idx="1">
                  <c:v>94</c:v>
                </c:pt>
                <c:pt idx="2">
                  <c:v>69</c:v>
                </c:pt>
                <c:pt idx="3">
                  <c:v>69</c:v>
                </c:pt>
                <c:pt idx="4">
                  <c:v>74</c:v>
                </c:pt>
                <c:pt idx="5">
                  <c:v>126</c:v>
                </c:pt>
                <c:pt idx="6">
                  <c:v>87</c:v>
                </c:pt>
                <c:pt idx="7">
                  <c:v>50</c:v>
                </c:pt>
                <c:pt idx="8">
                  <c:v>74</c:v>
                </c:pt>
                <c:pt idx="9">
                  <c:v>67</c:v>
                </c:pt>
                <c:pt idx="10">
                  <c:v>93</c:v>
                </c:pt>
                <c:pt idx="11">
                  <c:v>290</c:v>
                </c:pt>
                <c:pt idx="12">
                  <c:v>134</c:v>
                </c:pt>
                <c:pt idx="13">
                  <c:v>71</c:v>
                </c:pt>
                <c:pt idx="14">
                  <c:v>77</c:v>
                </c:pt>
                <c:pt idx="15">
                  <c:v>71</c:v>
                </c:pt>
                <c:pt idx="16">
                  <c:v>77</c:v>
                </c:pt>
                <c:pt idx="17">
                  <c:v>127</c:v>
                </c:pt>
                <c:pt idx="18">
                  <c:v>71</c:v>
                </c:pt>
                <c:pt idx="19">
                  <c:v>49</c:v>
                </c:pt>
                <c:pt idx="20">
                  <c:v>67</c:v>
                </c:pt>
                <c:pt idx="21">
                  <c:v>75</c:v>
                </c:pt>
                <c:pt idx="22">
                  <c:v>89</c:v>
                </c:pt>
                <c:pt idx="23">
                  <c:v>288</c:v>
                </c:pt>
                <c:pt idx="24">
                  <c:v>98</c:v>
                </c:pt>
                <c:pt idx="25">
                  <c:v>77</c:v>
                </c:pt>
                <c:pt idx="26">
                  <c:v>80</c:v>
                </c:pt>
                <c:pt idx="27">
                  <c:v>99</c:v>
                </c:pt>
                <c:pt idx="28">
                  <c:v>98</c:v>
                </c:pt>
                <c:pt idx="29">
                  <c:v>14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09%</a:t>
                    </a:r>
                  </a:p>
                </c:rich>
              </c:tx>
              <c:dLblPos val="ctr"/>
              <c:showLegendKey val="0"/>
              <c:showVal val="1"/>
              <c:showCatName val="0"/>
              <c:showSerName val="0"/>
              <c:showPercent val="0"/>
              <c:showBubbleSize val="0"/>
            </c:dLbl>
            <c:dLbl>
              <c:idx val="23"/>
              <c:tx>
                <c:rich>
                  <a:bodyPr/>
                  <a:lstStyle/>
                  <a:p>
                    <a:r>
                      <a:rPr sz="800"/>
                      <a:t>343%</a:t>
                    </a:r>
                  </a:p>
                </c:rich>
              </c:tx>
              <c:dLblPos val="ctr"/>
              <c:showLegendKey val="0"/>
              <c:showVal val="1"/>
              <c:showCatName val="0"/>
              <c:showSerName val="0"/>
              <c:showPercent val="0"/>
              <c:showBubbleSize val="0"/>
            </c:dLbl>
            <c:dLbl>
              <c:idx val="24"/>
              <c:tx>
                <c:rich>
                  <a:bodyPr/>
                  <a:lstStyle/>
                  <a:p>
                    <a:r>
                      <a:rPr sz="800"/>
                      <a:t>13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13</c:v>
                </c:pt>
                <c:pt idx="1">
                  <c:v>69</c:v>
                </c:pt>
                <c:pt idx="2">
                  <c:v>64</c:v>
                </c:pt>
                <c:pt idx="3">
                  <c:v>71</c:v>
                </c:pt>
                <c:pt idx="4">
                  <c:v>71</c:v>
                </c:pt>
                <c:pt idx="5">
                  <c:v>85</c:v>
                </c:pt>
                <c:pt idx="6">
                  <c:v>100</c:v>
                </c:pt>
                <c:pt idx="7">
                  <c:v>50</c:v>
                </c:pt>
                <c:pt idx="8">
                  <c:v>77</c:v>
                </c:pt>
                <c:pt idx="9">
                  <c:v>88</c:v>
                </c:pt>
                <c:pt idx="10">
                  <c:v>98</c:v>
                </c:pt>
                <c:pt idx="11">
                  <c:v>309</c:v>
                </c:pt>
                <c:pt idx="12">
                  <c:v>152</c:v>
                </c:pt>
                <c:pt idx="13">
                  <c:v>56</c:v>
                </c:pt>
                <c:pt idx="14">
                  <c:v>63</c:v>
                </c:pt>
                <c:pt idx="15">
                  <c:v>59</c:v>
                </c:pt>
                <c:pt idx="16">
                  <c:v>67</c:v>
                </c:pt>
                <c:pt idx="17">
                  <c:v>71</c:v>
                </c:pt>
                <c:pt idx="18">
                  <c:v>75</c:v>
                </c:pt>
                <c:pt idx="19">
                  <c:v>52</c:v>
                </c:pt>
                <c:pt idx="20">
                  <c:v>75</c:v>
                </c:pt>
                <c:pt idx="21">
                  <c:v>80</c:v>
                </c:pt>
                <c:pt idx="22">
                  <c:v>101</c:v>
                </c:pt>
                <c:pt idx="23">
                  <c:v>343</c:v>
                </c:pt>
                <c:pt idx="24">
                  <c:v>138</c:v>
                </c:pt>
                <c:pt idx="25">
                  <c:v>62</c:v>
                </c:pt>
                <c:pt idx="26">
                  <c:v>90</c:v>
                </c:pt>
                <c:pt idx="27">
                  <c:v>82</c:v>
                </c:pt>
                <c:pt idx="28">
                  <c:v>112</c:v>
                </c:pt>
                <c:pt idx="29">
                  <c:v>112</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68%</a:t>
                    </a:r>
                  </a:p>
                </c:rich>
              </c:tx>
              <c:dLblPos val="ctr"/>
              <c:showLegendKey val="0"/>
              <c:showVal val="1"/>
              <c:showCatName val="0"/>
              <c:showSerName val="0"/>
              <c:showPercent val="0"/>
              <c:showBubbleSize val="0"/>
            </c:dLbl>
            <c:dLbl>
              <c:idx val="23"/>
              <c:tx>
                <c:rich>
                  <a:bodyPr/>
                  <a:lstStyle/>
                  <a:p>
                    <a:r>
                      <a:rPr sz="800"/>
                      <a:t>250%</a:t>
                    </a:r>
                  </a:p>
                </c:rich>
              </c:tx>
              <c:dLblPos val="ctr"/>
              <c:showLegendKey val="0"/>
              <c:showVal val="1"/>
              <c:showCatName val="0"/>
              <c:showSerName val="0"/>
              <c:showPercent val="0"/>
              <c:showBubbleSize val="0"/>
            </c:dLbl>
            <c:dLbl>
              <c:idx val="28"/>
              <c:tx>
                <c:rich>
                  <a:bodyPr/>
                  <a:lstStyle/>
                  <a:p>
                    <a:r>
                      <a:rPr sz="800"/>
                      <a:t>11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6</c:v>
                </c:pt>
                <c:pt idx="1">
                  <c:v>88</c:v>
                </c:pt>
                <c:pt idx="2">
                  <c:v>91</c:v>
                </c:pt>
                <c:pt idx="3">
                  <c:v>70</c:v>
                </c:pt>
                <c:pt idx="4">
                  <c:v>75</c:v>
                </c:pt>
                <c:pt idx="5">
                  <c:v>93</c:v>
                </c:pt>
                <c:pt idx="6">
                  <c:v>100</c:v>
                </c:pt>
                <c:pt idx="7">
                  <c:v>62</c:v>
                </c:pt>
                <c:pt idx="8">
                  <c:v>69</c:v>
                </c:pt>
                <c:pt idx="9">
                  <c:v>76</c:v>
                </c:pt>
                <c:pt idx="10">
                  <c:v>97</c:v>
                </c:pt>
                <c:pt idx="11">
                  <c:v>268</c:v>
                </c:pt>
                <c:pt idx="12">
                  <c:v>143</c:v>
                </c:pt>
                <c:pt idx="13">
                  <c:v>78</c:v>
                </c:pt>
                <c:pt idx="14">
                  <c:v>74</c:v>
                </c:pt>
                <c:pt idx="15">
                  <c:v>78</c:v>
                </c:pt>
                <c:pt idx="16">
                  <c:v>92</c:v>
                </c:pt>
                <c:pt idx="17">
                  <c:v>86</c:v>
                </c:pt>
                <c:pt idx="18">
                  <c:v>86</c:v>
                </c:pt>
                <c:pt idx="19">
                  <c:v>58</c:v>
                </c:pt>
                <c:pt idx="20">
                  <c:v>84</c:v>
                </c:pt>
                <c:pt idx="21">
                  <c:v>77</c:v>
                </c:pt>
                <c:pt idx="22">
                  <c:v>88</c:v>
                </c:pt>
                <c:pt idx="23">
                  <c:v>250</c:v>
                </c:pt>
                <c:pt idx="24">
                  <c:v>110</c:v>
                </c:pt>
                <c:pt idx="25">
                  <c:v>84</c:v>
                </c:pt>
                <c:pt idx="26">
                  <c:v>82</c:v>
                </c:pt>
                <c:pt idx="27">
                  <c:v>93</c:v>
                </c:pt>
                <c:pt idx="28">
                  <c:v>119</c:v>
                </c:pt>
                <c:pt idx="29">
                  <c:v>109</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83%</a:t>
                    </a:r>
                  </a:p>
                </c:rich>
              </c:tx>
              <c:dLblPos val="ctr"/>
              <c:showLegendKey val="0"/>
              <c:showVal val="1"/>
              <c:showCatName val="0"/>
              <c:showSerName val="0"/>
              <c:showPercent val="0"/>
              <c:showBubbleSize val="0"/>
            </c:dLbl>
            <c:dLbl>
              <c:idx val="23"/>
              <c:tx>
                <c:rich>
                  <a:bodyPr/>
                  <a:lstStyle/>
                  <a:p>
                    <a:r>
                      <a:rPr sz="800"/>
                      <a:t>319%</a:t>
                    </a:r>
                  </a:p>
                </c:rich>
              </c:tx>
              <c:dLblPos val="ctr"/>
              <c:showLegendKey val="0"/>
              <c:showVal val="1"/>
              <c:showCatName val="0"/>
              <c:showSerName val="0"/>
              <c:showPercent val="0"/>
              <c:showBubbleSize val="0"/>
            </c:dLbl>
            <c:dLbl>
              <c:idx val="29"/>
              <c:tx>
                <c:rich>
                  <a:bodyPr/>
                  <a:lstStyle/>
                  <a:p>
                    <a:r>
                      <a:rPr sz="800"/>
                      <a:t>12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62</c:v>
                </c:pt>
                <c:pt idx="1">
                  <c:v>60</c:v>
                </c:pt>
                <c:pt idx="2">
                  <c:v>54</c:v>
                </c:pt>
                <c:pt idx="3">
                  <c:v>149</c:v>
                </c:pt>
                <c:pt idx="4">
                  <c:v>84</c:v>
                </c:pt>
                <c:pt idx="5">
                  <c:v>81</c:v>
                </c:pt>
                <c:pt idx="6">
                  <c:v>38</c:v>
                </c:pt>
                <c:pt idx="7">
                  <c:v>16</c:v>
                </c:pt>
                <c:pt idx="8">
                  <c:v>133</c:v>
                </c:pt>
                <c:pt idx="9">
                  <c:v>46</c:v>
                </c:pt>
                <c:pt idx="10">
                  <c:v>87</c:v>
                </c:pt>
                <c:pt idx="11">
                  <c:v>283</c:v>
                </c:pt>
                <c:pt idx="12">
                  <c:v>165</c:v>
                </c:pt>
                <c:pt idx="13">
                  <c:v>90</c:v>
                </c:pt>
                <c:pt idx="14">
                  <c:v>52</c:v>
                </c:pt>
                <c:pt idx="15">
                  <c:v>146</c:v>
                </c:pt>
                <c:pt idx="16">
                  <c:v>77</c:v>
                </c:pt>
                <c:pt idx="17">
                  <c:v>60</c:v>
                </c:pt>
                <c:pt idx="18">
                  <c:v>27</c:v>
                </c:pt>
                <c:pt idx="19">
                  <c:v>17</c:v>
                </c:pt>
                <c:pt idx="20">
                  <c:v>88</c:v>
                </c:pt>
                <c:pt idx="21">
                  <c:v>52</c:v>
                </c:pt>
                <c:pt idx="22">
                  <c:v>101</c:v>
                </c:pt>
                <c:pt idx="23">
                  <c:v>319</c:v>
                </c:pt>
                <c:pt idx="24">
                  <c:v>104</c:v>
                </c:pt>
                <c:pt idx="25">
                  <c:v>118</c:v>
                </c:pt>
                <c:pt idx="26">
                  <c:v>61</c:v>
                </c:pt>
                <c:pt idx="27">
                  <c:v>91</c:v>
                </c:pt>
                <c:pt idx="28">
                  <c:v>102</c:v>
                </c:pt>
                <c:pt idx="29">
                  <c:v>121</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3%</a:t>
                    </a:r>
                  </a:p>
                </c:rich>
              </c:tx>
              <c:dLblPos val="ctr"/>
              <c:showLegendKey val="0"/>
              <c:showVal val="1"/>
              <c:showCatName val="0"/>
              <c:showSerName val="0"/>
              <c:showPercent val="0"/>
              <c:showBubbleSize val="0"/>
            </c:dLbl>
            <c:dLbl>
              <c:idx val="23"/>
              <c:tx>
                <c:rich>
                  <a:bodyPr/>
                  <a:lstStyle/>
                  <a:p>
                    <a:r>
                      <a:rPr sz="800"/>
                      <a:t>169%</a:t>
                    </a:r>
                  </a:p>
                </c:rich>
              </c:tx>
              <c:dLblPos val="ctr"/>
              <c:showLegendKey val="0"/>
              <c:showVal val="1"/>
              <c:showCatName val="0"/>
              <c:showSerName val="0"/>
              <c:showPercent val="0"/>
              <c:showBubbleSize val="0"/>
            </c:dLbl>
            <c:dLbl>
              <c:idx val="24"/>
              <c:tx>
                <c:rich>
                  <a:bodyPr/>
                  <a:lstStyle/>
                  <a:p>
                    <a:r>
                      <a:rPr sz="800"/>
                      <a:t>14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7</c:v>
                </c:pt>
                <c:pt idx="1">
                  <c:v>76</c:v>
                </c:pt>
                <c:pt idx="2">
                  <c:v>104</c:v>
                </c:pt>
                <c:pt idx="3">
                  <c:v>104</c:v>
                </c:pt>
                <c:pt idx="4">
                  <c:v>100</c:v>
                </c:pt>
                <c:pt idx="5">
                  <c:v>129</c:v>
                </c:pt>
                <c:pt idx="6">
                  <c:v>87</c:v>
                </c:pt>
                <c:pt idx="7">
                  <c:v>57</c:v>
                </c:pt>
                <c:pt idx="8">
                  <c:v>35</c:v>
                </c:pt>
                <c:pt idx="9">
                  <c:v>75</c:v>
                </c:pt>
                <c:pt idx="10">
                  <c:v>86</c:v>
                </c:pt>
                <c:pt idx="11">
                  <c:v>213</c:v>
                </c:pt>
                <c:pt idx="12">
                  <c:v>167</c:v>
                </c:pt>
                <c:pt idx="13">
                  <c:v>91</c:v>
                </c:pt>
                <c:pt idx="14">
                  <c:v>106</c:v>
                </c:pt>
                <c:pt idx="15">
                  <c:v>77</c:v>
                </c:pt>
                <c:pt idx="16">
                  <c:v>70</c:v>
                </c:pt>
                <c:pt idx="17">
                  <c:v>117</c:v>
                </c:pt>
                <c:pt idx="18">
                  <c:v>104</c:v>
                </c:pt>
                <c:pt idx="19">
                  <c:v>71</c:v>
                </c:pt>
                <c:pt idx="20">
                  <c:v>50</c:v>
                </c:pt>
                <c:pt idx="21">
                  <c:v>91</c:v>
                </c:pt>
                <c:pt idx="22">
                  <c:v>81</c:v>
                </c:pt>
                <c:pt idx="23">
                  <c:v>169</c:v>
                </c:pt>
                <c:pt idx="24">
                  <c:v>144</c:v>
                </c:pt>
                <c:pt idx="25">
                  <c:v>58</c:v>
                </c:pt>
                <c:pt idx="26">
                  <c:v>74</c:v>
                </c:pt>
                <c:pt idx="27">
                  <c:v>91</c:v>
                </c:pt>
                <c:pt idx="28">
                  <c:v>107</c:v>
                </c:pt>
                <c:pt idx="29">
                  <c:v>123</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6.390885564531695</c:v>
                </c:pt>
                <c:pt idx="1">
                  <c:v>-12.900800492610834</c:v>
                </c:pt>
                <c:pt idx="2">
                  <c:v>2.33999333999334</c:v>
                </c:pt>
                <c:pt idx="3">
                  <c:v>0.010729730986063668</c:v>
                </c:pt>
                <c:pt idx="4">
                  <c:v>-0.750526049995791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31%</a:t>
                    </a:r>
                  </a:p>
                </c:rich>
              </c:tx>
              <c:dLblPos val="ctr"/>
              <c:showLegendKey val="0"/>
              <c:showVal val="1"/>
              <c:showCatName val="0"/>
              <c:showSerName val="0"/>
              <c:showPercent val="0"/>
              <c:showBubbleSize val="0"/>
            </c:dLbl>
            <c:dLbl>
              <c:idx val="23"/>
              <c:tx>
                <c:rich>
                  <a:bodyPr/>
                  <a:lstStyle/>
                  <a:p>
                    <a:r>
                      <a:rPr sz="800"/>
                      <a:t>303%</a:t>
                    </a:r>
                  </a:p>
                </c:rich>
              </c:tx>
              <c:dLblPos val="ctr"/>
              <c:showLegendKey val="0"/>
              <c:showVal val="1"/>
              <c:showCatName val="0"/>
              <c:showSerName val="0"/>
              <c:showPercent val="0"/>
              <c:showBubbleSize val="0"/>
            </c:dLbl>
            <c:dLbl>
              <c:idx val="29"/>
              <c:tx>
                <c:rich>
                  <a:bodyPr/>
                  <a:lstStyle/>
                  <a:p>
                    <a:r>
                      <a:rPr sz="800"/>
                      <a:t>11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4</c:v>
                </c:pt>
                <c:pt idx="1">
                  <c:v>72</c:v>
                </c:pt>
                <c:pt idx="2">
                  <c:v>74</c:v>
                </c:pt>
                <c:pt idx="3">
                  <c:v>74</c:v>
                </c:pt>
                <c:pt idx="4">
                  <c:v>80</c:v>
                </c:pt>
                <c:pt idx="5">
                  <c:v>88</c:v>
                </c:pt>
                <c:pt idx="6">
                  <c:v>73</c:v>
                </c:pt>
                <c:pt idx="7">
                  <c:v>45</c:v>
                </c:pt>
                <c:pt idx="8">
                  <c:v>76</c:v>
                </c:pt>
                <c:pt idx="9">
                  <c:v>82</c:v>
                </c:pt>
                <c:pt idx="10">
                  <c:v>105</c:v>
                </c:pt>
                <c:pt idx="11">
                  <c:v>331</c:v>
                </c:pt>
                <c:pt idx="12">
                  <c:v>138</c:v>
                </c:pt>
                <c:pt idx="13">
                  <c:v>64</c:v>
                </c:pt>
                <c:pt idx="14">
                  <c:v>77</c:v>
                </c:pt>
                <c:pt idx="15">
                  <c:v>59</c:v>
                </c:pt>
                <c:pt idx="16">
                  <c:v>84</c:v>
                </c:pt>
                <c:pt idx="17">
                  <c:v>84</c:v>
                </c:pt>
                <c:pt idx="18">
                  <c:v>73</c:v>
                </c:pt>
                <c:pt idx="19">
                  <c:v>47</c:v>
                </c:pt>
                <c:pt idx="20">
                  <c:v>73</c:v>
                </c:pt>
                <c:pt idx="21">
                  <c:v>89</c:v>
                </c:pt>
                <c:pt idx="22">
                  <c:v>103</c:v>
                </c:pt>
                <c:pt idx="23">
                  <c:v>303</c:v>
                </c:pt>
                <c:pt idx="24">
                  <c:v>99</c:v>
                </c:pt>
                <c:pt idx="25">
                  <c:v>80</c:v>
                </c:pt>
                <c:pt idx="26">
                  <c:v>98</c:v>
                </c:pt>
                <c:pt idx="27">
                  <c:v>95</c:v>
                </c:pt>
                <c:pt idx="28">
                  <c:v>111</c:v>
                </c:pt>
                <c:pt idx="29">
                  <c:v>114</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15%</a:t>
                    </a:r>
                  </a:p>
                </c:rich>
              </c:tx>
              <c:dLblPos val="ctr"/>
              <c:showLegendKey val="0"/>
              <c:showVal val="1"/>
              <c:showCatName val="0"/>
              <c:showSerName val="0"/>
              <c:showPercent val="0"/>
              <c:showBubbleSize val="0"/>
            </c:dLbl>
            <c:dLbl>
              <c:idx val="23"/>
              <c:tx>
                <c:rich>
                  <a:bodyPr/>
                  <a:lstStyle/>
                  <a:p>
                    <a:r>
                      <a:rPr sz="800"/>
                      <a:t>301%</a:t>
                    </a:r>
                  </a:p>
                </c:rich>
              </c:tx>
              <c:dLblPos val="ctr"/>
              <c:showLegendKey val="0"/>
              <c:showVal val="1"/>
              <c:showCatName val="0"/>
              <c:showSerName val="0"/>
              <c:showPercent val="0"/>
              <c:showBubbleSize val="0"/>
            </c:dLbl>
            <c:dLbl>
              <c:idx val="29"/>
              <c:tx>
                <c:rich>
                  <a:bodyPr/>
                  <a:lstStyle/>
                  <a:p>
                    <a:r>
                      <a:rPr sz="800"/>
                      <a:t>13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6</c:v>
                </c:pt>
                <c:pt idx="1">
                  <c:v>88</c:v>
                </c:pt>
                <c:pt idx="2">
                  <c:v>65</c:v>
                </c:pt>
                <c:pt idx="3">
                  <c:v>78</c:v>
                </c:pt>
                <c:pt idx="4">
                  <c:v>75</c:v>
                </c:pt>
                <c:pt idx="5">
                  <c:v>121</c:v>
                </c:pt>
                <c:pt idx="6">
                  <c:v>76</c:v>
                </c:pt>
                <c:pt idx="7">
                  <c:v>43</c:v>
                </c:pt>
                <c:pt idx="8">
                  <c:v>74</c:v>
                </c:pt>
                <c:pt idx="9">
                  <c:v>69</c:v>
                </c:pt>
                <c:pt idx="10">
                  <c:v>84</c:v>
                </c:pt>
                <c:pt idx="11">
                  <c:v>315</c:v>
                </c:pt>
                <c:pt idx="12">
                  <c:v>144</c:v>
                </c:pt>
                <c:pt idx="13">
                  <c:v>72</c:v>
                </c:pt>
                <c:pt idx="14">
                  <c:v>72</c:v>
                </c:pt>
                <c:pt idx="15">
                  <c:v>72</c:v>
                </c:pt>
                <c:pt idx="16">
                  <c:v>71</c:v>
                </c:pt>
                <c:pt idx="17">
                  <c:v>119</c:v>
                </c:pt>
                <c:pt idx="18">
                  <c:v>73</c:v>
                </c:pt>
                <c:pt idx="19">
                  <c:v>46</c:v>
                </c:pt>
                <c:pt idx="20">
                  <c:v>66</c:v>
                </c:pt>
                <c:pt idx="21">
                  <c:v>66</c:v>
                </c:pt>
                <c:pt idx="22">
                  <c:v>92</c:v>
                </c:pt>
                <c:pt idx="23">
                  <c:v>301</c:v>
                </c:pt>
                <c:pt idx="24">
                  <c:v>97</c:v>
                </c:pt>
                <c:pt idx="25">
                  <c:v>83</c:v>
                </c:pt>
                <c:pt idx="26">
                  <c:v>80</c:v>
                </c:pt>
                <c:pt idx="27">
                  <c:v>98</c:v>
                </c:pt>
                <c:pt idx="28">
                  <c:v>100</c:v>
                </c:pt>
                <c:pt idx="29">
                  <c:v>139</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56%</a:t>
                    </a:r>
                  </a:p>
                </c:rich>
              </c:tx>
              <c:dLblPos val="ctr"/>
              <c:showLegendKey val="0"/>
              <c:showVal val="1"/>
              <c:showCatName val="0"/>
              <c:showSerName val="0"/>
              <c:showPercent val="0"/>
              <c:showBubbleSize val="0"/>
            </c:dLbl>
            <c:dLbl>
              <c:idx val="23"/>
              <c:tx>
                <c:rich>
                  <a:bodyPr/>
                  <a:lstStyle/>
                  <a:p>
                    <a:r>
                      <a:rPr sz="800"/>
                      <a:t>339%</a:t>
                    </a:r>
                  </a:p>
                </c:rich>
              </c:tx>
              <c:dLblPos val="ctr"/>
              <c:showLegendKey val="0"/>
              <c:showVal val="1"/>
              <c:showCatName val="0"/>
              <c:showSerName val="0"/>
              <c:showPercent val="0"/>
              <c:showBubbleSize val="0"/>
            </c:dLbl>
            <c:dLbl>
              <c:idx val="29"/>
              <c:tx>
                <c:rich>
                  <a:bodyPr/>
                  <a:lstStyle/>
                  <a:p>
                    <a:r>
                      <a:rPr sz="800"/>
                      <a:t>13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9</c:v>
                </c:pt>
                <c:pt idx="1">
                  <c:v>60</c:v>
                </c:pt>
                <c:pt idx="2">
                  <c:v>65</c:v>
                </c:pt>
                <c:pt idx="3">
                  <c:v>63</c:v>
                </c:pt>
                <c:pt idx="4">
                  <c:v>69</c:v>
                </c:pt>
                <c:pt idx="5">
                  <c:v>89</c:v>
                </c:pt>
                <c:pt idx="6">
                  <c:v>85</c:v>
                </c:pt>
                <c:pt idx="7">
                  <c:v>41</c:v>
                </c:pt>
                <c:pt idx="8">
                  <c:v>88</c:v>
                </c:pt>
                <c:pt idx="9">
                  <c:v>60</c:v>
                </c:pt>
                <c:pt idx="10">
                  <c:v>109</c:v>
                </c:pt>
                <c:pt idx="11">
                  <c:v>356</c:v>
                </c:pt>
                <c:pt idx="12">
                  <c:v>172</c:v>
                </c:pt>
                <c:pt idx="13">
                  <c:v>49</c:v>
                </c:pt>
                <c:pt idx="14">
                  <c:v>64</c:v>
                </c:pt>
                <c:pt idx="15">
                  <c:v>75</c:v>
                </c:pt>
                <c:pt idx="16">
                  <c:v>59</c:v>
                </c:pt>
                <c:pt idx="17">
                  <c:v>94</c:v>
                </c:pt>
                <c:pt idx="18">
                  <c:v>62</c:v>
                </c:pt>
                <c:pt idx="19">
                  <c:v>40</c:v>
                </c:pt>
                <c:pt idx="20">
                  <c:v>64</c:v>
                </c:pt>
                <c:pt idx="21">
                  <c:v>72</c:v>
                </c:pt>
                <c:pt idx="22">
                  <c:v>103</c:v>
                </c:pt>
                <c:pt idx="23">
                  <c:v>339</c:v>
                </c:pt>
                <c:pt idx="24">
                  <c:v>109</c:v>
                </c:pt>
                <c:pt idx="25">
                  <c:v>54</c:v>
                </c:pt>
                <c:pt idx="26">
                  <c:v>83</c:v>
                </c:pt>
                <c:pt idx="27">
                  <c:v>107</c:v>
                </c:pt>
                <c:pt idx="28">
                  <c:v>110</c:v>
                </c:pt>
                <c:pt idx="29">
                  <c:v>134</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94%</a:t>
                    </a:r>
                  </a:p>
                </c:rich>
              </c:tx>
              <c:dLblPos val="ctr"/>
              <c:showLegendKey val="0"/>
              <c:showVal val="1"/>
              <c:showCatName val="0"/>
              <c:showSerName val="0"/>
              <c:showPercent val="0"/>
              <c:showBubbleSize val="0"/>
            </c:dLbl>
            <c:dLbl>
              <c:idx val="23"/>
              <c:tx>
                <c:rich>
                  <a:bodyPr/>
                  <a:lstStyle/>
                  <a:p>
                    <a:r>
                      <a:rPr sz="800"/>
                      <a:t>285%</a:t>
                    </a:r>
                  </a:p>
                </c:rich>
              </c:tx>
              <c:dLblPos val="ctr"/>
              <c:showLegendKey val="0"/>
              <c:showVal val="1"/>
              <c:showCatName val="0"/>
              <c:showSerName val="0"/>
              <c:showPercent val="0"/>
              <c:showBubbleSize val="0"/>
            </c:dLbl>
            <c:dLbl>
              <c:idx val="28"/>
              <c:tx>
                <c:rich>
                  <a:bodyPr/>
                  <a:lstStyle/>
                  <a:p>
                    <a:r>
                      <a:rPr sz="800"/>
                      <a:t>11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8</c:v>
                </c:pt>
                <c:pt idx="1">
                  <c:v>81</c:v>
                </c:pt>
                <c:pt idx="2">
                  <c:v>91</c:v>
                </c:pt>
                <c:pt idx="3">
                  <c:v>78</c:v>
                </c:pt>
                <c:pt idx="4">
                  <c:v>76</c:v>
                </c:pt>
                <c:pt idx="5">
                  <c:v>93</c:v>
                </c:pt>
                <c:pt idx="6">
                  <c:v>100</c:v>
                </c:pt>
                <c:pt idx="7">
                  <c:v>62</c:v>
                </c:pt>
                <c:pt idx="8">
                  <c:v>67</c:v>
                </c:pt>
                <c:pt idx="9">
                  <c:v>68</c:v>
                </c:pt>
                <c:pt idx="10">
                  <c:v>86</c:v>
                </c:pt>
                <c:pt idx="11">
                  <c:v>294</c:v>
                </c:pt>
                <c:pt idx="12">
                  <c:v>154</c:v>
                </c:pt>
                <c:pt idx="13">
                  <c:v>63</c:v>
                </c:pt>
                <c:pt idx="14">
                  <c:v>66</c:v>
                </c:pt>
                <c:pt idx="15">
                  <c:v>75</c:v>
                </c:pt>
                <c:pt idx="16">
                  <c:v>96</c:v>
                </c:pt>
                <c:pt idx="17">
                  <c:v>89</c:v>
                </c:pt>
                <c:pt idx="18">
                  <c:v>81</c:v>
                </c:pt>
                <c:pt idx="19">
                  <c:v>52</c:v>
                </c:pt>
                <c:pt idx="20">
                  <c:v>73</c:v>
                </c:pt>
                <c:pt idx="21">
                  <c:v>70</c:v>
                </c:pt>
                <c:pt idx="22">
                  <c:v>88</c:v>
                </c:pt>
                <c:pt idx="23">
                  <c:v>285</c:v>
                </c:pt>
                <c:pt idx="24">
                  <c:v>102</c:v>
                </c:pt>
                <c:pt idx="25">
                  <c:v>82</c:v>
                </c:pt>
                <c:pt idx="26">
                  <c:v>87</c:v>
                </c:pt>
                <c:pt idx="27">
                  <c:v>98</c:v>
                </c:pt>
                <c:pt idx="28">
                  <c:v>118</c:v>
                </c:pt>
                <c:pt idx="29">
                  <c:v>11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301%</a:t>
                    </a:r>
                  </a:p>
                </c:rich>
              </c:tx>
              <c:dLblPos val="ctr"/>
              <c:showLegendKey val="0"/>
              <c:showVal val="1"/>
              <c:showCatName val="0"/>
              <c:showSerName val="0"/>
              <c:showPercent val="0"/>
              <c:showBubbleSize val="0"/>
            </c:dLbl>
            <c:dLbl>
              <c:idx val="23"/>
              <c:tx>
                <c:rich>
                  <a:bodyPr/>
                  <a:lstStyle/>
                  <a:p>
                    <a:r>
                      <a:rPr sz="800"/>
                      <a:t>300%</a:t>
                    </a:r>
                  </a:p>
                </c:rich>
              </c:tx>
              <c:dLblPos val="ctr"/>
              <c:showLegendKey val="0"/>
              <c:showVal val="1"/>
              <c:showCatName val="0"/>
              <c:showSerName val="0"/>
              <c:showPercent val="0"/>
              <c:showBubbleSize val="0"/>
            </c:dLbl>
            <c:dLbl>
              <c:idx val="29"/>
              <c:tx>
                <c:rich>
                  <a:bodyPr/>
                  <a:lstStyle/>
                  <a:p>
                    <a:r>
                      <a:rPr sz="800"/>
                      <a:t>12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55</c:v>
                </c:pt>
                <c:pt idx="1">
                  <c:v>52</c:v>
                </c:pt>
                <c:pt idx="2">
                  <c:v>54</c:v>
                </c:pt>
                <c:pt idx="3">
                  <c:v>145</c:v>
                </c:pt>
                <c:pt idx="4">
                  <c:v>85</c:v>
                </c:pt>
                <c:pt idx="5">
                  <c:v>75</c:v>
                </c:pt>
                <c:pt idx="6">
                  <c:v>34</c:v>
                </c:pt>
                <c:pt idx="7">
                  <c:v>21</c:v>
                </c:pt>
                <c:pt idx="8">
                  <c:v>130</c:v>
                </c:pt>
                <c:pt idx="9">
                  <c:v>53</c:v>
                </c:pt>
                <c:pt idx="10">
                  <c:v>91</c:v>
                </c:pt>
                <c:pt idx="11">
                  <c:v>301</c:v>
                </c:pt>
                <c:pt idx="12">
                  <c:v>158</c:v>
                </c:pt>
                <c:pt idx="13">
                  <c:v>88</c:v>
                </c:pt>
                <c:pt idx="14">
                  <c:v>59</c:v>
                </c:pt>
                <c:pt idx="15">
                  <c:v>147</c:v>
                </c:pt>
                <c:pt idx="16">
                  <c:v>83</c:v>
                </c:pt>
                <c:pt idx="17">
                  <c:v>60</c:v>
                </c:pt>
                <c:pt idx="18">
                  <c:v>38</c:v>
                </c:pt>
                <c:pt idx="19">
                  <c:v>23</c:v>
                </c:pt>
                <c:pt idx="20">
                  <c:v>73</c:v>
                </c:pt>
                <c:pt idx="21">
                  <c:v>50</c:v>
                </c:pt>
                <c:pt idx="22">
                  <c:v>115</c:v>
                </c:pt>
                <c:pt idx="23">
                  <c:v>300</c:v>
                </c:pt>
                <c:pt idx="24">
                  <c:v>116</c:v>
                </c:pt>
                <c:pt idx="25">
                  <c:v>108</c:v>
                </c:pt>
                <c:pt idx="26">
                  <c:v>63</c:v>
                </c:pt>
                <c:pt idx="27">
                  <c:v>88</c:v>
                </c:pt>
                <c:pt idx="28">
                  <c:v>101</c:v>
                </c:pt>
                <c:pt idx="29">
                  <c:v>120</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53%</a:t>
                    </a:r>
                  </a:p>
                </c:rich>
              </c:tx>
              <c:dLblPos val="ctr"/>
              <c:showLegendKey val="0"/>
              <c:showVal val="1"/>
              <c:showCatName val="0"/>
              <c:showSerName val="0"/>
              <c:showPercent val="0"/>
              <c:showBubbleSize val="0"/>
            </c:dLbl>
            <c:dLbl>
              <c:idx val="23"/>
              <c:tx>
                <c:rich>
                  <a:bodyPr/>
                  <a:lstStyle/>
                  <a:p>
                    <a:r>
                      <a:rPr sz="800"/>
                      <a:t>191%</a:t>
                    </a:r>
                  </a:p>
                </c:rich>
              </c:tx>
              <c:dLblPos val="ctr"/>
              <c:showLegendKey val="0"/>
              <c:showVal val="1"/>
              <c:showCatName val="0"/>
              <c:showSerName val="0"/>
              <c:showPercent val="0"/>
              <c:showBubbleSize val="0"/>
            </c:dLbl>
            <c:dLbl>
              <c:idx val="24"/>
              <c:tx>
                <c:rich>
                  <a:bodyPr/>
                  <a:lstStyle/>
                  <a:p>
                    <a:r>
                      <a:rPr sz="800"/>
                      <a:t>13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9</c:v>
                </c:pt>
                <c:pt idx="1">
                  <c:v>71</c:v>
                </c:pt>
                <c:pt idx="2">
                  <c:v>112</c:v>
                </c:pt>
                <c:pt idx="3">
                  <c:v>83</c:v>
                </c:pt>
                <c:pt idx="4">
                  <c:v>96</c:v>
                </c:pt>
                <c:pt idx="5">
                  <c:v>125</c:v>
                </c:pt>
                <c:pt idx="6">
                  <c:v>77</c:v>
                </c:pt>
                <c:pt idx="7">
                  <c:v>49</c:v>
                </c:pt>
                <c:pt idx="8">
                  <c:v>45</c:v>
                </c:pt>
                <c:pt idx="9">
                  <c:v>71</c:v>
                </c:pt>
                <c:pt idx="10">
                  <c:v>83</c:v>
                </c:pt>
                <c:pt idx="11">
                  <c:v>253</c:v>
                </c:pt>
                <c:pt idx="12">
                  <c:v>171</c:v>
                </c:pt>
                <c:pt idx="13">
                  <c:v>85</c:v>
                </c:pt>
                <c:pt idx="14">
                  <c:v>101</c:v>
                </c:pt>
                <c:pt idx="15">
                  <c:v>81</c:v>
                </c:pt>
                <c:pt idx="16">
                  <c:v>76</c:v>
                </c:pt>
                <c:pt idx="17">
                  <c:v>113</c:v>
                </c:pt>
                <c:pt idx="18">
                  <c:v>89</c:v>
                </c:pt>
                <c:pt idx="19">
                  <c:v>62</c:v>
                </c:pt>
                <c:pt idx="20">
                  <c:v>47</c:v>
                </c:pt>
                <c:pt idx="21">
                  <c:v>91</c:v>
                </c:pt>
                <c:pt idx="22">
                  <c:v>87</c:v>
                </c:pt>
                <c:pt idx="23">
                  <c:v>191</c:v>
                </c:pt>
                <c:pt idx="24">
                  <c:v>136</c:v>
                </c:pt>
                <c:pt idx="25">
                  <c:v>57</c:v>
                </c:pt>
                <c:pt idx="26">
                  <c:v>70</c:v>
                </c:pt>
                <c:pt idx="27">
                  <c:v>97</c:v>
                </c:pt>
                <c:pt idx="28">
                  <c:v>104</c:v>
                </c:pt>
                <c:pt idx="29">
                  <c:v>13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6%</a:t>
                    </a:r>
                  </a:p>
                </c:rich>
              </c:tx>
              <c:dLblPos val="ctr"/>
              <c:showLegendKey val="0"/>
              <c:showVal val="1"/>
              <c:showCatName val="0"/>
              <c:showSerName val="0"/>
              <c:showPercent val="0"/>
              <c:showBubbleSize val="0"/>
            </c:dLbl>
            <c:dLbl>
              <c:idx val="23"/>
              <c:tx>
                <c:rich>
                  <a:bodyPr/>
                  <a:lstStyle/>
                  <a:p>
                    <a:r>
                      <a:rPr sz="800"/>
                      <a:t>164%</a:t>
                    </a:r>
                  </a:p>
                </c:rich>
              </c:tx>
              <c:dLblPos val="ctr"/>
              <c:showLegendKey val="0"/>
              <c:showVal val="1"/>
              <c:showCatName val="0"/>
              <c:showSerName val="0"/>
              <c:showPercent val="0"/>
              <c:showBubbleSize val="0"/>
            </c:dLbl>
            <c:dLbl>
              <c:idx val="24"/>
              <c:tx>
                <c:rich>
                  <a:bodyPr/>
                  <a:lstStyle/>
                  <a:p>
                    <a:r>
                      <a:rPr sz="800"/>
                      <a:t>10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3</c:v>
                </c:pt>
                <c:pt idx="1">
                  <c:v>80</c:v>
                </c:pt>
                <c:pt idx="2">
                  <c:v>92</c:v>
                </c:pt>
                <c:pt idx="3">
                  <c:v>102</c:v>
                </c:pt>
                <c:pt idx="4">
                  <c:v>112</c:v>
                </c:pt>
                <c:pt idx="5">
                  <c:v>90</c:v>
                </c:pt>
                <c:pt idx="6">
                  <c:v>65</c:v>
                </c:pt>
                <c:pt idx="7">
                  <c:v>48</c:v>
                </c:pt>
                <c:pt idx="8">
                  <c:v>90</c:v>
                </c:pt>
                <c:pt idx="9">
                  <c:v>98</c:v>
                </c:pt>
                <c:pt idx="10">
                  <c:v>99</c:v>
                </c:pt>
                <c:pt idx="11">
                  <c:v>216</c:v>
                </c:pt>
                <c:pt idx="12">
                  <c:v>123</c:v>
                </c:pt>
                <c:pt idx="13">
                  <c:v>77</c:v>
                </c:pt>
                <c:pt idx="14">
                  <c:v>101</c:v>
                </c:pt>
                <c:pt idx="15">
                  <c:v>82</c:v>
                </c:pt>
                <c:pt idx="16">
                  <c:v>88</c:v>
                </c:pt>
                <c:pt idx="17">
                  <c:v>108</c:v>
                </c:pt>
                <c:pt idx="18">
                  <c:v>74</c:v>
                </c:pt>
                <c:pt idx="19">
                  <c:v>44</c:v>
                </c:pt>
                <c:pt idx="20">
                  <c:v>99</c:v>
                </c:pt>
                <c:pt idx="21">
                  <c:v>108</c:v>
                </c:pt>
                <c:pt idx="22">
                  <c:v>123</c:v>
                </c:pt>
                <c:pt idx="23">
                  <c:v>164</c:v>
                </c:pt>
                <c:pt idx="24">
                  <c:v>106</c:v>
                </c:pt>
                <c:pt idx="25">
                  <c:v>93</c:v>
                </c:pt>
                <c:pt idx="26">
                  <c:v>106</c:v>
                </c:pt>
                <c:pt idx="27">
                  <c:v>85</c:v>
                </c:pt>
                <c:pt idx="28">
                  <c:v>102</c:v>
                </c:pt>
                <c:pt idx="29">
                  <c:v>104</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6%</a:t>
                    </a:r>
                  </a:p>
                </c:rich>
              </c:tx>
              <c:dLblPos val="ctr"/>
              <c:showLegendKey val="0"/>
              <c:showVal val="1"/>
              <c:showCatName val="0"/>
              <c:showSerName val="0"/>
              <c:showPercent val="0"/>
              <c:showBubbleSize val="0"/>
            </c:dLbl>
            <c:dLbl>
              <c:idx val="12"/>
              <c:tx>
                <c:rich>
                  <a:bodyPr/>
                  <a:lstStyle/>
                  <a:p>
                    <a:r>
                      <a:rPr sz="800"/>
                      <a:t>199%</a:t>
                    </a:r>
                  </a:p>
                </c:rich>
              </c:tx>
              <c:dLblPos val="ctr"/>
              <c:showLegendKey val="0"/>
              <c:showVal val="1"/>
              <c:showCatName val="0"/>
              <c:showSerName val="0"/>
              <c:showPercent val="0"/>
              <c:showBubbleSize val="0"/>
            </c:dLbl>
            <c:dLbl>
              <c:idx val="27"/>
              <c:tx>
                <c:rich>
                  <a:bodyPr/>
                  <a:lstStyle/>
                  <a:p>
                    <a:r>
                      <a:rPr sz="800"/>
                      <a:t>14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7</c:v>
                </c:pt>
                <c:pt idx="1">
                  <c:v>115</c:v>
                </c:pt>
                <c:pt idx="2">
                  <c:v>89</c:v>
                </c:pt>
                <c:pt idx="3">
                  <c:v>76</c:v>
                </c:pt>
                <c:pt idx="4">
                  <c:v>66</c:v>
                </c:pt>
                <c:pt idx="5">
                  <c:v>162</c:v>
                </c:pt>
                <c:pt idx="6">
                  <c:v>83</c:v>
                </c:pt>
                <c:pt idx="7">
                  <c:v>49</c:v>
                </c:pt>
                <c:pt idx="8">
                  <c:v>66</c:v>
                </c:pt>
                <c:pt idx="9">
                  <c:v>85</c:v>
                </c:pt>
                <c:pt idx="10">
                  <c:v>141</c:v>
                </c:pt>
                <c:pt idx="11">
                  <c:v>166</c:v>
                </c:pt>
                <c:pt idx="12">
                  <c:v>199</c:v>
                </c:pt>
                <c:pt idx="13">
                  <c:v>111</c:v>
                </c:pt>
                <c:pt idx="14">
                  <c:v>86</c:v>
                </c:pt>
                <c:pt idx="15">
                  <c:v>61</c:v>
                </c:pt>
                <c:pt idx="16">
                  <c:v>114</c:v>
                </c:pt>
                <c:pt idx="17">
                  <c:v>91</c:v>
                </c:pt>
                <c:pt idx="18">
                  <c:v>58</c:v>
                </c:pt>
                <c:pt idx="19">
                  <c:v>37</c:v>
                </c:pt>
                <c:pt idx="20">
                  <c:v>100</c:v>
                </c:pt>
                <c:pt idx="21">
                  <c:v>73</c:v>
                </c:pt>
                <c:pt idx="22">
                  <c:v>93</c:v>
                </c:pt>
                <c:pt idx="23">
                  <c:v>172</c:v>
                </c:pt>
                <c:pt idx="24">
                  <c:v>111</c:v>
                </c:pt>
                <c:pt idx="25">
                  <c:v>72</c:v>
                </c:pt>
                <c:pt idx="26">
                  <c:v>94</c:v>
                </c:pt>
                <c:pt idx="27">
                  <c:v>145</c:v>
                </c:pt>
                <c:pt idx="28">
                  <c:v>93</c:v>
                </c:pt>
                <c:pt idx="29">
                  <c:v>82</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41%</a:t>
                    </a:r>
                  </a:p>
                </c:rich>
              </c:tx>
              <c:dLblPos val="ctr"/>
              <c:showLegendKey val="0"/>
              <c:showVal val="1"/>
              <c:showCatName val="0"/>
              <c:showSerName val="0"/>
              <c:showPercent val="0"/>
              <c:showBubbleSize val="0"/>
            </c:dLbl>
            <c:dLbl>
              <c:idx val="17"/>
              <c:tx>
                <c:rich>
                  <a:bodyPr/>
                  <a:lstStyle/>
                  <a:p>
                    <a:r>
                      <a:rPr sz="800"/>
                      <a:t>128%</a:t>
                    </a:r>
                  </a:p>
                </c:rich>
              </c:tx>
              <c:dLblPos val="ctr"/>
              <c:showLegendKey val="0"/>
              <c:showVal val="1"/>
              <c:showCatName val="0"/>
              <c:showSerName val="0"/>
              <c:showPercent val="0"/>
              <c:showBubbleSize val="0"/>
            </c:dLbl>
            <c:dLbl>
              <c:idx val="29"/>
              <c:tx>
                <c:rich>
                  <a:bodyPr/>
                  <a:lstStyle/>
                  <a:p>
                    <a:r>
                      <a:rPr sz="800"/>
                      <a:t>12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1</c:v>
                </c:pt>
                <c:pt idx="1">
                  <c:v>75</c:v>
                </c:pt>
                <c:pt idx="2">
                  <c:v>87</c:v>
                </c:pt>
                <c:pt idx="3">
                  <c:v>93</c:v>
                </c:pt>
                <c:pt idx="4">
                  <c:v>109</c:v>
                </c:pt>
                <c:pt idx="5">
                  <c:v>139</c:v>
                </c:pt>
                <c:pt idx="6">
                  <c:v>107</c:v>
                </c:pt>
                <c:pt idx="7">
                  <c:v>70</c:v>
                </c:pt>
                <c:pt idx="8">
                  <c:v>107</c:v>
                </c:pt>
                <c:pt idx="9">
                  <c:v>94</c:v>
                </c:pt>
                <c:pt idx="10">
                  <c:v>90</c:v>
                </c:pt>
                <c:pt idx="11">
                  <c:v>141</c:v>
                </c:pt>
                <c:pt idx="12">
                  <c:v>107</c:v>
                </c:pt>
                <c:pt idx="13">
                  <c:v>81</c:v>
                </c:pt>
                <c:pt idx="14">
                  <c:v>101</c:v>
                </c:pt>
                <c:pt idx="15">
                  <c:v>93</c:v>
                </c:pt>
                <c:pt idx="16">
                  <c:v>107</c:v>
                </c:pt>
                <c:pt idx="17">
                  <c:v>128</c:v>
                </c:pt>
                <c:pt idx="18">
                  <c:v>106</c:v>
                </c:pt>
                <c:pt idx="19">
                  <c:v>65</c:v>
                </c:pt>
                <c:pt idx="20">
                  <c:v>94</c:v>
                </c:pt>
                <c:pt idx="21">
                  <c:v>101</c:v>
                </c:pt>
                <c:pt idx="22">
                  <c:v>95</c:v>
                </c:pt>
                <c:pt idx="23">
                  <c:v>117</c:v>
                </c:pt>
                <c:pt idx="24">
                  <c:v>88</c:v>
                </c:pt>
                <c:pt idx="25">
                  <c:v>76</c:v>
                </c:pt>
                <c:pt idx="26">
                  <c:v>93</c:v>
                </c:pt>
                <c:pt idx="27">
                  <c:v>99</c:v>
                </c:pt>
                <c:pt idx="28">
                  <c:v>115</c:v>
                </c:pt>
                <c:pt idx="29">
                  <c:v>125</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25%</a:t>
                    </a:r>
                  </a:p>
                </c:rich>
              </c:tx>
              <c:dLblPos val="ctr"/>
              <c:showLegendKey val="0"/>
              <c:showVal val="1"/>
              <c:showCatName val="0"/>
              <c:showSerName val="0"/>
              <c:showPercent val="0"/>
              <c:showBubbleSize val="0"/>
            </c:dLbl>
            <c:dLbl>
              <c:idx val="23"/>
              <c:tx>
                <c:rich>
                  <a:bodyPr/>
                  <a:lstStyle/>
                  <a:p>
                    <a:r>
                      <a:rPr sz="800"/>
                      <a:t>176%</a:t>
                    </a:r>
                  </a:p>
                </c:rich>
              </c:tx>
              <c:dLblPos val="ctr"/>
              <c:showLegendKey val="0"/>
              <c:showVal val="1"/>
              <c:showCatName val="0"/>
              <c:showSerName val="0"/>
              <c:showPercent val="0"/>
              <c:showBubbleSize val="0"/>
            </c:dLbl>
            <c:dLbl>
              <c:idx val="26"/>
              <c:tx>
                <c:rich>
                  <a:bodyPr/>
                  <a:lstStyle/>
                  <a:p>
                    <a:r>
                      <a:rPr sz="800"/>
                      <a:t>11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15</c:v>
                </c:pt>
                <c:pt idx="1">
                  <c:v>88</c:v>
                </c:pt>
                <c:pt idx="2">
                  <c:v>103</c:v>
                </c:pt>
                <c:pt idx="3">
                  <c:v>94</c:v>
                </c:pt>
                <c:pt idx="4">
                  <c:v>108</c:v>
                </c:pt>
                <c:pt idx="5">
                  <c:v>94</c:v>
                </c:pt>
                <c:pt idx="6">
                  <c:v>59</c:v>
                </c:pt>
                <c:pt idx="7">
                  <c:v>51</c:v>
                </c:pt>
                <c:pt idx="8">
                  <c:v>76</c:v>
                </c:pt>
                <c:pt idx="9">
                  <c:v>92</c:v>
                </c:pt>
                <c:pt idx="10">
                  <c:v>88</c:v>
                </c:pt>
                <c:pt idx="11">
                  <c:v>225</c:v>
                </c:pt>
                <c:pt idx="12">
                  <c:v>143</c:v>
                </c:pt>
                <c:pt idx="13">
                  <c:v>85</c:v>
                </c:pt>
                <c:pt idx="14">
                  <c:v>107</c:v>
                </c:pt>
                <c:pt idx="15">
                  <c:v>82</c:v>
                </c:pt>
                <c:pt idx="16">
                  <c:v>88</c:v>
                </c:pt>
                <c:pt idx="17">
                  <c:v>100</c:v>
                </c:pt>
                <c:pt idx="18">
                  <c:v>65</c:v>
                </c:pt>
                <c:pt idx="19">
                  <c:v>47</c:v>
                </c:pt>
                <c:pt idx="20">
                  <c:v>72</c:v>
                </c:pt>
                <c:pt idx="21">
                  <c:v>119</c:v>
                </c:pt>
                <c:pt idx="22">
                  <c:v>110</c:v>
                </c:pt>
                <c:pt idx="23">
                  <c:v>176</c:v>
                </c:pt>
                <c:pt idx="24">
                  <c:v>107</c:v>
                </c:pt>
                <c:pt idx="25">
                  <c:v>93</c:v>
                </c:pt>
                <c:pt idx="26">
                  <c:v>113</c:v>
                </c:pt>
                <c:pt idx="27">
                  <c:v>92</c:v>
                </c:pt>
                <c:pt idx="28">
                  <c:v>95</c:v>
                </c:pt>
                <c:pt idx="29">
                  <c:v>97</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0"/>
              <c:tx>
                <c:rich>
                  <a:bodyPr/>
                  <a:lstStyle/>
                  <a:p>
                    <a:r>
                      <a:rPr sz="800"/>
                      <a:t>167%</a:t>
                    </a:r>
                  </a:p>
                </c:rich>
              </c:tx>
              <c:dLblPos val="ctr"/>
              <c:showLegendKey val="0"/>
              <c:showVal val="1"/>
              <c:showCatName val="0"/>
              <c:showSerName val="0"/>
              <c:showPercent val="0"/>
              <c:showBubbleSize val="0"/>
            </c:dLbl>
            <c:dLbl>
              <c:idx val="14"/>
              <c:tx>
                <c:rich>
                  <a:bodyPr/>
                  <a:lstStyle/>
                  <a:p>
                    <a:r>
                      <a:rPr sz="800"/>
                      <a:t>236%</a:t>
                    </a:r>
                  </a:p>
                </c:rich>
              </c:tx>
              <c:dLblPos val="ctr"/>
              <c:showLegendKey val="0"/>
              <c:showVal val="1"/>
              <c:showCatName val="0"/>
              <c:showSerName val="0"/>
              <c:showPercent val="0"/>
              <c:showBubbleSize val="0"/>
            </c:dLbl>
            <c:dLbl>
              <c:idx val="29"/>
              <c:tx>
                <c:rich>
                  <a:bodyPr/>
                  <a:lstStyle/>
                  <a:p>
                    <a:r>
                      <a:rPr sz="800"/>
                      <a:t>20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67</c:v>
                </c:pt>
                <c:pt idx="1">
                  <c:v>85</c:v>
                </c:pt>
                <c:pt idx="2">
                  <c:v>98</c:v>
                </c:pt>
                <c:pt idx="3">
                  <c:v>88</c:v>
                </c:pt>
                <c:pt idx="4">
                  <c:v>79</c:v>
                </c:pt>
                <c:pt idx="5">
                  <c:v>124</c:v>
                </c:pt>
                <c:pt idx="6">
                  <c:v>79</c:v>
                </c:pt>
                <c:pt idx="7">
                  <c:v>55</c:v>
                </c:pt>
                <c:pt idx="8">
                  <c:v>132</c:v>
                </c:pt>
                <c:pt idx="9">
                  <c:v>106</c:v>
                </c:pt>
                <c:pt idx="10">
                  <c:v>78</c:v>
                </c:pt>
                <c:pt idx="11">
                  <c:v>104</c:v>
                </c:pt>
                <c:pt idx="12">
                  <c:v>85</c:v>
                </c:pt>
                <c:pt idx="13">
                  <c:v>76</c:v>
                </c:pt>
                <c:pt idx="14">
                  <c:v>236</c:v>
                </c:pt>
                <c:pt idx="15">
                  <c:v>202</c:v>
                </c:pt>
                <c:pt idx="16">
                  <c:v>96</c:v>
                </c:pt>
                <c:pt idx="17">
                  <c:v>117</c:v>
                </c:pt>
                <c:pt idx="18">
                  <c:v>90</c:v>
                </c:pt>
                <c:pt idx="19">
                  <c:v>41</c:v>
                </c:pt>
                <c:pt idx="20">
                  <c:v>52</c:v>
                </c:pt>
                <c:pt idx="21">
                  <c:v>77</c:v>
                </c:pt>
                <c:pt idx="22">
                  <c:v>59</c:v>
                </c:pt>
                <c:pt idx="23">
                  <c:v>64</c:v>
                </c:pt>
                <c:pt idx="24">
                  <c:v>115</c:v>
                </c:pt>
                <c:pt idx="25">
                  <c:v>60</c:v>
                </c:pt>
                <c:pt idx="26">
                  <c:v>65</c:v>
                </c:pt>
                <c:pt idx="27">
                  <c:v>53</c:v>
                </c:pt>
                <c:pt idx="28">
                  <c:v>95</c:v>
                </c:pt>
                <c:pt idx="29">
                  <c:v>2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63%</a:t>
                    </a:r>
                  </a:p>
                </c:rich>
              </c:tx>
              <c:dLblPos val="ctr"/>
              <c:showLegendKey val="0"/>
              <c:showVal val="1"/>
              <c:showCatName val="0"/>
              <c:showSerName val="0"/>
              <c:showPercent val="0"/>
              <c:showBubbleSize val="0"/>
            </c:dLbl>
            <c:dLbl>
              <c:idx val="23"/>
              <c:tx>
                <c:rich>
                  <a:bodyPr/>
                  <a:lstStyle/>
                  <a:p>
                    <a:r>
                      <a:rPr sz="800"/>
                      <a:t>196%</a:t>
                    </a:r>
                  </a:p>
                </c:rich>
              </c:tx>
              <c:dLblPos val="ctr"/>
              <c:showLegendKey val="0"/>
              <c:showVal val="1"/>
              <c:showCatName val="0"/>
              <c:showSerName val="0"/>
              <c:showPercent val="0"/>
              <c:showBubbleSize val="0"/>
            </c:dLbl>
            <c:dLbl>
              <c:idx val="25"/>
              <c:tx>
                <c:rich>
                  <a:bodyPr/>
                  <a:lstStyle/>
                  <a:p>
                    <a:r>
                      <a:rPr sz="800"/>
                      <a:t>12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9</c:v>
                </c:pt>
                <c:pt idx="1">
                  <c:v>83</c:v>
                </c:pt>
                <c:pt idx="2">
                  <c:v>80</c:v>
                </c:pt>
                <c:pt idx="3">
                  <c:v>92</c:v>
                </c:pt>
                <c:pt idx="4">
                  <c:v>110</c:v>
                </c:pt>
                <c:pt idx="5">
                  <c:v>74</c:v>
                </c:pt>
                <c:pt idx="6">
                  <c:v>62</c:v>
                </c:pt>
                <c:pt idx="7">
                  <c:v>62</c:v>
                </c:pt>
                <c:pt idx="8">
                  <c:v>85</c:v>
                </c:pt>
                <c:pt idx="9">
                  <c:v>70</c:v>
                </c:pt>
                <c:pt idx="10">
                  <c:v>113</c:v>
                </c:pt>
                <c:pt idx="11">
                  <c:v>263</c:v>
                </c:pt>
                <c:pt idx="12">
                  <c:v>124</c:v>
                </c:pt>
                <c:pt idx="13">
                  <c:v>57</c:v>
                </c:pt>
                <c:pt idx="14">
                  <c:v>82</c:v>
                </c:pt>
                <c:pt idx="15">
                  <c:v>83</c:v>
                </c:pt>
                <c:pt idx="16">
                  <c:v>85</c:v>
                </c:pt>
                <c:pt idx="17">
                  <c:v>66</c:v>
                </c:pt>
                <c:pt idx="18">
                  <c:v>91</c:v>
                </c:pt>
                <c:pt idx="19">
                  <c:v>51</c:v>
                </c:pt>
                <c:pt idx="20">
                  <c:v>106</c:v>
                </c:pt>
                <c:pt idx="21">
                  <c:v>109</c:v>
                </c:pt>
                <c:pt idx="22">
                  <c:v>145</c:v>
                </c:pt>
                <c:pt idx="23">
                  <c:v>196</c:v>
                </c:pt>
                <c:pt idx="24">
                  <c:v>109</c:v>
                </c:pt>
                <c:pt idx="25">
                  <c:v>120</c:v>
                </c:pt>
                <c:pt idx="26">
                  <c:v>103</c:v>
                </c:pt>
                <c:pt idx="27">
                  <c:v>75</c:v>
                </c:pt>
                <c:pt idx="28">
                  <c:v>90</c:v>
                </c:pt>
                <c:pt idx="29">
                  <c:v>101</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9%</a:t>
                    </a:r>
                  </a:p>
                </c:rich>
              </c:tx>
              <c:dLblPos val="ctr"/>
              <c:showLegendKey val="0"/>
              <c:showVal val="1"/>
              <c:showCatName val="0"/>
              <c:showSerName val="0"/>
              <c:showPercent val="0"/>
              <c:showBubbleSize val="0"/>
            </c:dLbl>
            <c:dLbl>
              <c:idx val="23"/>
              <c:tx>
                <c:rich>
                  <a:bodyPr/>
                  <a:lstStyle/>
                  <a:p>
                    <a:r>
                      <a:rPr sz="800"/>
                      <a:t>231%</a:t>
                    </a:r>
                  </a:p>
                </c:rich>
              </c:tx>
              <c:dLblPos val="ctr"/>
              <c:showLegendKey val="0"/>
              <c:showVal val="1"/>
              <c:showCatName val="0"/>
              <c:showSerName val="0"/>
              <c:showPercent val="0"/>
              <c:showBubbleSize val="0"/>
            </c:dLbl>
            <c:dLbl>
              <c:idx val="24"/>
              <c:tx>
                <c:rich>
                  <a:bodyPr/>
                  <a:lstStyle/>
                  <a:p>
                    <a:r>
                      <a:rPr sz="800"/>
                      <a:t>13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1</c:v>
                </c:pt>
                <c:pt idx="1">
                  <c:v>104</c:v>
                </c:pt>
                <c:pt idx="2">
                  <c:v>79</c:v>
                </c:pt>
                <c:pt idx="3">
                  <c:v>77</c:v>
                </c:pt>
                <c:pt idx="4">
                  <c:v>74</c:v>
                </c:pt>
                <c:pt idx="5">
                  <c:v>112</c:v>
                </c:pt>
                <c:pt idx="6">
                  <c:v>65</c:v>
                </c:pt>
                <c:pt idx="7">
                  <c:v>63</c:v>
                </c:pt>
                <c:pt idx="8">
                  <c:v>50</c:v>
                </c:pt>
                <c:pt idx="9">
                  <c:v>93</c:v>
                </c:pt>
                <c:pt idx="10">
                  <c:v>156</c:v>
                </c:pt>
                <c:pt idx="11">
                  <c:v>219</c:v>
                </c:pt>
                <c:pt idx="12">
                  <c:v>182</c:v>
                </c:pt>
                <c:pt idx="13">
                  <c:v>102</c:v>
                </c:pt>
                <c:pt idx="14">
                  <c:v>72</c:v>
                </c:pt>
                <c:pt idx="15">
                  <c:v>61</c:v>
                </c:pt>
                <c:pt idx="16">
                  <c:v>96</c:v>
                </c:pt>
                <c:pt idx="17">
                  <c:v>81</c:v>
                </c:pt>
                <c:pt idx="18">
                  <c:v>56</c:v>
                </c:pt>
                <c:pt idx="19">
                  <c:v>43</c:v>
                </c:pt>
                <c:pt idx="20">
                  <c:v>98</c:v>
                </c:pt>
                <c:pt idx="21">
                  <c:v>74</c:v>
                </c:pt>
                <c:pt idx="22">
                  <c:v>97</c:v>
                </c:pt>
                <c:pt idx="23">
                  <c:v>231</c:v>
                </c:pt>
                <c:pt idx="24">
                  <c:v>136</c:v>
                </c:pt>
                <c:pt idx="25">
                  <c:v>85</c:v>
                </c:pt>
                <c:pt idx="26">
                  <c:v>111</c:v>
                </c:pt>
                <c:pt idx="27">
                  <c:v>118</c:v>
                </c:pt>
                <c:pt idx="28">
                  <c:v>65</c:v>
                </c:pt>
                <c:pt idx="29">
                  <c:v>81</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75%</a:t>
                    </a:r>
                  </a:p>
                </c:rich>
              </c:tx>
              <c:dLblPos val="ctr"/>
              <c:showLegendKey val="0"/>
              <c:showVal val="1"/>
              <c:showCatName val="0"/>
              <c:showSerName val="0"/>
              <c:showPercent val="0"/>
              <c:showBubbleSize val="0"/>
            </c:dLbl>
            <c:dLbl>
              <c:idx val="23"/>
              <c:tx>
                <c:rich>
                  <a:bodyPr/>
                  <a:lstStyle/>
                  <a:p>
                    <a:r>
                      <a:rPr sz="800"/>
                      <a:t>143%</a:t>
                    </a:r>
                  </a:p>
                </c:rich>
              </c:tx>
              <c:dLblPos val="ctr"/>
              <c:showLegendKey val="0"/>
              <c:showVal val="1"/>
              <c:showCatName val="0"/>
              <c:showSerName val="0"/>
              <c:showPercent val="0"/>
              <c:showBubbleSize val="0"/>
            </c:dLbl>
            <c:dLbl>
              <c:idx val="28"/>
              <c:tx>
                <c:rich>
                  <a:bodyPr/>
                  <a:lstStyle/>
                  <a:p>
                    <a:r>
                      <a:rPr sz="800"/>
                      <a:t>11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72</c:v>
                </c:pt>
                <c:pt idx="1">
                  <c:v>68</c:v>
                </c:pt>
                <c:pt idx="2">
                  <c:v>78</c:v>
                </c:pt>
                <c:pt idx="3">
                  <c:v>91</c:v>
                </c:pt>
                <c:pt idx="4">
                  <c:v>93</c:v>
                </c:pt>
                <c:pt idx="5">
                  <c:v>121</c:v>
                </c:pt>
                <c:pt idx="6">
                  <c:v>123</c:v>
                </c:pt>
                <c:pt idx="7">
                  <c:v>125</c:v>
                </c:pt>
                <c:pt idx="8">
                  <c:v>86</c:v>
                </c:pt>
                <c:pt idx="9">
                  <c:v>80</c:v>
                </c:pt>
                <c:pt idx="10">
                  <c:v>82</c:v>
                </c:pt>
                <c:pt idx="11">
                  <c:v>175</c:v>
                </c:pt>
                <c:pt idx="12">
                  <c:v>97</c:v>
                </c:pt>
                <c:pt idx="13">
                  <c:v>75</c:v>
                </c:pt>
                <c:pt idx="14">
                  <c:v>91</c:v>
                </c:pt>
                <c:pt idx="15">
                  <c:v>90</c:v>
                </c:pt>
                <c:pt idx="16">
                  <c:v>111</c:v>
                </c:pt>
                <c:pt idx="17">
                  <c:v>100</c:v>
                </c:pt>
                <c:pt idx="18">
                  <c:v>118</c:v>
                </c:pt>
                <c:pt idx="19">
                  <c:v>113</c:v>
                </c:pt>
                <c:pt idx="20">
                  <c:v>87</c:v>
                </c:pt>
                <c:pt idx="21">
                  <c:v>87</c:v>
                </c:pt>
                <c:pt idx="22">
                  <c:v>82</c:v>
                </c:pt>
                <c:pt idx="23">
                  <c:v>143</c:v>
                </c:pt>
                <c:pt idx="24">
                  <c:v>103</c:v>
                </c:pt>
                <c:pt idx="25">
                  <c:v>83</c:v>
                </c:pt>
                <c:pt idx="26">
                  <c:v>91</c:v>
                </c:pt>
                <c:pt idx="27">
                  <c:v>90</c:v>
                </c:pt>
                <c:pt idx="28">
                  <c:v>117</c:v>
                </c:pt>
                <c:pt idx="29">
                  <c:v>113</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60%</a:t>
                    </a:r>
                  </a:p>
                </c:rich>
              </c:tx>
              <c:dLblPos val="ctr"/>
              <c:showLegendKey val="0"/>
              <c:showVal val="1"/>
              <c:showCatName val="0"/>
              <c:showSerName val="0"/>
              <c:showPercent val="0"/>
              <c:showBubbleSize val="0"/>
            </c:dLbl>
            <c:dLbl>
              <c:idx val="23"/>
              <c:tx>
                <c:rich>
                  <a:bodyPr/>
                  <a:lstStyle/>
                  <a:p>
                    <a:r>
                      <a:rPr sz="800"/>
                      <a:t>244%</a:t>
                    </a:r>
                  </a:p>
                </c:rich>
              </c:tx>
              <c:dLblPos val="ctr"/>
              <c:showLegendKey val="0"/>
              <c:showVal val="1"/>
              <c:showCatName val="0"/>
              <c:showSerName val="0"/>
              <c:showPercent val="0"/>
              <c:showBubbleSize val="0"/>
            </c:dLbl>
            <c:dLbl>
              <c:idx val="27"/>
              <c:tx>
                <c:rich>
                  <a:bodyPr/>
                  <a:lstStyle/>
                  <a:p>
                    <a:r>
                      <a:rPr sz="800"/>
                      <a:t>13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3</c:v>
                </c:pt>
                <c:pt idx="1">
                  <c:v>89</c:v>
                </c:pt>
                <c:pt idx="2">
                  <c:v>89</c:v>
                </c:pt>
                <c:pt idx="3">
                  <c:v>73</c:v>
                </c:pt>
                <c:pt idx="4">
                  <c:v>125</c:v>
                </c:pt>
                <c:pt idx="5">
                  <c:v>88</c:v>
                </c:pt>
                <c:pt idx="6">
                  <c:v>50</c:v>
                </c:pt>
                <c:pt idx="7">
                  <c:v>69</c:v>
                </c:pt>
                <c:pt idx="8">
                  <c:v>66</c:v>
                </c:pt>
                <c:pt idx="9">
                  <c:v>75</c:v>
                </c:pt>
                <c:pt idx="10">
                  <c:v>87</c:v>
                </c:pt>
                <c:pt idx="11">
                  <c:v>260</c:v>
                </c:pt>
                <c:pt idx="12">
                  <c:v>155</c:v>
                </c:pt>
                <c:pt idx="13">
                  <c:v>112</c:v>
                </c:pt>
                <c:pt idx="14">
                  <c:v>106</c:v>
                </c:pt>
                <c:pt idx="15">
                  <c:v>81</c:v>
                </c:pt>
                <c:pt idx="16">
                  <c:v>81</c:v>
                </c:pt>
                <c:pt idx="17">
                  <c:v>81</c:v>
                </c:pt>
                <c:pt idx="18">
                  <c:v>58</c:v>
                </c:pt>
                <c:pt idx="19">
                  <c:v>53</c:v>
                </c:pt>
                <c:pt idx="20">
                  <c:v>49</c:v>
                </c:pt>
                <c:pt idx="21">
                  <c:v>107</c:v>
                </c:pt>
                <c:pt idx="22">
                  <c:v>67</c:v>
                </c:pt>
                <c:pt idx="23">
                  <c:v>244</c:v>
                </c:pt>
                <c:pt idx="24">
                  <c:v>107</c:v>
                </c:pt>
                <c:pt idx="25">
                  <c:v>91</c:v>
                </c:pt>
                <c:pt idx="26">
                  <c:v>77</c:v>
                </c:pt>
                <c:pt idx="27">
                  <c:v>138</c:v>
                </c:pt>
                <c:pt idx="28">
                  <c:v>101</c:v>
                </c:pt>
                <c:pt idx="29">
                  <c:v>83</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8"/>
              <c:tx>
                <c:rich>
                  <a:bodyPr/>
                  <a:lstStyle/>
                  <a:p>
                    <a:r>
                      <a:rPr sz="800"/>
                      <a:t>155%</a:t>
                    </a:r>
                  </a:p>
                </c:rich>
              </c:tx>
              <c:dLblPos val="ctr"/>
              <c:showLegendKey val="0"/>
              <c:showVal val="1"/>
              <c:showCatName val="0"/>
              <c:showSerName val="0"/>
              <c:showPercent val="0"/>
              <c:showBubbleSize val="0"/>
            </c:dLbl>
            <c:dLbl>
              <c:idx val="14"/>
              <c:tx>
                <c:rich>
                  <a:bodyPr/>
                  <a:lstStyle/>
                  <a:p>
                    <a:r>
                      <a:rPr sz="800"/>
                      <a:t>246%</a:t>
                    </a:r>
                  </a:p>
                </c:rich>
              </c:tx>
              <c:dLblPos val="ctr"/>
              <c:showLegendKey val="0"/>
              <c:showVal val="1"/>
              <c:showCatName val="0"/>
              <c:showSerName val="0"/>
              <c:showPercent val="0"/>
              <c:showBubbleSize val="0"/>
            </c:dLbl>
            <c:dLbl>
              <c:idx val="24"/>
              <c:tx>
                <c:rich>
                  <a:bodyPr/>
                  <a:lstStyle/>
                  <a:p>
                    <a:r>
                      <a:rPr sz="800"/>
                      <a:t>17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48</c:v>
                </c:pt>
                <c:pt idx="1">
                  <c:v>82</c:v>
                </c:pt>
                <c:pt idx="2">
                  <c:v>98</c:v>
                </c:pt>
                <c:pt idx="3">
                  <c:v>110</c:v>
                </c:pt>
                <c:pt idx="4">
                  <c:v>58</c:v>
                </c:pt>
                <c:pt idx="5">
                  <c:v>104</c:v>
                </c:pt>
                <c:pt idx="6">
                  <c:v>68</c:v>
                </c:pt>
                <c:pt idx="7">
                  <c:v>86</c:v>
                </c:pt>
                <c:pt idx="8">
                  <c:v>155</c:v>
                </c:pt>
                <c:pt idx="9">
                  <c:v>72</c:v>
                </c:pt>
                <c:pt idx="10">
                  <c:v>84</c:v>
                </c:pt>
                <c:pt idx="11">
                  <c:v>131</c:v>
                </c:pt>
                <c:pt idx="12">
                  <c:v>70</c:v>
                </c:pt>
                <c:pt idx="13">
                  <c:v>72</c:v>
                </c:pt>
                <c:pt idx="14">
                  <c:v>246</c:v>
                </c:pt>
                <c:pt idx="15">
                  <c:v>150</c:v>
                </c:pt>
                <c:pt idx="16">
                  <c:v>89</c:v>
                </c:pt>
                <c:pt idx="17">
                  <c:v>121</c:v>
                </c:pt>
                <c:pt idx="18">
                  <c:v>67</c:v>
                </c:pt>
                <c:pt idx="19">
                  <c:v>69</c:v>
                </c:pt>
                <c:pt idx="20">
                  <c:v>88</c:v>
                </c:pt>
                <c:pt idx="21">
                  <c:v>85</c:v>
                </c:pt>
                <c:pt idx="22">
                  <c:v>77</c:v>
                </c:pt>
                <c:pt idx="23">
                  <c:v>60</c:v>
                </c:pt>
                <c:pt idx="24">
                  <c:v>175</c:v>
                </c:pt>
                <c:pt idx="25">
                  <c:v>76</c:v>
                </c:pt>
                <c:pt idx="26">
                  <c:v>35</c:v>
                </c:pt>
                <c:pt idx="27">
                  <c:v>68</c:v>
                </c:pt>
                <c:pt idx="28">
                  <c:v>133</c:v>
                </c:pt>
                <c:pt idx="29">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14%</a:t>
                    </a:r>
                  </a:p>
                </c:rich>
              </c:tx>
              <c:dLblPos val="ctr"/>
              <c:showLegendKey val="0"/>
              <c:showVal val="1"/>
              <c:showCatName val="0"/>
              <c:showSerName val="0"/>
              <c:showPercent val="0"/>
              <c:showBubbleSize val="0"/>
            </c:dLbl>
            <c:dLbl>
              <c:idx val="23"/>
              <c:tx>
                <c:rich>
                  <a:bodyPr/>
                  <a:lstStyle/>
                  <a:p>
                    <a:r>
                      <a:rPr sz="800"/>
                      <a:t>165%</a:t>
                    </a:r>
                  </a:p>
                </c:rich>
              </c:tx>
              <c:dLblPos val="ctr"/>
              <c:showLegendKey val="0"/>
              <c:showVal val="1"/>
              <c:showCatName val="0"/>
              <c:showSerName val="0"/>
              <c:showPercent val="0"/>
              <c:showBubbleSize val="0"/>
            </c:dLbl>
            <c:dLbl>
              <c:idx val="28"/>
              <c:tx>
                <c:rich>
                  <a:bodyPr/>
                  <a:lstStyle/>
                  <a:p>
                    <a:r>
                      <a:rPr sz="800"/>
                      <a:t>11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4</c:v>
                </c:pt>
                <c:pt idx="1">
                  <c:v>74</c:v>
                </c:pt>
                <c:pt idx="2">
                  <c:v>101</c:v>
                </c:pt>
                <c:pt idx="3">
                  <c:v>106</c:v>
                </c:pt>
                <c:pt idx="4">
                  <c:v>109</c:v>
                </c:pt>
                <c:pt idx="5">
                  <c:v>87</c:v>
                </c:pt>
                <c:pt idx="6">
                  <c:v>70</c:v>
                </c:pt>
                <c:pt idx="7">
                  <c:v>57</c:v>
                </c:pt>
                <c:pt idx="8">
                  <c:v>86</c:v>
                </c:pt>
                <c:pt idx="9">
                  <c:v>88</c:v>
                </c:pt>
                <c:pt idx="10">
                  <c:v>109</c:v>
                </c:pt>
                <c:pt idx="11">
                  <c:v>214</c:v>
                </c:pt>
                <c:pt idx="12">
                  <c:v>123</c:v>
                </c:pt>
                <c:pt idx="13">
                  <c:v>74</c:v>
                </c:pt>
                <c:pt idx="14">
                  <c:v>95</c:v>
                </c:pt>
                <c:pt idx="15">
                  <c:v>86</c:v>
                </c:pt>
                <c:pt idx="16">
                  <c:v>91</c:v>
                </c:pt>
                <c:pt idx="17">
                  <c:v>102</c:v>
                </c:pt>
                <c:pt idx="18">
                  <c:v>76</c:v>
                </c:pt>
                <c:pt idx="19">
                  <c:v>55</c:v>
                </c:pt>
                <c:pt idx="20">
                  <c:v>102</c:v>
                </c:pt>
                <c:pt idx="21">
                  <c:v>107</c:v>
                </c:pt>
                <c:pt idx="22">
                  <c:v>117</c:v>
                </c:pt>
                <c:pt idx="23">
                  <c:v>165</c:v>
                </c:pt>
                <c:pt idx="24">
                  <c:v>98</c:v>
                </c:pt>
                <c:pt idx="25">
                  <c:v>93</c:v>
                </c:pt>
                <c:pt idx="26">
                  <c:v>106</c:v>
                </c:pt>
                <c:pt idx="27">
                  <c:v>89</c:v>
                </c:pt>
                <c:pt idx="28">
                  <c:v>110</c:v>
                </c:pt>
                <c:pt idx="29">
                  <c:v>100</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58%</a:t>
                    </a:r>
                  </a:p>
                </c:rich>
              </c:tx>
              <c:dLblPos val="ctr"/>
              <c:showLegendKey val="0"/>
              <c:showVal val="1"/>
              <c:showCatName val="0"/>
              <c:showSerName val="0"/>
              <c:showPercent val="0"/>
              <c:showBubbleSize val="0"/>
            </c:dLbl>
            <c:dLbl>
              <c:idx val="12"/>
              <c:tx>
                <c:rich>
                  <a:bodyPr/>
                  <a:lstStyle/>
                  <a:p>
                    <a:r>
                      <a:rPr sz="800"/>
                      <a:t>189%</a:t>
                    </a:r>
                  </a:p>
                </c:rich>
              </c:tx>
              <c:dLblPos val="ctr"/>
              <c:showLegendKey val="0"/>
              <c:showVal val="1"/>
              <c:showCatName val="0"/>
              <c:showSerName val="0"/>
              <c:showPercent val="0"/>
              <c:showBubbleSize val="0"/>
            </c:dLbl>
            <c:dLbl>
              <c:idx val="27"/>
              <c:tx>
                <c:rich>
                  <a:bodyPr/>
                  <a:lstStyle/>
                  <a:p>
                    <a:r>
                      <a:rPr sz="800"/>
                      <a:t>13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21</c:v>
                </c:pt>
                <c:pt idx="1">
                  <c:v>119</c:v>
                </c:pt>
                <c:pt idx="2">
                  <c:v>85</c:v>
                </c:pt>
                <c:pt idx="3">
                  <c:v>80</c:v>
                </c:pt>
                <c:pt idx="4">
                  <c:v>56</c:v>
                </c:pt>
                <c:pt idx="5">
                  <c:v>149</c:v>
                </c:pt>
                <c:pt idx="6">
                  <c:v>80</c:v>
                </c:pt>
                <c:pt idx="7">
                  <c:v>61</c:v>
                </c:pt>
                <c:pt idx="8">
                  <c:v>70</c:v>
                </c:pt>
                <c:pt idx="9">
                  <c:v>78</c:v>
                </c:pt>
                <c:pt idx="10">
                  <c:v>137</c:v>
                </c:pt>
                <c:pt idx="11">
                  <c:v>158</c:v>
                </c:pt>
                <c:pt idx="12">
                  <c:v>189</c:v>
                </c:pt>
                <c:pt idx="13">
                  <c:v>109</c:v>
                </c:pt>
                <c:pt idx="14">
                  <c:v>77</c:v>
                </c:pt>
                <c:pt idx="15">
                  <c:v>61</c:v>
                </c:pt>
                <c:pt idx="16">
                  <c:v>125</c:v>
                </c:pt>
                <c:pt idx="17">
                  <c:v>89</c:v>
                </c:pt>
                <c:pt idx="18">
                  <c:v>57</c:v>
                </c:pt>
                <c:pt idx="19">
                  <c:v>38</c:v>
                </c:pt>
                <c:pt idx="20">
                  <c:v>101</c:v>
                </c:pt>
                <c:pt idx="21">
                  <c:v>77</c:v>
                </c:pt>
                <c:pt idx="22">
                  <c:v>102</c:v>
                </c:pt>
                <c:pt idx="23">
                  <c:v>170</c:v>
                </c:pt>
                <c:pt idx="24">
                  <c:v>111</c:v>
                </c:pt>
                <c:pt idx="25">
                  <c:v>73</c:v>
                </c:pt>
                <c:pt idx="26">
                  <c:v>100</c:v>
                </c:pt>
                <c:pt idx="27">
                  <c:v>131</c:v>
                </c:pt>
                <c:pt idx="28">
                  <c:v>94</c:v>
                </c:pt>
                <c:pt idx="29">
                  <c:v>89</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55%</a:t>
                    </a:r>
                  </a:p>
                </c:rich>
              </c:tx>
              <c:dLblPos val="ctr"/>
              <c:showLegendKey val="0"/>
              <c:showVal val="1"/>
              <c:showCatName val="0"/>
              <c:showSerName val="0"/>
              <c:showPercent val="0"/>
              <c:showBubbleSize val="0"/>
            </c:dLbl>
            <c:dLbl>
              <c:idx val="23"/>
              <c:tx>
                <c:rich>
                  <a:bodyPr/>
                  <a:lstStyle/>
                  <a:p>
                    <a:r>
                      <a:rPr sz="800"/>
                      <a:t>123%</a:t>
                    </a:r>
                  </a:p>
                </c:rich>
              </c:tx>
              <c:dLblPos val="ctr"/>
              <c:showLegendKey val="0"/>
              <c:showVal val="1"/>
              <c:showCatName val="0"/>
              <c:showSerName val="0"/>
              <c:showPercent val="0"/>
              <c:showBubbleSize val="0"/>
            </c:dLbl>
            <c:dLbl>
              <c:idx val="29"/>
              <c:tx>
                <c:rich>
                  <a:bodyPr/>
                  <a:lstStyle/>
                  <a:p>
                    <a:r>
                      <a:rPr sz="800"/>
                      <a:t>12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77</c:v>
                </c:pt>
                <c:pt idx="1">
                  <c:v>75</c:v>
                </c:pt>
                <c:pt idx="2">
                  <c:v>86</c:v>
                </c:pt>
                <c:pt idx="3">
                  <c:v>92</c:v>
                </c:pt>
                <c:pt idx="4">
                  <c:v>103</c:v>
                </c:pt>
                <c:pt idx="5">
                  <c:v>133</c:v>
                </c:pt>
                <c:pt idx="6">
                  <c:v>112</c:v>
                </c:pt>
                <c:pt idx="7">
                  <c:v>80</c:v>
                </c:pt>
                <c:pt idx="8">
                  <c:v>110</c:v>
                </c:pt>
                <c:pt idx="9">
                  <c:v>85</c:v>
                </c:pt>
                <c:pt idx="10">
                  <c:v>85</c:v>
                </c:pt>
                <c:pt idx="11">
                  <c:v>155</c:v>
                </c:pt>
                <c:pt idx="12">
                  <c:v>109</c:v>
                </c:pt>
                <c:pt idx="13">
                  <c:v>79</c:v>
                </c:pt>
                <c:pt idx="14">
                  <c:v>94</c:v>
                </c:pt>
                <c:pt idx="15">
                  <c:v>92</c:v>
                </c:pt>
                <c:pt idx="16">
                  <c:v>117</c:v>
                </c:pt>
                <c:pt idx="17">
                  <c:v>121</c:v>
                </c:pt>
                <c:pt idx="18">
                  <c:v>111</c:v>
                </c:pt>
                <c:pt idx="19">
                  <c:v>76</c:v>
                </c:pt>
                <c:pt idx="20">
                  <c:v>86</c:v>
                </c:pt>
                <c:pt idx="21">
                  <c:v>97</c:v>
                </c:pt>
                <c:pt idx="22">
                  <c:v>91</c:v>
                </c:pt>
                <c:pt idx="23">
                  <c:v>123</c:v>
                </c:pt>
                <c:pt idx="24">
                  <c:v>92</c:v>
                </c:pt>
                <c:pt idx="25">
                  <c:v>81</c:v>
                </c:pt>
                <c:pt idx="26">
                  <c:v>90</c:v>
                </c:pt>
                <c:pt idx="27">
                  <c:v>97</c:v>
                </c:pt>
                <c:pt idx="28">
                  <c:v>113</c:v>
                </c:pt>
                <c:pt idx="29">
                  <c:v>125</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28%</a:t>
                    </a:r>
                  </a:p>
                </c:rich>
              </c:tx>
              <c:dLblPos val="ctr"/>
              <c:showLegendKey val="0"/>
              <c:showVal val="1"/>
              <c:showCatName val="0"/>
              <c:showSerName val="0"/>
              <c:showPercent val="0"/>
              <c:showBubbleSize val="0"/>
            </c:dLbl>
            <c:dLbl>
              <c:idx val="23"/>
              <c:tx>
                <c:rich>
                  <a:bodyPr/>
                  <a:lstStyle/>
                  <a:p>
                    <a:r>
                      <a:rPr sz="800"/>
                      <a:t>178%</a:t>
                    </a:r>
                  </a:p>
                </c:rich>
              </c:tx>
              <c:dLblPos val="ctr"/>
              <c:showLegendKey val="0"/>
              <c:showVal val="1"/>
              <c:showCatName val="0"/>
              <c:showSerName val="0"/>
              <c:showPercent val="0"/>
              <c:showBubbleSize val="0"/>
            </c:dLbl>
            <c:dLbl>
              <c:idx val="26"/>
              <c:tx>
                <c:rich>
                  <a:bodyPr/>
                  <a:lstStyle/>
                  <a:p>
                    <a:r>
                      <a:rPr sz="800"/>
                      <a:t>124%</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3</c:v>
                </c:pt>
                <c:pt idx="1">
                  <c:v>73</c:v>
                </c:pt>
                <c:pt idx="2">
                  <c:v>96</c:v>
                </c:pt>
                <c:pt idx="3">
                  <c:v>115</c:v>
                </c:pt>
                <c:pt idx="4">
                  <c:v>105</c:v>
                </c:pt>
                <c:pt idx="5">
                  <c:v>97</c:v>
                </c:pt>
                <c:pt idx="6">
                  <c:v>79</c:v>
                </c:pt>
                <c:pt idx="7">
                  <c:v>72</c:v>
                </c:pt>
                <c:pt idx="8">
                  <c:v>61</c:v>
                </c:pt>
                <c:pt idx="9">
                  <c:v>87</c:v>
                </c:pt>
                <c:pt idx="10">
                  <c:v>90</c:v>
                </c:pt>
                <c:pt idx="11">
                  <c:v>228</c:v>
                </c:pt>
                <c:pt idx="12">
                  <c:v>119</c:v>
                </c:pt>
                <c:pt idx="13">
                  <c:v>90</c:v>
                </c:pt>
                <c:pt idx="14">
                  <c:v>84</c:v>
                </c:pt>
                <c:pt idx="15">
                  <c:v>81</c:v>
                </c:pt>
                <c:pt idx="16">
                  <c:v>86</c:v>
                </c:pt>
                <c:pt idx="17">
                  <c:v>92</c:v>
                </c:pt>
                <c:pt idx="18">
                  <c:v>100</c:v>
                </c:pt>
                <c:pt idx="19">
                  <c:v>65</c:v>
                </c:pt>
                <c:pt idx="20">
                  <c:v>84</c:v>
                </c:pt>
                <c:pt idx="21">
                  <c:v>109</c:v>
                </c:pt>
                <c:pt idx="22">
                  <c:v>107</c:v>
                </c:pt>
                <c:pt idx="23">
                  <c:v>178</c:v>
                </c:pt>
                <c:pt idx="24">
                  <c:v>98</c:v>
                </c:pt>
                <c:pt idx="25">
                  <c:v>91</c:v>
                </c:pt>
                <c:pt idx="26">
                  <c:v>124</c:v>
                </c:pt>
                <c:pt idx="27">
                  <c:v>95</c:v>
                </c:pt>
                <c:pt idx="28">
                  <c:v>98</c:v>
                </c:pt>
                <c:pt idx="29">
                  <c:v>90</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0"/>
              <c:tx>
                <c:rich>
                  <a:bodyPr/>
                  <a:lstStyle/>
                  <a:p>
                    <a:r>
                      <a:rPr sz="800"/>
                      <a:t>160%</a:t>
                    </a:r>
                  </a:p>
                </c:rich>
              </c:tx>
              <c:dLblPos val="ctr"/>
              <c:showLegendKey val="0"/>
              <c:showVal val="1"/>
              <c:showCatName val="0"/>
              <c:showSerName val="0"/>
              <c:showPercent val="0"/>
              <c:showBubbleSize val="0"/>
            </c:dLbl>
            <c:dLbl>
              <c:idx val="14"/>
              <c:tx>
                <c:rich>
                  <a:bodyPr/>
                  <a:lstStyle/>
                  <a:p>
                    <a:r>
                      <a:rPr sz="800"/>
                      <a:t>283%</a:t>
                    </a:r>
                  </a:p>
                </c:rich>
              </c:tx>
              <c:dLblPos val="ctr"/>
              <c:showLegendKey val="0"/>
              <c:showVal val="1"/>
              <c:showCatName val="0"/>
              <c:showSerName val="0"/>
              <c:showPercent val="0"/>
              <c:showBubbleSize val="0"/>
            </c:dLbl>
            <c:dLbl>
              <c:idx val="29"/>
              <c:tx>
                <c:rich>
                  <a:bodyPr/>
                  <a:lstStyle/>
                  <a:p>
                    <a:r>
                      <a:rPr sz="800"/>
                      <a:t>23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60</c:v>
                </c:pt>
                <c:pt idx="1">
                  <c:v>84</c:v>
                </c:pt>
                <c:pt idx="2">
                  <c:v>95</c:v>
                </c:pt>
                <c:pt idx="3">
                  <c:v>97</c:v>
                </c:pt>
                <c:pt idx="4">
                  <c:v>84</c:v>
                </c:pt>
                <c:pt idx="5">
                  <c:v>108</c:v>
                </c:pt>
                <c:pt idx="6">
                  <c:v>87</c:v>
                </c:pt>
                <c:pt idx="7">
                  <c:v>58</c:v>
                </c:pt>
                <c:pt idx="8">
                  <c:v>135</c:v>
                </c:pt>
                <c:pt idx="9">
                  <c:v>106</c:v>
                </c:pt>
                <c:pt idx="10">
                  <c:v>75</c:v>
                </c:pt>
                <c:pt idx="11">
                  <c:v>104</c:v>
                </c:pt>
                <c:pt idx="12">
                  <c:v>88</c:v>
                </c:pt>
                <c:pt idx="13">
                  <c:v>101</c:v>
                </c:pt>
                <c:pt idx="14">
                  <c:v>283</c:v>
                </c:pt>
                <c:pt idx="15">
                  <c:v>185</c:v>
                </c:pt>
                <c:pt idx="16">
                  <c:v>102</c:v>
                </c:pt>
                <c:pt idx="17">
                  <c:v>107</c:v>
                </c:pt>
                <c:pt idx="18">
                  <c:v>115</c:v>
                </c:pt>
                <c:pt idx="19">
                  <c:v>44</c:v>
                </c:pt>
                <c:pt idx="20">
                  <c:v>33</c:v>
                </c:pt>
                <c:pt idx="21">
                  <c:v>40</c:v>
                </c:pt>
                <c:pt idx="22">
                  <c:v>49</c:v>
                </c:pt>
                <c:pt idx="23">
                  <c:v>48</c:v>
                </c:pt>
                <c:pt idx="24">
                  <c:v>120</c:v>
                </c:pt>
                <c:pt idx="25">
                  <c:v>51</c:v>
                </c:pt>
                <c:pt idx="26">
                  <c:v>45</c:v>
                </c:pt>
                <c:pt idx="27">
                  <c:v>41</c:v>
                </c:pt>
                <c:pt idx="28">
                  <c:v>105</c:v>
                </c:pt>
                <c:pt idx="29">
                  <c:v>235</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26%</a:t>
                    </a:r>
                  </a:p>
                </c:rich>
              </c:tx>
              <c:dLblPos val="ctr"/>
              <c:showLegendKey val="0"/>
              <c:showVal val="1"/>
              <c:showCatName val="0"/>
              <c:showSerName val="0"/>
              <c:showPercent val="0"/>
              <c:showBubbleSize val="0"/>
            </c:dLbl>
            <c:dLbl>
              <c:idx val="23"/>
              <c:tx>
                <c:rich>
                  <a:bodyPr/>
                  <a:lstStyle/>
                  <a:p>
                    <a:r>
                      <a:rPr sz="800"/>
                      <a:t>179%</a:t>
                    </a:r>
                  </a:p>
                </c:rich>
              </c:tx>
              <c:dLblPos val="ctr"/>
              <c:showLegendKey val="0"/>
              <c:showVal val="1"/>
              <c:showCatName val="0"/>
              <c:showSerName val="0"/>
              <c:showPercent val="0"/>
              <c:showBubbleSize val="0"/>
            </c:dLbl>
            <c:dLbl>
              <c:idx val="26"/>
              <c:tx>
                <c:rich>
                  <a:bodyPr/>
                  <a:lstStyle/>
                  <a:p>
                    <a:r>
                      <a:rPr sz="800"/>
                      <a:t>112%</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91</c:v>
                </c:pt>
                <c:pt idx="1">
                  <c:v>73</c:v>
                </c:pt>
                <c:pt idx="2">
                  <c:v>86</c:v>
                </c:pt>
                <c:pt idx="3">
                  <c:v>98</c:v>
                </c:pt>
                <c:pt idx="4">
                  <c:v>117</c:v>
                </c:pt>
                <c:pt idx="5">
                  <c:v>94</c:v>
                </c:pt>
                <c:pt idx="6">
                  <c:v>79</c:v>
                </c:pt>
                <c:pt idx="7">
                  <c:v>56</c:v>
                </c:pt>
                <c:pt idx="8">
                  <c:v>89</c:v>
                </c:pt>
                <c:pt idx="9">
                  <c:v>93</c:v>
                </c:pt>
                <c:pt idx="10">
                  <c:v>92</c:v>
                </c:pt>
                <c:pt idx="11">
                  <c:v>226</c:v>
                </c:pt>
                <c:pt idx="12">
                  <c:v>120</c:v>
                </c:pt>
                <c:pt idx="13">
                  <c:v>72</c:v>
                </c:pt>
                <c:pt idx="14">
                  <c:v>94</c:v>
                </c:pt>
                <c:pt idx="15">
                  <c:v>85</c:v>
                </c:pt>
                <c:pt idx="16">
                  <c:v>84</c:v>
                </c:pt>
                <c:pt idx="17">
                  <c:v>99</c:v>
                </c:pt>
                <c:pt idx="18">
                  <c:v>81</c:v>
                </c:pt>
                <c:pt idx="19">
                  <c:v>55</c:v>
                </c:pt>
                <c:pt idx="20">
                  <c:v>99</c:v>
                </c:pt>
                <c:pt idx="21">
                  <c:v>106</c:v>
                </c:pt>
                <c:pt idx="22">
                  <c:v>121</c:v>
                </c:pt>
                <c:pt idx="23">
                  <c:v>179</c:v>
                </c:pt>
                <c:pt idx="24">
                  <c:v>104</c:v>
                </c:pt>
                <c:pt idx="25">
                  <c:v>91</c:v>
                </c:pt>
                <c:pt idx="26">
                  <c:v>112</c:v>
                </c:pt>
                <c:pt idx="27">
                  <c:v>88</c:v>
                </c:pt>
                <c:pt idx="28">
                  <c:v>102</c:v>
                </c:pt>
                <c:pt idx="29">
                  <c:v>100</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02%</a:t>
                    </a:r>
                  </a:p>
                </c:rich>
              </c:tx>
              <c:dLblPos val="ctr"/>
              <c:showLegendKey val="0"/>
              <c:showVal val="1"/>
              <c:showCatName val="0"/>
              <c:showSerName val="0"/>
              <c:showPercent val="0"/>
              <c:showBubbleSize val="0"/>
            </c:dLbl>
            <c:dLbl>
              <c:idx val="23"/>
              <c:tx>
                <c:rich>
                  <a:bodyPr/>
                  <a:lstStyle/>
                  <a:p>
                    <a:r>
                      <a:rPr sz="800"/>
                      <a:t>182%</a:t>
                    </a:r>
                  </a:p>
                </c:rich>
              </c:tx>
              <c:dLblPos val="ctr"/>
              <c:showLegendKey val="0"/>
              <c:showVal val="1"/>
              <c:showCatName val="0"/>
              <c:showSerName val="0"/>
              <c:showPercent val="0"/>
              <c:showBubbleSize val="0"/>
            </c:dLbl>
            <c:dLbl>
              <c:idx val="27"/>
              <c:tx>
                <c:rich>
                  <a:bodyPr/>
                  <a:lstStyle/>
                  <a:p>
                    <a:r>
                      <a:rPr sz="800"/>
                      <a:t>14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83</c:v>
                </c:pt>
                <c:pt idx="1">
                  <c:v>92</c:v>
                </c:pt>
                <c:pt idx="2">
                  <c:v>73</c:v>
                </c:pt>
                <c:pt idx="3">
                  <c:v>75</c:v>
                </c:pt>
                <c:pt idx="4">
                  <c:v>71</c:v>
                </c:pt>
                <c:pt idx="5">
                  <c:v>155</c:v>
                </c:pt>
                <c:pt idx="6">
                  <c:v>91</c:v>
                </c:pt>
                <c:pt idx="7">
                  <c:v>75</c:v>
                </c:pt>
                <c:pt idx="8">
                  <c:v>78</c:v>
                </c:pt>
                <c:pt idx="9">
                  <c:v>81</c:v>
                </c:pt>
                <c:pt idx="10">
                  <c:v>117</c:v>
                </c:pt>
                <c:pt idx="11">
                  <c:v>202</c:v>
                </c:pt>
                <c:pt idx="12">
                  <c:v>165</c:v>
                </c:pt>
                <c:pt idx="13">
                  <c:v>100</c:v>
                </c:pt>
                <c:pt idx="14">
                  <c:v>87</c:v>
                </c:pt>
                <c:pt idx="15">
                  <c:v>59</c:v>
                </c:pt>
                <c:pt idx="16">
                  <c:v>108</c:v>
                </c:pt>
                <c:pt idx="17">
                  <c:v>94</c:v>
                </c:pt>
                <c:pt idx="18">
                  <c:v>75</c:v>
                </c:pt>
                <c:pt idx="19">
                  <c:v>64</c:v>
                </c:pt>
                <c:pt idx="20">
                  <c:v>111</c:v>
                </c:pt>
                <c:pt idx="21">
                  <c:v>66</c:v>
                </c:pt>
                <c:pt idx="22">
                  <c:v>83</c:v>
                </c:pt>
                <c:pt idx="23">
                  <c:v>182</c:v>
                </c:pt>
                <c:pt idx="24">
                  <c:v>102</c:v>
                </c:pt>
                <c:pt idx="25">
                  <c:v>66</c:v>
                </c:pt>
                <c:pt idx="26">
                  <c:v>94</c:v>
                </c:pt>
                <c:pt idx="27">
                  <c:v>141</c:v>
                </c:pt>
                <c:pt idx="28">
                  <c:v>108</c:v>
                </c:pt>
                <c:pt idx="29">
                  <c:v>8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52%</a:t>
                    </a:r>
                  </a:p>
                </c:rich>
              </c:tx>
              <c:dLblPos val="ctr"/>
              <c:showLegendKey val="0"/>
              <c:showVal val="1"/>
              <c:showCatName val="0"/>
              <c:showSerName val="0"/>
              <c:showPercent val="0"/>
              <c:showBubbleSize val="0"/>
            </c:dLbl>
            <c:dLbl>
              <c:idx val="23"/>
              <c:tx>
                <c:rich>
                  <a:bodyPr/>
                  <a:lstStyle/>
                  <a:p>
                    <a:r>
                      <a:rPr sz="800"/>
                      <a:t>133%</a:t>
                    </a:r>
                  </a:p>
                </c:rich>
              </c:tx>
              <c:dLblPos val="ctr"/>
              <c:showLegendKey val="0"/>
              <c:showVal val="1"/>
              <c:showCatName val="0"/>
              <c:showSerName val="0"/>
              <c:showPercent val="0"/>
              <c:showBubbleSize val="0"/>
            </c:dLbl>
            <c:dLbl>
              <c:idx val="29"/>
              <c:tx>
                <c:rich>
                  <a:bodyPr/>
                  <a:lstStyle/>
                  <a:p>
                    <a:r>
                      <a:rPr sz="800"/>
                      <a:t>12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79</c:v>
                </c:pt>
                <c:pt idx="1">
                  <c:v>74</c:v>
                </c:pt>
                <c:pt idx="2">
                  <c:v>83</c:v>
                </c:pt>
                <c:pt idx="3">
                  <c:v>89</c:v>
                </c:pt>
                <c:pt idx="4">
                  <c:v>100</c:v>
                </c:pt>
                <c:pt idx="5">
                  <c:v>135</c:v>
                </c:pt>
                <c:pt idx="6">
                  <c:v>119</c:v>
                </c:pt>
                <c:pt idx="7">
                  <c:v>82</c:v>
                </c:pt>
                <c:pt idx="8">
                  <c:v>96</c:v>
                </c:pt>
                <c:pt idx="9">
                  <c:v>94</c:v>
                </c:pt>
                <c:pt idx="10">
                  <c:v>91</c:v>
                </c:pt>
                <c:pt idx="11">
                  <c:v>152</c:v>
                </c:pt>
                <c:pt idx="12">
                  <c:v>103</c:v>
                </c:pt>
                <c:pt idx="13">
                  <c:v>77</c:v>
                </c:pt>
                <c:pt idx="14">
                  <c:v>95</c:v>
                </c:pt>
                <c:pt idx="15">
                  <c:v>92</c:v>
                </c:pt>
                <c:pt idx="16">
                  <c:v>101</c:v>
                </c:pt>
                <c:pt idx="17">
                  <c:v>119</c:v>
                </c:pt>
                <c:pt idx="18">
                  <c:v>117</c:v>
                </c:pt>
                <c:pt idx="19">
                  <c:v>80</c:v>
                </c:pt>
                <c:pt idx="20">
                  <c:v>86</c:v>
                </c:pt>
                <c:pt idx="21">
                  <c:v>100</c:v>
                </c:pt>
                <c:pt idx="22">
                  <c:v>90</c:v>
                </c:pt>
                <c:pt idx="23">
                  <c:v>133</c:v>
                </c:pt>
                <c:pt idx="24">
                  <c:v>84</c:v>
                </c:pt>
                <c:pt idx="25">
                  <c:v>74</c:v>
                </c:pt>
                <c:pt idx="26">
                  <c:v>100</c:v>
                </c:pt>
                <c:pt idx="27">
                  <c:v>103</c:v>
                </c:pt>
                <c:pt idx="28">
                  <c:v>114</c:v>
                </c:pt>
                <c:pt idx="29">
                  <c:v>12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254%</a:t>
                    </a:r>
                  </a:p>
                </c:rich>
              </c:tx>
              <c:dLblPos val="ctr"/>
              <c:showLegendKey val="0"/>
              <c:showVal val="1"/>
              <c:showCatName val="0"/>
              <c:showSerName val="0"/>
              <c:showPercent val="0"/>
              <c:showBubbleSize val="0"/>
            </c:dLbl>
            <c:dLbl>
              <c:idx val="23"/>
              <c:tx>
                <c:rich>
                  <a:bodyPr/>
                  <a:lstStyle/>
                  <a:p>
                    <a:r>
                      <a:rPr sz="800"/>
                      <a:t>218%</a:t>
                    </a:r>
                  </a:p>
                </c:rich>
              </c:tx>
              <c:dLblPos val="ctr"/>
              <c:showLegendKey val="0"/>
              <c:showVal val="1"/>
              <c:showCatName val="0"/>
              <c:showSerName val="0"/>
              <c:showPercent val="0"/>
              <c:showBubbleSize val="0"/>
            </c:dLbl>
            <c:dLbl>
              <c:idx val="29"/>
              <c:tx>
                <c:rich>
                  <a:bodyPr/>
                  <a:lstStyle/>
                  <a:p>
                    <a:r>
                      <a:rPr sz="800"/>
                      <a:t>11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06</c:v>
                </c:pt>
                <c:pt idx="1">
                  <c:v>86</c:v>
                </c:pt>
                <c:pt idx="2">
                  <c:v>91</c:v>
                </c:pt>
                <c:pt idx="3">
                  <c:v>94</c:v>
                </c:pt>
                <c:pt idx="4">
                  <c:v>99</c:v>
                </c:pt>
                <c:pt idx="5">
                  <c:v>85</c:v>
                </c:pt>
                <c:pt idx="6">
                  <c:v>64</c:v>
                </c:pt>
                <c:pt idx="7">
                  <c:v>48</c:v>
                </c:pt>
                <c:pt idx="8">
                  <c:v>72</c:v>
                </c:pt>
                <c:pt idx="9">
                  <c:v>85</c:v>
                </c:pt>
                <c:pt idx="10">
                  <c:v>110</c:v>
                </c:pt>
                <c:pt idx="11">
                  <c:v>254</c:v>
                </c:pt>
                <c:pt idx="12">
                  <c:v>122</c:v>
                </c:pt>
                <c:pt idx="13">
                  <c:v>68</c:v>
                </c:pt>
                <c:pt idx="14">
                  <c:v>94</c:v>
                </c:pt>
                <c:pt idx="15">
                  <c:v>75</c:v>
                </c:pt>
                <c:pt idx="16">
                  <c:v>91</c:v>
                </c:pt>
                <c:pt idx="17">
                  <c:v>101</c:v>
                </c:pt>
                <c:pt idx="18">
                  <c:v>87</c:v>
                </c:pt>
                <c:pt idx="19">
                  <c:v>65</c:v>
                </c:pt>
                <c:pt idx="20">
                  <c:v>69</c:v>
                </c:pt>
                <c:pt idx="21">
                  <c:v>102</c:v>
                </c:pt>
                <c:pt idx="22">
                  <c:v>104</c:v>
                </c:pt>
                <c:pt idx="23">
                  <c:v>218</c:v>
                </c:pt>
                <c:pt idx="24">
                  <c:v>89</c:v>
                </c:pt>
                <c:pt idx="25">
                  <c:v>91</c:v>
                </c:pt>
                <c:pt idx="26">
                  <c:v>106</c:v>
                </c:pt>
                <c:pt idx="27">
                  <c:v>90</c:v>
                </c:pt>
                <c:pt idx="28">
                  <c:v>102</c:v>
                </c:pt>
                <c:pt idx="29">
                  <c:v>118</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8"/>
              <c:tx>
                <c:rich>
                  <a:bodyPr/>
                  <a:lstStyle/>
                  <a:p>
                    <a:r>
                      <a:rPr sz="800"/>
                      <a:t>152%</a:t>
                    </a:r>
                  </a:p>
                </c:rich>
              </c:tx>
              <c:dLblPos val="ctr"/>
              <c:showLegendKey val="0"/>
              <c:showVal val="1"/>
              <c:showCatName val="0"/>
              <c:showSerName val="0"/>
              <c:showPercent val="0"/>
              <c:showBubbleSize val="0"/>
            </c:dLbl>
            <c:dLbl>
              <c:idx val="14"/>
              <c:tx>
                <c:rich>
                  <a:bodyPr/>
                  <a:lstStyle/>
                  <a:p>
                    <a:r>
                      <a:rPr sz="800"/>
                      <a:t>219%</a:t>
                    </a:r>
                  </a:p>
                </c:rich>
              </c:tx>
              <c:dLblPos val="ctr"/>
              <c:showLegendKey val="0"/>
              <c:showVal val="1"/>
              <c:showCatName val="0"/>
              <c:showSerName val="0"/>
              <c:showPercent val="0"/>
              <c:showBubbleSize val="0"/>
            </c:dLbl>
            <c:dLbl>
              <c:idx val="29"/>
              <c:tx>
                <c:rich>
                  <a:bodyPr/>
                  <a:lstStyle/>
                  <a:p>
                    <a:r>
                      <a:rPr sz="800"/>
                      <a:t>209%</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43</c:v>
                </c:pt>
                <c:pt idx="1">
                  <c:v>88</c:v>
                </c:pt>
                <c:pt idx="2">
                  <c:v>109</c:v>
                </c:pt>
                <c:pt idx="3">
                  <c:v>81</c:v>
                </c:pt>
                <c:pt idx="4">
                  <c:v>77</c:v>
                </c:pt>
                <c:pt idx="5">
                  <c:v>98</c:v>
                </c:pt>
                <c:pt idx="6">
                  <c:v>73</c:v>
                </c:pt>
                <c:pt idx="7">
                  <c:v>79</c:v>
                </c:pt>
                <c:pt idx="8">
                  <c:v>152</c:v>
                </c:pt>
                <c:pt idx="9">
                  <c:v>86</c:v>
                </c:pt>
                <c:pt idx="10">
                  <c:v>77</c:v>
                </c:pt>
                <c:pt idx="11">
                  <c:v>131</c:v>
                </c:pt>
                <c:pt idx="12">
                  <c:v>86</c:v>
                </c:pt>
                <c:pt idx="13">
                  <c:v>68</c:v>
                </c:pt>
                <c:pt idx="14">
                  <c:v>219</c:v>
                </c:pt>
                <c:pt idx="15">
                  <c:v>209</c:v>
                </c:pt>
                <c:pt idx="16">
                  <c:v>107</c:v>
                </c:pt>
                <c:pt idx="17">
                  <c:v>118</c:v>
                </c:pt>
                <c:pt idx="18">
                  <c:v>96</c:v>
                </c:pt>
                <c:pt idx="19">
                  <c:v>63</c:v>
                </c:pt>
                <c:pt idx="20">
                  <c:v>56</c:v>
                </c:pt>
                <c:pt idx="21">
                  <c:v>44</c:v>
                </c:pt>
                <c:pt idx="22">
                  <c:v>61</c:v>
                </c:pt>
                <c:pt idx="23">
                  <c:v>69</c:v>
                </c:pt>
                <c:pt idx="24">
                  <c:v>97</c:v>
                </c:pt>
                <c:pt idx="25">
                  <c:v>75</c:v>
                </c:pt>
                <c:pt idx="26">
                  <c:v>66</c:v>
                </c:pt>
                <c:pt idx="27">
                  <c:v>55</c:v>
                </c:pt>
                <c:pt idx="28">
                  <c:v>95</c:v>
                </c:pt>
                <c:pt idx="29">
                  <c:v>2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0"/>
        <c:auto val="0"/>
        <c:lblAlgn val="ctr"/>
        <c:lblOffset val="100"/>
        <c:noMultiLvlLbl val="0"/>
      </c:catAx>
      <c:valAx>
        <c:axId val="1203216752"/>
        <c:scaling>
          <c:orientation val="minMax"/>
          <c:max val="200.0"/>
          <c:min val="0.0"/>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9245A593-D28A-4581-8526-A623FF34980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8859F44A-065B-4B4C-9DD3-F47269167B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A62873C5-5DB5-457D-A8BA-F34598E565A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FF051D43-3204-48FA-B968-361E7E6A31B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4AD66EEB-C273-4A3B-8C09-3911901ADC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69BF89C-0C9E-4329-AFBB-BF7F681F13F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330D27F4-74D9-4555-A067-A9F18074F3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1B564DFC-4B68-4062-9320-181F355552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17EA6A8-49BD-4A74-AA52-4804405E22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9753DFA6-617F-4754-887F-E0E4819386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03E4382E-440D-4FD1-847C-B50C2EDA76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BDF813B-0BFB-47EC-A021-05AB7FB8D4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9FD20DC9-B227-43E5-A4A5-BF05417D9F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19260F6D-0798-4243-8ABA-7180C4D091F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26902FD5-3310-4B47-A625-30F264FC46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7F467397-9BD8-44F7-B56C-A266AAC2AD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5FD4B8E2-5485-49AF-AC7B-AA20FA971C5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C52872C6-3BFE-4C87-87EA-3ABF1199EF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FA96407E-6F0C-4B7C-94A7-D50B439B131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528ABA7B-A083-4C78-ADA0-A2A1795C86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C555629B-2864-497D-8301-B21953E306A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A3C87ED6-9E58-4148-9CAE-61E79864F07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3627EF76-36F2-4B1B-A2D4-3F98FB0BF8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00B0B7F3-3CBF-47A7-BE82-1BABF081A95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DB14739-182E-4965-9B2E-0264C954F56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5B0B6F33-29F8-4635-AC4C-D174CFF530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10D57655-4716-4362-8C4C-5021D030636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9BD96C87-2F94-4051-A4D0-18AE42639F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067D0AC7-40B8-40A2-990D-5C47CBAFF7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AFF8E9D7-EB6D-4385-A23E-D729670B86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D28BCC6-BA17-40B7-8F9A-BD6929910BD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CC2D1F77-C37E-4C11-856B-EF6CF10210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399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3447097-8E90-44F5-A173-30A14E29B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06013E17-5507-4F43-B7AC-69C686465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407B7C33-2ACF-422F-A56B-CCDF8D57C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2EB443FA-766C-43B4-BE36-BB843A388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86D523A8-3B5F-4879-9C48-C627B6587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C9BE109B-248B-451B-AF64-AC871DF75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72060205-C349-4C09-9C56-6D7C0D17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4FC9062B-23D9-42F5-9453-52A9EDD43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F7C29AF5-AEBD-4357-ACDF-E7CD74645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6A5677E1-B76B-4328-AC45-482BE56D1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CA57BE49-CC28-4F10-BCDA-93325B9E1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5700A10F-2709-4DC1-A5A3-0BAAD76AA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73CCF3E6-A657-4C01-9E1D-FD4B3E13E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39AFD83E-727D-4D4A-9CE2-1264A6759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B0CBA5BA-BBD5-4179-93CB-B51E21463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B49E7E7D-1BD8-499E-A9CC-E91DC6240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C922CB39-B423-44BA-8908-BFB73B2E4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7F03981F-3FD6-41D7-A720-99541B0AF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59C1C0D-0EF7-44F5-BE17-8E023EBFC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B22A4BFF-115A-4EE9-8EA4-487291E89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2A026EFE-93DE-4480-AA33-3FAD6AA46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2AFA5B0A-167B-46E7-8294-F90B13485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710E373F-B98F-4096-A84B-4778C2463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91505E2C-F2E7-4FCC-AF99-8A4073C27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1C86ADF4-D995-412A-AEE9-4A5FF2F69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0C686655-C2A1-436E-A5A8-986F93C0D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45BA1A86-0D26-47E0-B129-DABEF5209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50D2A72E-937E-4EB2-BD83-D58F00C10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6114DF44-C962-4EBF-A3C6-5F7888AF1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2507577C-DA5E-4BD2-BC34-EBB8482FF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BC346FC9-C35A-4F04-82A7-F0A0299DD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A7E50886-F1ED-4CEB-9515-AEBB99B6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9AE285A6-1432-448C-BBB7-F04CA153A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AEC4F98C-01D5-4E62-AE01-63EB4280E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406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Venoge</c:v>
                </c:pt>
                <c:pt idx="3">
                  <c:v>De Bligny</c:v>
                </c:pt>
                <c:pt idx="4">
                  <c:v>Besserat De Bellefon</c:v>
                </c:pt>
              </c:strCache>
            </c:strRef>
          </c:cat>
          <c:val>
            <c:numRef>
              <c:f>Sheet1!$B$2:$B$6</c:f>
              <c:numCache>
                <c:formatCode>General</c:formatCode>
                <c:ptCount val="5"/>
                <c:pt idx="0">
                  <c:v>0.09099999999999997</c:v>
                </c:pt>
                <c:pt idx="1">
                  <c:v>0.028999999999999915</c:v>
                </c:pt>
                <c:pt idx="2">
                  <c:v>1.125</c:v>
                </c:pt>
                <c:pt idx="3">
                  <c:v>-0.20399999999999996</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3622%</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345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0356D045-DD9C-4182-80AC-5FDF6AFDFD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F389C00-CA85-45BE-AF00-207B40BC6E7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A3AE96F2-902A-4392-AC91-244A039BF1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81257B92-0DEA-4CFC-89C0-04545BEA38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4C70C57B-ABD5-4A09-8CDE-8A22856850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807E36A6-F15B-4F5B-97C8-4C7331F486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7D5646D4-BE28-4CBA-AAE3-8DAEE660BE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AF2F73BE-A300-426B-8BCE-F60F48E213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33E5D9FF-48D3-4538-AF4F-D9740BB7B9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8E71594D-639F-4C62-BCA0-E28C915C5D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E3093FBE-961D-4BD9-8180-D5C318B291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4E56F60A-964E-4E8D-B0D1-3C02FE372D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7208581-A323-4BB3-B505-F7F4E17613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2195DF0F-41D6-46B3-ABA0-E4677B5BB8B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69EA71F4-00EB-4D08-9BCA-DC312A709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C6A969B5-1F2C-47E8-81C2-8813E9F46D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3B93D182-AAFC-4839-BF7F-DDFFC26F0A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789A1F7E-3973-41EB-9843-F38D4515CD9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F4A24D52-E57D-4470-9441-340B488420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6FB94000-3AA6-489B-962E-FB474AF854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FF284224-C3CF-41DF-BFF7-CCF520240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2AC51205-0CB4-4463-B7B3-F42293AED1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48C1A2B5-C8D0-4D93-B7BE-E960F43F4D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294234F9-E22B-4547-8708-0C765FD172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1092CD5B-A57A-4B2A-8A29-72C22594B2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1DB548D8-EE19-42C2-BD22-CAE9DE8593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DB352EE-2BE0-45B7-9962-4D30624270B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778880D3-841A-4B8D-BA35-F9F2EBAA33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4E3A0F2D-6B04-47B3-A218-BE47A94BE5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5BD994D3-4AFE-4513-B5E5-AA1962E789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952837A2-4000-4243-999A-2ADD213122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9ED75B0B-1739-4EA7-8599-C3755113B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322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D49EFE0-8953-4EF8-99D7-08FA6406E8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14428242-E1CE-472C-BAA2-21D73D00768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8B8B12FC-8A1F-43A3-AA1B-2C9F40A9FE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0C88828C-A750-4E95-BF68-AE62AF6C27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2A2BE68C-4095-4552-BB94-E4EE93A358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EB0748F8-49EC-47D4-92C0-F96C1E7D095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67729BD-E11A-45CD-8B8A-997463D814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216AE0E3-2D57-4732-9F68-E0AA05EDC6E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FB568D18-BBFC-43F1-824F-AC17A1E1EE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C3B6F21-CDCF-40CF-AFFC-A5CD4C17D9D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4CD63F4D-D89E-4217-BCA1-4CD414C404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4BB38696-BE70-4E92-A390-1858980613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5936E6EB-AC0F-405E-9CBB-FC2DE04BCF5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DE580582-3E72-4944-90CF-BFCFF22DE5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938AA62-C41E-4149-9E30-15116F61569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F75EF217-DB78-4261-909C-45173E0F33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99B6B76C-165F-475B-B7FF-E88B7C9BF8E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C71ABEB1-6301-4C4D-A74D-8F8CF95B99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EEAF3867-683F-473F-B4C3-8D4A1A9C7B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DE79514-168E-4E19-A874-586C1FA1E06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E26651AF-D98F-4E4C-8EFF-8F4FF2DB4D7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26EA1562-2D83-4514-B84C-D3F35C23E0A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681C24F-3686-4F4B-B55C-AD3D1544E2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1FB82791-0FB9-4622-928F-7DDD0795B5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4E19FDF0-94B7-4F47-8F47-C6633139DC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4CA28B0D-80F1-46F0-A0C3-03302038F3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15CF44C2-0041-4CA9-9AD4-AD91B07FFE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76D783D3-0903-4AA2-83A8-A5FABDB66F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2E4C0CC3-466F-46A9-A8D7-49BAF5891F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615CD150-3D45-46DB-BEAC-A4A3753001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37D5177A-A802-4561-B954-47DF1EE491C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4DC2A63F-43CB-46B1-9D36-FB23F8BB3EA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3996%</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F7B16EB-FF33-4E87-BF9B-F791A59EF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74DED06D-853A-45DC-B705-1A2D3EF64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13E0E9AE-DD08-4B63-821E-31DD4F21D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49165178-1EE7-416C-903E-DCB39B727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1007AF41-236D-4FC5-987B-21E822829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DE44DEBE-A6C6-4409-9F7B-858519174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67D884C0-F662-4747-BAF1-F7617F6CB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3129D407-0CEB-4E26-8012-057C16A3B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11BD8130-C711-4624-8C20-9D1D066DE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AC378653-2CAC-4E86-B36F-06B400D4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BFDD79D8-E944-4F23-BCD7-162067685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FBAAC1E9-527D-44E1-8760-D55CE0C48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D2E8F3A8-DCC0-4519-892C-87A880EDE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8F255F26-04B6-45CB-8C94-17365D3F3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F700FD39-2215-45D2-A4E3-98C01CCBF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E5483BA7-407F-4D5D-B855-341A072C8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CB284B33-56BB-4AE4-9375-41C974367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88D34018-216E-4A0D-A3FB-472E7C750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BE717653-6E6D-4118-BD90-376E2A28F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D17B516D-F3FC-496C-A525-95D7C3F39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C6095824-F43F-4D58-B4D8-89F2EAE6B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814FEAF0-B448-4B69-9D19-E2386E066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4F3E88E5-01AD-4601-9BDF-CFD729C7D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5B25239D-2356-42FF-BC6C-92CAB64F0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E34B373D-89CF-4D2F-A7A8-5DA101D83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1D873A07-EC8B-4C4A-963E-BED804558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7B3EFF90-6536-44CD-B526-7808CBFB8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17FD0E24-110C-4C7F-A714-33D5AEDA2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6765B8C6-C29E-4A73-891D-1EF6071D0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122D816B-DA2D-494E-BA8D-D5A2007C6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7A557F7F-1B16-432F-BB5E-CFC742EF7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5C1E6F73-F1F9-4390-9D37-D92ABD15F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B3F0F6CC-ADAB-463D-A5A6-7A2BDAB10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9901CAA0-EB51-4C05-BB54-184E6171D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511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839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2777%</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1ECCDF4-1161-4263-A202-D76B10A181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3AB400FE-DC57-4E8F-903B-13A4BBDD9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CF1EA873-8687-429B-8E34-CF6B14C421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AE8225BB-0698-4D84-BF0F-B2A66EA25F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6CC71985-846A-4BB0-8D07-9886710EF9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C5BA3CD1-E80C-423B-B61F-EA802AAC24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2D31F6BD-7AC5-4025-8C3C-26FCA2E873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49FF17AD-E0B6-4362-9F0C-0EB2DB56FD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61389C14-E5E3-440C-8B6D-28BAEF3D38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6C336BE5-AB21-4929-966E-4EEF3FF10F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D59DA7B7-3725-4E63-A74E-1A664CBDCE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60E9447C-E632-4843-A56D-C831EC926F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EC35C32F-9172-442B-A165-EE0AFDFFA2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3A05646B-467D-4203-A9CF-840390875D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418DA790-E437-4A36-9CE2-9B1646EEEF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24908F33-7827-498B-AE1A-BF2C42A95E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13C80D0-7C88-413E-B32E-135AF318D4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8CDA2ADF-832F-4294-AF5F-AF0991C955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957DD617-9D59-4752-92B8-10F6AAD64D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C50FBEFF-5F27-4567-96F0-1CB6BDE27B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5025B7F8-A5BF-4BAA-85C7-EC15FA9DA6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26E3C525-A7D0-4F9E-8B60-79E7049CE1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EFC3A7B7-868B-4E84-8DC5-0A51BC5C2C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4E78FBC7-ED37-475E-A99F-C5371FF533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4863BA59-33AB-417F-9CD8-BCE79DE903D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9DFF3480-F7B8-4667-82AE-0E352B9BA1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1DEB0135-E7F1-4F33-B957-96889C9861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2139F4C5-1436-4B9B-9AD6-881E766EA3E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3DA355C7-0470-4979-BC33-57BC2C9C38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8745EA49-6529-48A3-AE0F-17AF31D31D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75359E59-F352-4C82-BEB8-5572C1B988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238AE9BC-DA1E-445B-AC39-344D4954CD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1503%</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Venoge</c:v>
                </c:pt>
                <c:pt idx="3">
                  <c:v>De Bligny</c:v>
                </c:pt>
                <c:pt idx="4">
                  <c:v>Besserat De Bellefon</c:v>
                </c:pt>
              </c:strCache>
            </c:strRef>
          </c:cat>
          <c:val>
            <c:numRef>
              <c:f>Sheet1!$B$2:$B$6</c:f>
              <c:numCache>
                <c:formatCode>General</c:formatCode>
                <c:ptCount val="5"/>
                <c:pt idx="0">
                  <c:v>-0.216735166386555</c:v>
                </c:pt>
                <c:pt idx="1">
                  <c:v>-0.04459234428731973</c:v>
                </c:pt>
                <c:pt idx="2">
                  <c:v>-0.4042949473758721</c:v>
                </c:pt>
                <c:pt idx="3">
                  <c:v>-0.4620337365542637</c:v>
                </c:pt>
                <c:pt idx="4">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563BD549-E7C8-4CF3-B1B4-8D83646136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D95E585-9F77-424F-9B63-2E271EC19C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28830DF0-7739-4541-8A15-E5F17E94A2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90A09D48-E0F1-417A-B03F-8FB87D97B4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2B078702-5056-45AF-A6EE-015DB1B764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EB0A5496-68B3-48CE-98EF-80D4F184CC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F57973C-3589-4269-875A-EF8EAA2399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04B8CD0A-422A-497A-868B-1072C4FAC0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1A16DA5-A0B8-459D-A669-14551762D5B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CC4383D0-24AD-4ACE-B44F-A071F492888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D273D5C2-8F23-410F-8188-3B1625FF8F8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41357FB5-2668-445D-8AFE-F6E1096900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2D594098-CC76-4D03-8CD1-4355D6152F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4A8E7F86-7CDE-4A23-A502-1367E98FC9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B43E3A7C-21A1-446D-91A6-60210BE615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0B72F4AC-5E6E-4265-9A18-EA9F593BBF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F08BA948-F0F3-4BB0-BF17-A084007164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B553D4F7-21A6-4712-A15E-C79266B7DE8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ABD46A8D-8E5B-46FD-8449-C346074A622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959B9E1-0427-4EC1-99FF-6FB32A2A72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AFB5500E-D6C5-4FC7-B5D9-EAEF9DE21E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8EB855FF-DC51-41F5-8F29-844F306A6D4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F8741AAA-5A5E-4A08-991C-B3B248EF3C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C179F4F-1E84-4598-903D-7E7FA80FF6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A8DCAFA-7537-4A05-AD5A-42E68E8A078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B3C84B80-0C90-4D65-B925-A0F859111A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D58009AF-0F22-40D8-961D-5BE3D39934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D098C544-4605-4DC7-A524-EE06F84BAC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7B579060-D20D-49A0-B60B-40EAF1FD1E5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391F4C69-B2E8-4E3E-904B-CFFEA4C10A6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E7DC3122-45A6-4363-9E6E-0D90F9C582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3C381369-8C35-490A-88E8-C12B2965ED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4402%</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FD4C610-56F2-4218-9F87-FD06306405C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C8EBE824-839E-414F-966D-F57136B8EC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0FDB5027-761E-47A9-A31A-34BC65E77C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E73F5815-B8A7-412E-9B20-C6331EE4C6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A34FEEB8-1AD5-4D98-8460-060E62AB48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E71730CB-FD0A-4BA2-894D-3E687F3487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E8ADA66E-37F5-4C32-9D67-86712B688E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465EC962-1E0A-456E-8B52-FB22E82533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A13FC034-C69B-4645-B155-C6FD18B99F6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BB345272-2FEA-408B-B6C4-3AE0EBD27A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BF74331-32AC-4CBD-AC36-E4CE236C18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956F697B-62B3-49E0-9F8C-33608E05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34BA460B-6ACC-40C8-B256-C4EC867862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411DA834-D3D7-42F5-AD5E-B27B23768B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973F7256-2EAB-47C6-A7CB-611A660EE6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9D020C6C-112F-49F8-9ED7-F0F66E0F8C9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561BFFE4-4570-4A6F-977F-7A4C26458D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1B9C7D8E-08DD-4571-8370-6DFF97CFA5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917BC4F-4180-4E12-9FBC-A0850671C2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C7DF4040-3F75-44BB-ABE1-3AAD9CEFD9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511F34AD-0240-4803-93F0-450C1EE5668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D1E11EAB-E759-4F49-822D-16340E1595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C06EC2C-C19E-4958-9516-5F88E120D0D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B775E369-DF82-42BC-BA5C-B7C8853611B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5B48AB3-38E7-4DAD-9292-6FC608C8BF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52029CED-3BC7-44F3-802F-59A834F25FB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F769D584-30C3-4DCF-B288-721EB04CC9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F1B90A3C-D512-4243-8DF4-E9C1190BED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12CFAF8D-D7F8-4948-B255-3A6CFBD633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4DCC238B-7B76-478A-BC63-62C1EEDB35E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E50DF1EB-3A30-446A-84D1-FC44F15CA75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5B57C7E3-DD19-40E4-9F1C-C01FBEFC5F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2548%</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D0976D2-1E9E-4356-815C-E6FDFC1E2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C8BDBAC5-EFFE-40D3-AFF3-2BE086A94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A6D6B46C-DA7D-4EAB-8C78-371606A0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12FA30FB-8F92-42BB-B9FA-CE28CCB66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1FB71499-D6F3-45A7-9DFA-54421210A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4CD6EF55-448D-4FD0-8C94-E96B0C7D0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FDC2A2CC-4C6C-4625-A0FF-E2A024404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449E84C7-7744-4FD4-A39E-779A529C4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156628DF-9C09-4CBA-A6E0-A08DADE3D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1502DBCA-5B9D-4F16-8657-0046C9F1C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43662C3E-BB34-4019-B182-D1A49EF0D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8C39F714-92C2-443E-B3A8-D6E7E8F93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CC6099E9-60BD-4535-9C96-2F0810BA8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6603136C-4933-4DDC-A58D-889D9BE38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504209B7-FCFB-4B2D-AB0C-83FF09794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074D4796-0AA5-4A59-9F2F-D521D3220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4E787629-CD86-4CCF-8BD3-87987FCAD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5AF24458-C109-489A-B294-ED84624CD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FAEBB8BD-5560-4835-AF96-794BF232A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86D931A7-F014-4ED0-80A4-0D82A3F8B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690721DF-E817-4BBC-BE68-3D9F8AF22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10C5936A-A6AA-4D3E-A565-163DA3310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1199A5C3-DDEB-4D62-96CE-FF50E617E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72FC5447-B4B7-48CF-8AB3-7FD50578F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07D3E92C-4D39-4EA3-A455-3FD495316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0D570258-B27A-498D-8DE0-960692D68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B49A784C-8483-40D9-919E-6F85E9721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D5B8AB4F-C1AC-4B81-8225-F0B86A6F5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911D8CC2-3C5C-4F4A-93B0-BAD18A21F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B1A73C8F-AECC-4FDE-B850-C802E0FD3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D8873801-B18A-4A9D-BB27-6403E62FC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53E082D9-02FE-4A10-A043-210A7CC5D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14011B8E-DA73-4421-A41B-8B21C5222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94CACB64-333B-4D42-89CE-D2458851C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1361%</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1210%</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112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C047369-B052-4673-A4FC-82748BE5F4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EFB19535-9E07-482C-9B76-FF17DCB513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930B4C29-300B-40E1-A133-A82F4C11E2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09488EF9-F1F4-4163-BDCC-759437E22F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1140528B-957B-42EC-A0D5-4EA98DF5B1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36155197-591B-4E49-A36E-1579991AD2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D452ED4D-AD20-46E4-A32F-70F80BE2D5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FF5A7DE3-0572-4C00-AFEE-DE441304FC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E79D76D8-D667-4C9B-B40C-55EB027C80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F2BB866A-3CCB-496E-BCA1-3296494896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D424B03A-9E2E-444F-BA1E-907D2DC37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D0A7507C-8C29-42F9-8B09-075B2235C9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DF0657F7-291E-4DFA-8317-C5560EF11F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6CC4365C-E0C2-4596-8CDA-46EBA1F01D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DFF70843-00E2-43AA-917B-E407126DA0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B1CC5CDF-5E23-4DA0-9722-B5982B2AB7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3E628F88-1D20-4D20-B2E4-67243BBA7E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A0C1F80E-4242-420C-BC20-C0DA647CE2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4529EDB7-6B1F-41D0-A5AB-2F2DE77D48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20FAAA9-08F6-4C09-B03F-8364EE5A26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3E714A3D-9CB6-4D67-8B1D-760A8E0CE3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E461D8B4-8A80-446F-96C6-0E0C2E468B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0FD28736-0A74-4D92-A16A-5F7721AF5F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7DC893B5-F934-4C94-85FD-23FC6D5802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CD7EDB12-5F81-41C1-8E60-1E83FF194A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627E9D01-BA6F-4BF2-BB66-2DC67A8ECB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5F531D5-2707-46C4-BBB3-5A7FBE5798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E20679A4-832A-4C37-B3FD-51B02FB22E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574DE008-D7D3-4CBB-B126-250FED0CD6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0488F8F4-08C9-407B-BCE8-AF1316562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4E27AAE5-EA14-4EBE-B77F-E1508316EC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6B7C1F0B-3029-45FF-A7DA-A490D31F42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B$2:$B$53</c:f>
              <c:numCache>
                <c:formatCode>General</c:formatCode>
                <c:ptCount val="52"/>
                <c:pt idx="2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21"/>
            <c:marker>
              <c:spPr>
                <a:solidFill>
                  <a:srgbClr val="E6E5E5"/>
                </a:solidFill>
                <a:ln>
                  <a:solidFill>
                    <a:srgbClr val="E6E5E5"/>
                  </a:solidFill>
                </a:ln>
              </c:spPr>
            </c:marker>
          </c:dPt>
          <c:dLbls>
            <c:dLbl>
              <c:idx val="21"/>
              <c:tx>
                <c:rich>
                  <a:bodyPr/>
                  <a:lstStyle/>
                  <a:p>
                    <a:r>
                      <a:rPr sz="800">
                        <a:solidFill>
                          <a:srgbClr val="00A097"/>
                        </a:solidFill>
                      </a:rPr>
                      <a:t>1325%</a:t>
                    </a:r>
                  </a:p>
                </c:rich>
              </c:tx>
              <c:dLblPos val="ctr"/>
              <c:showLegendKey val="0"/>
              <c:showVal val="1"/>
              <c:showCatName val="0"/>
              <c:showSerName val="0"/>
              <c:showPercent val="0"/>
              <c:showBubbleSize val="0"/>
            </c:dLbl>
            <c:showLegendKey val="0"/>
            <c:showVal val="0"/>
            <c:showCatName val="0"/>
            <c:showSerName val="0"/>
            <c:showPercent val="0"/>
            <c:showBubbleSize val="0"/>
            <c:showLeaderLines val="1"/>
          </c:dLbls>
          <c:cat>
            <c:strRef>
              <c:f>Sheet1!$A$2:$A$53</c:f>
              <c:strCache>
                <c:ptCount val="52"/>
                <c:pt idx="0">
                  <c:v>2024-07-07</c:v>
                </c:pt>
                <c:pt idx="1">
                  <c:v>2024-07-14</c:v>
                </c:pt>
                <c:pt idx="2">
                  <c:v>2024-07-21</c:v>
                </c:pt>
                <c:pt idx="3">
                  <c:v>2024-07-28</c:v>
                </c:pt>
                <c:pt idx="4">
                  <c:v>2024-08-04</c:v>
                </c:pt>
                <c:pt idx="5">
                  <c:v>2024-08-11</c:v>
                </c:pt>
                <c:pt idx="6">
                  <c:v>2024-08-18</c:v>
                </c:pt>
                <c:pt idx="7">
                  <c:v>2024-08-25</c:v>
                </c:pt>
                <c:pt idx="8">
                  <c:v>2024-09-01</c:v>
                </c:pt>
                <c:pt idx="9">
                  <c:v>2024-09-08</c:v>
                </c:pt>
                <c:pt idx="10">
                  <c:v>2024-09-15</c:v>
                </c:pt>
                <c:pt idx="11">
                  <c:v>2024-09-22</c:v>
                </c:pt>
                <c:pt idx="12">
                  <c:v>2024-09-29</c:v>
                </c:pt>
                <c:pt idx="13">
                  <c:v>2024-10-06</c:v>
                </c:pt>
                <c:pt idx="14">
                  <c:v>2024-10-13</c:v>
                </c:pt>
                <c:pt idx="15">
                  <c:v>2024-10-20</c:v>
                </c:pt>
                <c:pt idx="16">
                  <c:v>2024-10-27</c:v>
                </c:pt>
                <c:pt idx="17">
                  <c:v>2024-11-03</c:v>
                </c:pt>
                <c:pt idx="18">
                  <c:v>2024-11-10</c:v>
                </c:pt>
                <c:pt idx="19">
                  <c:v>2024-11-17</c:v>
                </c:pt>
                <c:pt idx="20">
                  <c:v>2024-11-24</c:v>
                </c:pt>
                <c:pt idx="21">
                  <c:v>2024-12-01</c:v>
                </c:pt>
                <c:pt idx="22">
                  <c:v>2024-12-08</c:v>
                </c:pt>
                <c:pt idx="23">
                  <c:v>2024-12-15</c:v>
                </c:pt>
                <c:pt idx="24">
                  <c:v>2024-12-22</c:v>
                </c:pt>
                <c:pt idx="25">
                  <c:v>2024-12-29</c:v>
                </c:pt>
                <c:pt idx="26">
                  <c:v>2025-01-05</c:v>
                </c:pt>
                <c:pt idx="27">
                  <c:v>2025-01-12</c:v>
                </c:pt>
                <c:pt idx="28">
                  <c:v>2025-01-19</c:v>
                </c:pt>
                <c:pt idx="29">
                  <c:v>2025-01-26</c:v>
                </c:pt>
                <c:pt idx="30">
                  <c:v>2025-02-02</c:v>
                </c:pt>
                <c:pt idx="31">
                  <c:v>2025-02-09</c:v>
                </c:pt>
                <c:pt idx="32">
                  <c:v>2025-02-16</c:v>
                </c:pt>
                <c:pt idx="33">
                  <c:v>2025-02-23</c:v>
                </c:pt>
                <c:pt idx="34">
                  <c:v>2025-03-02</c:v>
                </c:pt>
                <c:pt idx="35">
                  <c:v>2025-03-09</c:v>
                </c:pt>
                <c:pt idx="36">
                  <c:v>2025-03-16</c:v>
                </c:pt>
                <c:pt idx="37">
                  <c:v>2025-03-23</c:v>
                </c:pt>
                <c:pt idx="38">
                  <c:v>2025-03-30</c:v>
                </c:pt>
                <c:pt idx="39">
                  <c:v>2025-04-06</c:v>
                </c:pt>
                <c:pt idx="40">
                  <c:v>2025-04-13</c:v>
                </c:pt>
                <c:pt idx="41">
                  <c:v>2025-04-20</c:v>
                </c:pt>
                <c:pt idx="42">
                  <c:v>2025-04-27</c:v>
                </c:pt>
                <c:pt idx="43">
                  <c:v>2025-05-04</c:v>
                </c:pt>
                <c:pt idx="44">
                  <c:v>2025-05-11</c:v>
                </c:pt>
                <c:pt idx="45">
                  <c:v>2025-05-18</c:v>
                </c:pt>
                <c:pt idx="46">
                  <c:v>2025-05-25</c:v>
                </c:pt>
                <c:pt idx="47">
                  <c:v>2025-06-01</c:v>
                </c:pt>
                <c:pt idx="48">
                  <c:v>2025-06-08</c:v>
                </c:pt>
                <c:pt idx="49">
                  <c:v>2025-06-15</c:v>
                </c:pt>
                <c:pt idx="50">
                  <c:v>2025-06-22</c:v>
                </c:pt>
                <c:pt idx="51">
                  <c:v>2025-06-29</c:v>
                </c:pt>
              </c:strCache>
            </c:strRef>
          </c:cat>
          <c:val>
            <c:numRef>
              <c:f>Sheet1!$C$2:$C$53</c:f>
              <c:numCache>
                <c:formatCode>General</c:formatCode>
                <c:ptCount val="52"/>
                <c:pt idx="21">
                  <c:v>1.8</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Canard Duchêne</c:v>
                </c:pt>
                <c:pt idx="5">
                  <c:v>Laurent Perrier</c:v>
                </c:pt>
                <c:pt idx="6">
                  <c:v>Demoiselle</c:v>
                </c:pt>
                <c:pt idx="7">
                  <c:v>De Bligny</c:v>
                </c:pt>
                <c:pt idx="8">
                  <c:v>Taittinger</c:v>
                </c:pt>
                <c:pt idx="9">
                  <c:v>Deutz</c:v>
                </c:pt>
                <c:pt idx="10">
                  <c:v>Ayala</c:v>
                </c:pt>
              </c:strCache>
            </c:strRef>
          </c:cat>
          <c:val>
            <c:numRef>
              <c:f>Sheet1!$B$2:$B$12</c:f>
              <c:numCache>
                <c:formatCode>General</c:formatCode>
                <c:ptCount val="11"/>
                <c:pt idx="0">
                  <c:v>4.333</c:v>
                </c:pt>
                <c:pt idx="1">
                  <c:v>-0.07499999999999996</c:v>
                </c:pt>
                <c:pt idx="2">
                  <c:v>-0.062000000000000055</c:v>
                </c:pt>
                <c:pt idx="3">
                  <c:v>0.028999999999999915</c:v>
                </c:pt>
                <c:pt idx="4">
                  <c:v>0.921</c:v>
                </c:pt>
                <c:pt idx="5">
                  <c:v>-0.03600000000000003</c:v>
                </c:pt>
                <c:pt idx="6">
                  <c:v>-0.013000000000000012</c:v>
                </c:pt>
                <c:pt idx="7">
                  <c:v>0.08000000000000007</c:v>
                </c:pt>
                <c:pt idx="8">
                  <c:v>0.04499999999999993</c:v>
                </c:pt>
                <c:pt idx="9">
                  <c:v>-0.5</c:v>
                </c:pt>
                <c:pt idx="10">
                  <c:v>-0.10699999999999998</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Canard Duchêne</c:v>
                </c:pt>
                <c:pt idx="5">
                  <c:v>Laurent Perrier</c:v>
                </c:pt>
                <c:pt idx="6">
                  <c:v>Demoiselle</c:v>
                </c:pt>
                <c:pt idx="7">
                  <c:v>De Bligny</c:v>
                </c:pt>
                <c:pt idx="8">
                  <c:v>Taittinger</c:v>
                </c:pt>
                <c:pt idx="9">
                  <c:v>Deutz</c:v>
                </c:pt>
                <c:pt idx="10">
                  <c:v>Ayala</c:v>
                </c:pt>
              </c:strCache>
            </c:strRef>
          </c:cat>
          <c:val>
            <c:numRef>
              <c:f>Sheet1!$B$2:$B$12</c:f>
              <c:numCache>
                <c:formatCode>General</c:formatCode>
                <c:ptCount val="11"/>
                <c:pt idx="0">
                  <c:v>-0.17444743231149973</c:v>
                </c:pt>
                <c:pt idx="1">
                  <c:v>-0.2993192632763705</c:v>
                </c:pt>
                <c:pt idx="2">
                  <c:v>-0.7072368709243477</c:v>
                </c:pt>
                <c:pt idx="3">
                  <c:v>-0.18141184325164594</c:v>
                </c:pt>
                <c:pt idx="4">
                  <c:v>1.584161270787516</c:v>
                </c:pt>
                <c:pt idx="5">
                  <c:v>-0.020663970297262413</c:v>
                </c:pt>
                <c:pt idx="6">
                  <c:v>-0.37428789229301385</c:v>
                </c:pt>
                <c:pt idx="7">
                  <c:v>2.5440720586629153</c:v>
                </c:pt>
                <c:pt idx="8">
                  <c:v>-0.23682818710710973</c:v>
                </c:pt>
                <c:pt idx="9">
                  <c:v>-0.40281063976537534</c:v>
                </c:pt>
                <c:pt idx="10">
                  <c:v>-0.822871799144167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Malard</c:v>
                </c:pt>
                <c:pt idx="4">
                  <c:v>Deutz</c:v>
                </c:pt>
                <c:pt idx="5">
                  <c:v>Nicolas Feuillatte</c:v>
                </c:pt>
                <c:pt idx="6">
                  <c:v>Taittinger</c:v>
                </c:pt>
                <c:pt idx="7">
                  <c:v>Canard Duchêne</c:v>
                </c:pt>
                <c:pt idx="8">
                  <c:v>Demoiselle</c:v>
                </c:pt>
                <c:pt idx="9">
                  <c:v>De Bligny</c:v>
                </c:pt>
                <c:pt idx="10">
                  <c:v>Roederer</c:v>
                </c:pt>
              </c:strCache>
            </c:strRef>
          </c:cat>
          <c:val>
            <c:numRef>
              <c:f>Sheet1!$B$2:$B$12</c:f>
              <c:numCache>
                <c:formatCode>General</c:formatCode>
                <c:ptCount val="11"/>
                <c:pt idx="0">
                  <c:v>4.833</c:v>
                </c:pt>
                <c:pt idx="1">
                  <c:v>-0.02100000000000002</c:v>
                </c:pt>
                <c:pt idx="2">
                  <c:v>-0.020000000000000018</c:v>
                </c:pt>
                <c:pt idx="3">
                  <c:v>-0.015000000000000013</c:v>
                </c:pt>
                <c:pt idx="4">
                  <c:v>-0.46799999999999997</c:v>
                </c:pt>
                <c:pt idx="5">
                  <c:v>0.014999999999999902</c:v>
                </c:pt>
                <c:pt idx="6">
                  <c:v>0.11299999999999999</c:v>
                </c:pt>
                <c:pt idx="7">
                  <c:v>0.7749999999999999</c:v>
                </c:pt>
                <c:pt idx="8">
                  <c:v>-0.039000000000000035</c:v>
                </c:pt>
                <c:pt idx="9">
                  <c:v>0.05499999999999994</c:v>
                </c:pt>
                <c:pt idx="10">
                  <c:v>3.40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Malard</c:v>
                </c:pt>
                <c:pt idx="4">
                  <c:v>Deutz</c:v>
                </c:pt>
                <c:pt idx="5">
                  <c:v>Nicolas Feuillatte</c:v>
                </c:pt>
                <c:pt idx="6">
                  <c:v>Taittinger</c:v>
                </c:pt>
                <c:pt idx="7">
                  <c:v>Canard Duchêne</c:v>
                </c:pt>
                <c:pt idx="8">
                  <c:v>Demoiselle</c:v>
                </c:pt>
                <c:pt idx="9">
                  <c:v>De Bligny</c:v>
                </c:pt>
                <c:pt idx="10">
                  <c:v>Roederer</c:v>
                </c:pt>
              </c:strCache>
            </c:strRef>
          </c:cat>
          <c:val>
            <c:numRef>
              <c:f>Sheet1!$B$2:$B$12</c:f>
              <c:numCache>
                <c:formatCode>General</c:formatCode>
                <c:ptCount val="11"/>
                <c:pt idx="0">
                  <c:v>-0.12292706591785219</c:v>
                </c:pt>
                <c:pt idx="1">
                  <c:v>-0.10666322714777476</c:v>
                </c:pt>
                <c:pt idx="2">
                  <c:v>-0.2341786234317509</c:v>
                </c:pt>
                <c:pt idx="3">
                  <c:v>-0.2857877866669978</c:v>
                </c:pt>
                <c:pt idx="4">
                  <c:v>-0.21222201610089875</c:v>
                </c:pt>
                <c:pt idx="5">
                  <c:v>0.04236194830063522</c:v>
                </c:pt>
                <c:pt idx="6">
                  <c:v>0.09024024492540228</c:v>
                </c:pt>
                <c:pt idx="7">
                  <c:v>1.302506933093892</c:v>
                </c:pt>
                <c:pt idx="8">
                  <c:v>-0.1862997576342198</c:v>
                </c:pt>
                <c:pt idx="9">
                  <c:v>0.5117619657209043</c:v>
                </c:pt>
                <c:pt idx="10">
                  <c:v>3.050671464155825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dLbl>
              <c:idx val="5"/>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Malard</c:v>
                </c:pt>
                <c:pt idx="3">
                  <c:v>Deutz</c:v>
                </c:pt>
                <c:pt idx="4">
                  <c:v>Canard Duchêne</c:v>
                </c:pt>
                <c:pt idx="5">
                  <c:v>Taittinger</c:v>
                </c:pt>
                <c:pt idx="6">
                  <c:v>Laurent Perrier</c:v>
                </c:pt>
                <c:pt idx="7">
                  <c:v>Nicolas Feuillatte</c:v>
                </c:pt>
                <c:pt idx="8">
                  <c:v>Ayala</c:v>
                </c:pt>
                <c:pt idx="9">
                  <c:v>De Bligny</c:v>
                </c:pt>
                <c:pt idx="10">
                  <c:v>Demoiselle</c:v>
                </c:pt>
              </c:strCache>
            </c:strRef>
          </c:cat>
          <c:val>
            <c:numRef>
              <c:f>Sheet1!$B$2:$B$12</c:f>
              <c:numCache>
                <c:formatCode>General</c:formatCode>
                <c:ptCount val="11"/>
                <c:pt idx="0">
                  <c:v>4.5</c:v>
                </c:pt>
                <c:pt idx="1">
                  <c:v>-0.052000000000000046</c:v>
                </c:pt>
                <c:pt idx="2">
                  <c:v>-0.07599999999999996</c:v>
                </c:pt>
                <c:pt idx="3">
                  <c:v>-0.43700000000000006</c:v>
                </c:pt>
                <c:pt idx="4">
                  <c:v>0.532</c:v>
                </c:pt>
                <c:pt idx="5">
                  <c:v>0.0</c:v>
                </c:pt>
                <c:pt idx="6">
                  <c:v>0.08499999999999996</c:v>
                </c:pt>
                <c:pt idx="7">
                  <c:v>-0.03200000000000003</c:v>
                </c:pt>
                <c:pt idx="8">
                  <c:v>0.07699999999999996</c:v>
                </c:pt>
                <c:pt idx="9">
                  <c:v>0.07299999999999995</c:v>
                </c:pt>
                <c:pt idx="10">
                  <c:v>-0.053000000000000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Malard</c:v>
                </c:pt>
                <c:pt idx="3">
                  <c:v>Deutz</c:v>
                </c:pt>
                <c:pt idx="4">
                  <c:v>Canard Duchêne</c:v>
                </c:pt>
                <c:pt idx="5">
                  <c:v>Taittinger</c:v>
                </c:pt>
                <c:pt idx="6">
                  <c:v>Laurent Perrier</c:v>
                </c:pt>
                <c:pt idx="7">
                  <c:v>Nicolas Feuillatte</c:v>
                </c:pt>
                <c:pt idx="8">
                  <c:v>Ayala</c:v>
                </c:pt>
                <c:pt idx="9">
                  <c:v>De Bligny</c:v>
                </c:pt>
                <c:pt idx="10">
                  <c:v>Demoiselle</c:v>
                </c:pt>
              </c:strCache>
            </c:strRef>
          </c:cat>
          <c:val>
            <c:numRef>
              <c:f>Sheet1!$B$2:$B$12</c:f>
              <c:numCache>
                <c:formatCode>General</c:formatCode>
                <c:ptCount val="11"/>
                <c:pt idx="0">
                  <c:v>-0.14710184252039116</c:v>
                </c:pt>
                <c:pt idx="1">
                  <c:v>-0.5396923671256006</c:v>
                </c:pt>
                <c:pt idx="2">
                  <c:v>-0.34031691049387536</c:v>
                </c:pt>
                <c:pt idx="3">
                  <c:v>-0.3560515021097429</c:v>
                </c:pt>
                <c:pt idx="4">
                  <c:v>0.7531318633642985</c:v>
                </c:pt>
                <c:pt idx="5">
                  <c:v>-0.486693598788258</c:v>
                </c:pt>
                <c:pt idx="6">
                  <c:v>0.04539622333857496</c:v>
                </c:pt>
                <c:pt idx="7">
                  <c:v>-0.48709657611110724</c:v>
                </c:pt>
                <c:pt idx="8">
                  <c:v>-0.5142376463188246</c:v>
                </c:pt>
                <c:pt idx="9">
                  <c:v>0.2005705072626236</c:v>
                </c:pt>
                <c:pt idx="10">
                  <c:v>-0.431975410571330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De Bligny</c:v>
                </c:pt>
                <c:pt idx="7">
                  <c:v>Deutz</c:v>
                </c:pt>
                <c:pt idx="8">
                  <c:v>Taittinger</c:v>
                </c:pt>
                <c:pt idx="9">
                  <c:v>Demoiselle</c:v>
                </c:pt>
                <c:pt idx="10">
                  <c:v>Ayala</c:v>
                </c:pt>
              </c:strCache>
            </c:strRef>
          </c:cat>
          <c:val>
            <c:numRef>
              <c:f>Sheet1!$B$2:$B$12</c:f>
              <c:numCache>
                <c:formatCode>General</c:formatCode>
                <c:ptCount val="11"/>
                <c:pt idx="0">
                  <c:v>5.2</c:v>
                </c:pt>
                <c:pt idx="1">
                  <c:v>-0.06000000000000005</c:v>
                </c:pt>
                <c:pt idx="2">
                  <c:v>-0.07199999999999995</c:v>
                </c:pt>
                <c:pt idx="3">
                  <c:v>0.028999999999999915</c:v>
                </c:pt>
                <c:pt idx="4">
                  <c:v>0.0</c:v>
                </c:pt>
                <c:pt idx="5">
                  <c:v>0.7749999999999999</c:v>
                </c:pt>
                <c:pt idx="6">
                  <c:v>0.05600000000000005</c:v>
                </c:pt>
                <c:pt idx="7">
                  <c:v>-0.477</c:v>
                </c:pt>
                <c:pt idx="8">
                  <c:v>0.030999999999999917</c:v>
                </c:pt>
                <c:pt idx="9">
                  <c:v>-0.052000000000000046</c:v>
                </c:pt>
                <c:pt idx="10">
                  <c:v>-0.057000000000000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De Bligny</c:v>
                </c:pt>
                <c:pt idx="7">
                  <c:v>Deutz</c:v>
                </c:pt>
                <c:pt idx="8">
                  <c:v>Taittinger</c:v>
                </c:pt>
                <c:pt idx="9">
                  <c:v>Demoiselle</c:v>
                </c:pt>
                <c:pt idx="10">
                  <c:v>Ayala</c:v>
                </c:pt>
              </c:strCache>
            </c:strRef>
          </c:cat>
          <c:val>
            <c:numRef>
              <c:f>Sheet1!$B$2:$B$12</c:f>
              <c:numCache>
                <c:formatCode>General</c:formatCode>
                <c:ptCount val="11"/>
                <c:pt idx="0">
                  <c:v>-0.12199605163786909</c:v>
                </c:pt>
                <c:pt idx="1">
                  <c:v>-0.330199867957778</c:v>
                </c:pt>
                <c:pt idx="2">
                  <c:v>-0.6080316098256713</c:v>
                </c:pt>
                <c:pt idx="3">
                  <c:v>-0.30256054012478206</c:v>
                </c:pt>
                <c:pt idx="4">
                  <c:v>-0.08653314366003195</c:v>
                </c:pt>
                <c:pt idx="5">
                  <c:v>1.0837944236842163</c:v>
                </c:pt>
                <c:pt idx="6">
                  <c:v>0.44005367496364234</c:v>
                </c:pt>
                <c:pt idx="7">
                  <c:v>-0.2658756441814303</c:v>
                </c:pt>
                <c:pt idx="8">
                  <c:v>-0.4111655819045408</c:v>
                </c:pt>
                <c:pt idx="9">
                  <c:v>-0.4756691735134172</c:v>
                </c:pt>
                <c:pt idx="10">
                  <c:v>-0.7275257970879088</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Taittinger</c:v>
                </c:pt>
                <c:pt idx="7">
                  <c:v>Deutz</c:v>
                </c:pt>
                <c:pt idx="8">
                  <c:v>De Bligny</c:v>
                </c:pt>
                <c:pt idx="9">
                  <c:v>Demoiselle</c:v>
                </c:pt>
                <c:pt idx="10">
                  <c:v>Ayala</c:v>
                </c:pt>
              </c:strCache>
            </c:strRef>
          </c:cat>
          <c:val>
            <c:numRef>
              <c:f>Sheet1!$B$2:$B$12</c:f>
              <c:numCache>
                <c:formatCode>General</c:formatCode>
                <c:ptCount val="11"/>
                <c:pt idx="0">
                  <c:v>4.167</c:v>
                </c:pt>
                <c:pt idx="1">
                  <c:v>-0.05900000000000005</c:v>
                </c:pt>
                <c:pt idx="2">
                  <c:v>-0.052000000000000046</c:v>
                </c:pt>
                <c:pt idx="3">
                  <c:v>0.028999999999999915</c:v>
                </c:pt>
                <c:pt idx="4">
                  <c:v>-0.020000000000000018</c:v>
                </c:pt>
                <c:pt idx="5">
                  <c:v>0.8</c:v>
                </c:pt>
                <c:pt idx="6">
                  <c:v>0.062000000000000055</c:v>
                </c:pt>
                <c:pt idx="7">
                  <c:v>-0.512</c:v>
                </c:pt>
                <c:pt idx="8">
                  <c:v>0.07499999999999996</c:v>
                </c:pt>
                <c:pt idx="9">
                  <c:v>-0.052000000000000046</c:v>
                </c:pt>
                <c:pt idx="10">
                  <c:v>-0.03800000000000003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Taittinger</c:v>
                </c:pt>
                <c:pt idx="7">
                  <c:v>Deutz</c:v>
                </c:pt>
                <c:pt idx="8">
                  <c:v>De Bligny</c:v>
                </c:pt>
                <c:pt idx="9">
                  <c:v>Demoiselle</c:v>
                </c:pt>
                <c:pt idx="10">
                  <c:v>Ayala</c:v>
                </c:pt>
              </c:strCache>
            </c:strRef>
          </c:cat>
          <c:val>
            <c:numRef>
              <c:f>Sheet1!$B$2:$B$12</c:f>
              <c:numCache>
                <c:formatCode>General</c:formatCode>
                <c:ptCount val="11"/>
                <c:pt idx="0">
                  <c:v>-0.2417989833896066</c:v>
                </c:pt>
                <c:pt idx="1">
                  <c:v>-0.320185954750407</c:v>
                </c:pt>
                <c:pt idx="2">
                  <c:v>-0.5259835817606109</c:v>
                </c:pt>
                <c:pt idx="3">
                  <c:v>-0.2166742505152378</c:v>
                </c:pt>
                <c:pt idx="4">
                  <c:v>-0.044281936204250694</c:v>
                </c:pt>
                <c:pt idx="5">
                  <c:v>1.3108270552797072</c:v>
                </c:pt>
                <c:pt idx="6">
                  <c:v>-0.2844586466183616</c:v>
                </c:pt>
                <c:pt idx="7">
                  <c:v>-0.3758796315024132</c:v>
                </c:pt>
                <c:pt idx="8">
                  <c:v>1.170412570768372</c:v>
                </c:pt>
                <c:pt idx="9">
                  <c:v>-0.39907139750318765</c:v>
                </c:pt>
                <c:pt idx="10">
                  <c:v>-0.758421259400413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Patriarche</c:v>
                </c:pt>
                <c:pt idx="1">
                  <c:v>Bouvet-Ladubay</c:v>
                </c:pt>
                <c:pt idx="2">
                  <c:v>Bottega</c:v>
                </c:pt>
                <c:pt idx="3">
                  <c:v>Savian</c:v>
                </c:pt>
                <c:pt idx="4">
                  <c:v>Mure</c:v>
                </c:pt>
                <c:pt idx="5">
                  <c:v>De Chanceny</c:v>
                </c:pt>
                <c:pt idx="6">
                  <c:v>Chateau Moncontour</c:v>
                </c:pt>
                <c:pt idx="7">
                  <c:v>Contarini</c:v>
                </c:pt>
                <c:pt idx="8">
                  <c:v>Kriter</c:v>
                </c:pt>
              </c:strCache>
            </c:strRef>
          </c:cat>
          <c:val>
            <c:numRef>
              <c:f>Sheet1!$B$2:$B$10</c:f>
              <c:numCache>
                <c:formatCode>General</c:formatCode>
                <c:ptCount val="9"/>
                <c:pt idx="0">
                  <c:v>-0.038000000000000034</c:v>
                </c:pt>
                <c:pt idx="1">
                  <c:v>0.913</c:v>
                </c:pt>
                <c:pt idx="2">
                  <c:v>-0.136</c:v>
                </c:pt>
                <c:pt idx="3">
                  <c:v>0.5880000000000001</c:v>
                </c:pt>
                <c:pt idx="4">
                  <c:v>0.0</c:v>
                </c:pt>
                <c:pt idx="5">
                  <c:v>0.0</c:v>
                </c:pt>
                <c:pt idx="6">
                  <c:v>-0.775</c:v>
                </c:pt>
                <c:pt idx="7">
                  <c:v>0.0</c:v>
                </c:pt>
                <c:pt idx="8">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Patriarche</c:v>
                </c:pt>
                <c:pt idx="1">
                  <c:v>Bouvet-Ladubay</c:v>
                </c:pt>
                <c:pt idx="2">
                  <c:v>Bottega</c:v>
                </c:pt>
                <c:pt idx="3">
                  <c:v>Savian</c:v>
                </c:pt>
                <c:pt idx="4">
                  <c:v>Mure</c:v>
                </c:pt>
                <c:pt idx="5">
                  <c:v>De Chanceny</c:v>
                </c:pt>
                <c:pt idx="6">
                  <c:v>Chateau Moncontour</c:v>
                </c:pt>
                <c:pt idx="7">
                  <c:v>Contarini</c:v>
                </c:pt>
                <c:pt idx="8">
                  <c:v>Kriter</c:v>
                </c:pt>
              </c:strCache>
            </c:strRef>
          </c:cat>
          <c:val>
            <c:numRef>
              <c:f>Sheet1!$B$2:$B$10</c:f>
              <c:numCache>
                <c:formatCode>General</c:formatCode>
                <c:ptCount val="9"/>
                <c:pt idx="0">
                  <c:v>0.17742487604128732</c:v>
                </c:pt>
                <c:pt idx="1">
                  <c:v>-0.37119462546743875</c:v>
                </c:pt>
                <c:pt idx="2">
                  <c:v>-0.4618275882885855</c:v>
                </c:pt>
                <c:pt idx="3">
                  <c:v>1.7358762672492931</c:v>
                </c:pt>
                <c:pt idx="4">
                  <c:v>0.0</c:v>
                </c:pt>
                <c:pt idx="5">
                  <c:v>0.0</c:v>
                </c:pt>
                <c:pt idx="6">
                  <c:v>-0.621939976448667</c:v>
                </c:pt>
                <c:pt idx="7">
                  <c:v>0.0</c:v>
                </c:pt>
                <c:pt idx="8">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Taittinger</c:v>
                </c:pt>
                <c:pt idx="5">
                  <c:v>Canard Duchêne</c:v>
                </c:pt>
                <c:pt idx="6">
                  <c:v>Deutz</c:v>
                </c:pt>
                <c:pt idx="7">
                  <c:v>Laurent Perrier</c:v>
                </c:pt>
                <c:pt idx="8">
                  <c:v>Demoiselle</c:v>
                </c:pt>
                <c:pt idx="9">
                  <c:v>De Bligny</c:v>
                </c:pt>
                <c:pt idx="10">
                  <c:v>Roederer</c:v>
                </c:pt>
              </c:strCache>
            </c:strRef>
          </c:cat>
          <c:val>
            <c:numRef>
              <c:f>Sheet1!$B$2:$B$12</c:f>
              <c:numCache>
                <c:formatCode>General</c:formatCode>
                <c:ptCount val="11"/>
                <c:pt idx="0">
                  <c:v>5.4</c:v>
                </c:pt>
                <c:pt idx="1">
                  <c:v>-0.04600000000000004</c:v>
                </c:pt>
                <c:pt idx="2">
                  <c:v>-0.062000000000000055</c:v>
                </c:pt>
                <c:pt idx="3">
                  <c:v>0.07800000000000007</c:v>
                </c:pt>
                <c:pt idx="4">
                  <c:v>0.16100000000000003</c:v>
                </c:pt>
                <c:pt idx="5">
                  <c:v>0.7210000000000001</c:v>
                </c:pt>
                <c:pt idx="6">
                  <c:v>-0.469</c:v>
                </c:pt>
                <c:pt idx="7">
                  <c:v>0.040999999999999925</c:v>
                </c:pt>
                <c:pt idx="8">
                  <c:v>-0.014000000000000012</c:v>
                </c:pt>
                <c:pt idx="9">
                  <c:v>0.2390000000000001</c:v>
                </c:pt>
                <c:pt idx="10">
                  <c:v>4.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Taittinger</c:v>
                </c:pt>
                <c:pt idx="5">
                  <c:v>Canard Duchêne</c:v>
                </c:pt>
                <c:pt idx="6">
                  <c:v>Deutz</c:v>
                </c:pt>
                <c:pt idx="7">
                  <c:v>Laurent Perrier</c:v>
                </c:pt>
                <c:pt idx="8">
                  <c:v>Demoiselle</c:v>
                </c:pt>
                <c:pt idx="9">
                  <c:v>De Bligny</c:v>
                </c:pt>
                <c:pt idx="10">
                  <c:v>Roederer</c:v>
                </c:pt>
              </c:strCache>
            </c:strRef>
          </c:cat>
          <c:val>
            <c:numRef>
              <c:f>Sheet1!$B$2:$B$12</c:f>
              <c:numCache>
                <c:formatCode>General</c:formatCode>
                <c:ptCount val="11"/>
                <c:pt idx="0">
                  <c:v>0.0535412385635774</c:v>
                </c:pt>
                <c:pt idx="1">
                  <c:v>-0.1998113547594893</c:v>
                </c:pt>
                <c:pt idx="2">
                  <c:v>-0.6880453810665155</c:v>
                </c:pt>
                <c:pt idx="3">
                  <c:v>-0.0632582655504309</c:v>
                </c:pt>
                <c:pt idx="4">
                  <c:v>0.176826072125722</c:v>
                </c:pt>
                <c:pt idx="5">
                  <c:v>0.38366657860701414</c:v>
                </c:pt>
                <c:pt idx="6">
                  <c:v>-0.5264998552096559</c:v>
                </c:pt>
                <c:pt idx="7">
                  <c:v>-0.08133880694062212</c:v>
                </c:pt>
                <c:pt idx="8">
                  <c:v>-0.1975388367978257</c:v>
                </c:pt>
                <c:pt idx="9">
                  <c:v>0.6947582857019781</c:v>
                </c:pt>
                <c:pt idx="10">
                  <c:v>0.7462113067501208</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20000000000000018</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Malard</c:v>
                </c:pt>
                <c:pt idx="4">
                  <c:v>Deutz</c:v>
                </c:pt>
                <c:pt idx="5">
                  <c:v>Nicolas Feuillatte</c:v>
                </c:pt>
                <c:pt idx="6">
                  <c:v>Taittinger</c:v>
                </c:pt>
                <c:pt idx="7">
                  <c:v>Canard Duchêne</c:v>
                </c:pt>
                <c:pt idx="8">
                  <c:v>Demoiselle</c:v>
                </c:pt>
                <c:pt idx="9">
                  <c:v>De Bligny</c:v>
                </c:pt>
                <c:pt idx="10">
                  <c:v>Roederer</c:v>
                </c:pt>
              </c:strCache>
            </c:strRef>
          </c:cat>
          <c:val>
            <c:numRef>
              <c:f>Sheet1!$B$2:$B$12</c:f>
              <c:numCache>
                <c:formatCode>General</c:formatCode>
                <c:ptCount val="11"/>
                <c:pt idx="0">
                  <c:v>4.833</c:v>
                </c:pt>
                <c:pt idx="1">
                  <c:v>-0.02100000000000002</c:v>
                </c:pt>
                <c:pt idx="2">
                  <c:v>-0.020000000000000018</c:v>
                </c:pt>
                <c:pt idx="3">
                  <c:v>-0.015000000000000013</c:v>
                </c:pt>
                <c:pt idx="4">
                  <c:v>-0.46799999999999997</c:v>
                </c:pt>
                <c:pt idx="5">
                  <c:v>0.014999999999999902</c:v>
                </c:pt>
                <c:pt idx="6">
                  <c:v>0.11299999999999999</c:v>
                </c:pt>
                <c:pt idx="7">
                  <c:v>0.7749999999999999</c:v>
                </c:pt>
                <c:pt idx="8">
                  <c:v>-0.039000000000000035</c:v>
                </c:pt>
                <c:pt idx="9">
                  <c:v>0.05499999999999994</c:v>
                </c:pt>
                <c:pt idx="10">
                  <c:v>3.40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Malard</c:v>
                </c:pt>
                <c:pt idx="4">
                  <c:v>Deutz</c:v>
                </c:pt>
                <c:pt idx="5">
                  <c:v>Nicolas Feuillatte</c:v>
                </c:pt>
                <c:pt idx="6">
                  <c:v>Taittinger</c:v>
                </c:pt>
                <c:pt idx="7">
                  <c:v>Canard Duchêne</c:v>
                </c:pt>
                <c:pt idx="8">
                  <c:v>Demoiselle</c:v>
                </c:pt>
                <c:pt idx="9">
                  <c:v>De Bligny</c:v>
                </c:pt>
                <c:pt idx="10">
                  <c:v>Roederer</c:v>
                </c:pt>
              </c:strCache>
            </c:strRef>
          </c:cat>
          <c:val>
            <c:numRef>
              <c:f>Sheet1!$B$2:$B$12</c:f>
              <c:numCache>
                <c:formatCode>General</c:formatCode>
                <c:ptCount val="11"/>
                <c:pt idx="0">
                  <c:v>-0.12292706591785219</c:v>
                </c:pt>
                <c:pt idx="1">
                  <c:v>-0.10666322714777476</c:v>
                </c:pt>
                <c:pt idx="2">
                  <c:v>-0.2341786234317509</c:v>
                </c:pt>
                <c:pt idx="3">
                  <c:v>-0.2857877866669978</c:v>
                </c:pt>
                <c:pt idx="4">
                  <c:v>-0.21222201610089875</c:v>
                </c:pt>
                <c:pt idx="5">
                  <c:v>0.04236194830063522</c:v>
                </c:pt>
                <c:pt idx="6">
                  <c:v>0.09024024492540228</c:v>
                </c:pt>
                <c:pt idx="7">
                  <c:v>1.302506933093892</c:v>
                </c:pt>
                <c:pt idx="8">
                  <c:v>-0.1862997576342198</c:v>
                </c:pt>
                <c:pt idx="9">
                  <c:v>0.5117619657209043</c:v>
                </c:pt>
                <c:pt idx="10">
                  <c:v>3.050671464155825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842488374609110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Malard</c:v>
                </c:pt>
                <c:pt idx="3">
                  <c:v>De Bligny</c:v>
                </c:pt>
                <c:pt idx="4">
                  <c:v>Canard Duchêne</c:v>
                </c:pt>
                <c:pt idx="5">
                  <c:v>Deutz</c:v>
                </c:pt>
                <c:pt idx="6">
                  <c:v>Ayala</c:v>
                </c:pt>
                <c:pt idx="7">
                  <c:v>Nicolas Feuillatte</c:v>
                </c:pt>
                <c:pt idx="8">
                  <c:v>Demoiselle</c:v>
                </c:pt>
                <c:pt idx="9">
                  <c:v>Laurent Perrier</c:v>
                </c:pt>
                <c:pt idx="10">
                  <c:v>Taittinger</c:v>
                </c:pt>
              </c:strCache>
            </c:strRef>
          </c:cat>
          <c:val>
            <c:numRef>
              <c:f>Sheet1!$B$2:$B$12</c:f>
              <c:numCache>
                <c:formatCode>General</c:formatCode>
                <c:ptCount val="11"/>
                <c:pt idx="0">
                  <c:v>5.167</c:v>
                </c:pt>
                <c:pt idx="1">
                  <c:v>-0.031000000000000028</c:v>
                </c:pt>
                <c:pt idx="2">
                  <c:v>-0.08599999999999997</c:v>
                </c:pt>
                <c:pt idx="3">
                  <c:v>0.3640000000000001</c:v>
                </c:pt>
                <c:pt idx="4">
                  <c:v>0.974</c:v>
                </c:pt>
                <c:pt idx="5">
                  <c:v>-0.476</c:v>
                </c:pt>
                <c:pt idx="6">
                  <c:v>-0.121</c:v>
                </c:pt>
                <c:pt idx="7">
                  <c:v>0.0</c:v>
                </c:pt>
                <c:pt idx="8">
                  <c:v>-0.049000000000000044</c:v>
                </c:pt>
                <c:pt idx="9">
                  <c:v>-0.08699999999999997</c:v>
                </c:pt>
                <c:pt idx="10">
                  <c:v>0.112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Malard</c:v>
                </c:pt>
                <c:pt idx="3">
                  <c:v>De Bligny</c:v>
                </c:pt>
                <c:pt idx="4">
                  <c:v>Canard Duchêne</c:v>
                </c:pt>
                <c:pt idx="5">
                  <c:v>Deutz</c:v>
                </c:pt>
                <c:pt idx="6">
                  <c:v>Ayala</c:v>
                </c:pt>
                <c:pt idx="7">
                  <c:v>Nicolas Feuillatte</c:v>
                </c:pt>
                <c:pt idx="8">
                  <c:v>Demoiselle</c:v>
                </c:pt>
                <c:pt idx="9">
                  <c:v>Laurent Perrier</c:v>
                </c:pt>
                <c:pt idx="10">
                  <c:v>Taittinger</c:v>
                </c:pt>
              </c:strCache>
            </c:strRef>
          </c:cat>
          <c:val>
            <c:numRef>
              <c:f>Sheet1!$B$2:$B$12</c:f>
              <c:numCache>
                <c:formatCode>General</c:formatCode>
                <c:ptCount val="11"/>
                <c:pt idx="0">
                  <c:v>-0.39756792933964225</c:v>
                </c:pt>
                <c:pt idx="1">
                  <c:v>-0.2744843925853456</c:v>
                </c:pt>
                <c:pt idx="2">
                  <c:v>-0.2571564983279626</c:v>
                </c:pt>
                <c:pt idx="3">
                  <c:v>2.7614604023820366</c:v>
                </c:pt>
                <c:pt idx="4">
                  <c:v>1.0401870311455115</c:v>
                </c:pt>
                <c:pt idx="5">
                  <c:v>-0.1912469390838074</c:v>
                </c:pt>
                <c:pt idx="6">
                  <c:v>-0.7687066773719603</c:v>
                </c:pt>
                <c:pt idx="7">
                  <c:v>-0.30989511609818454</c:v>
                </c:pt>
                <c:pt idx="8">
                  <c:v>-0.18089459353642812</c:v>
                </c:pt>
                <c:pt idx="9">
                  <c:v>-0.10800120197288765</c:v>
                </c:pt>
                <c:pt idx="10">
                  <c:v>0.03084881349481172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Patriarche</c:v>
                </c:pt>
                <c:pt idx="1">
                  <c:v>Bottega</c:v>
                </c:pt>
                <c:pt idx="2">
                  <c:v>Bouvet-Ladubay</c:v>
                </c:pt>
                <c:pt idx="3">
                  <c:v>Savian</c:v>
                </c:pt>
                <c:pt idx="4">
                  <c:v>De Chanceny</c:v>
                </c:pt>
                <c:pt idx="5">
                  <c:v>Chateau Moncontour</c:v>
                </c:pt>
                <c:pt idx="6">
                  <c:v>Mure</c:v>
                </c:pt>
                <c:pt idx="7">
                  <c:v>Cru La Maqueline</c:v>
                </c:pt>
                <c:pt idx="8">
                  <c:v>Contarini</c:v>
                </c:pt>
                <c:pt idx="9">
                  <c:v>Kriter</c:v>
                </c:pt>
              </c:strCache>
            </c:strRef>
          </c:cat>
          <c:val>
            <c:numRef>
              <c:f>Sheet1!$B$2:$B$11</c:f>
              <c:numCache>
                <c:formatCode>General</c:formatCode>
                <c:ptCount val="10"/>
                <c:pt idx="0">
                  <c:v>0.020000000000000018</c:v>
                </c:pt>
                <c:pt idx="1">
                  <c:v>-0.05300000000000005</c:v>
                </c:pt>
                <c:pt idx="2">
                  <c:v>0.4570000000000001</c:v>
                </c:pt>
                <c:pt idx="3">
                  <c:v>0.3680000000000001</c:v>
                </c:pt>
                <c:pt idx="4">
                  <c:v>0.0</c:v>
                </c:pt>
                <c:pt idx="5">
                  <c:v>-0.585</c:v>
                </c:pt>
                <c:pt idx="6">
                  <c:v>0.0</c:v>
                </c:pt>
                <c:pt idx="7">
                  <c:v>-0.71</c:v>
                </c:pt>
                <c:pt idx="8">
                  <c:v>0.0</c:v>
                </c:pt>
                <c:pt idx="9">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Patriarche</c:v>
                </c:pt>
                <c:pt idx="1">
                  <c:v>Bottega</c:v>
                </c:pt>
                <c:pt idx="2">
                  <c:v>Bouvet-Ladubay</c:v>
                </c:pt>
                <c:pt idx="3">
                  <c:v>Savian</c:v>
                </c:pt>
                <c:pt idx="4">
                  <c:v>De Chanceny</c:v>
                </c:pt>
                <c:pt idx="5">
                  <c:v>Chateau Moncontour</c:v>
                </c:pt>
                <c:pt idx="6">
                  <c:v>Mure</c:v>
                </c:pt>
                <c:pt idx="7">
                  <c:v>Cru La Maqueline</c:v>
                </c:pt>
                <c:pt idx="8">
                  <c:v>Contarini</c:v>
                </c:pt>
                <c:pt idx="9">
                  <c:v>Kriter</c:v>
                </c:pt>
              </c:strCache>
            </c:strRef>
          </c:cat>
          <c:val>
            <c:numRef>
              <c:f>Sheet1!$B$2:$B$11</c:f>
              <c:numCache>
                <c:formatCode>General</c:formatCode>
                <c:ptCount val="10"/>
                <c:pt idx="0">
                  <c:v>0.5062067521337037</c:v>
                </c:pt>
                <c:pt idx="1">
                  <c:v>-0.2700357596820312</c:v>
                </c:pt>
                <c:pt idx="2">
                  <c:v>-0.5964978130617709</c:v>
                </c:pt>
                <c:pt idx="3">
                  <c:v>0.5840221160228083</c:v>
                </c:pt>
                <c:pt idx="4">
                  <c:v>0.0</c:v>
                </c:pt>
                <c:pt idx="5">
                  <c:v>0.23444633210158616</c:v>
                </c:pt>
                <c:pt idx="6">
                  <c:v>0.0</c:v>
                </c:pt>
                <c:pt idx="7">
                  <c:v>-0.530514264393825</c:v>
                </c:pt>
                <c:pt idx="8">
                  <c:v>0.0</c:v>
                </c:pt>
                <c:pt idx="9">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3"/>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Laurent Perrier</c:v>
                </c:pt>
                <c:pt idx="4">
                  <c:v>Nicolas Feuillatte</c:v>
                </c:pt>
                <c:pt idx="5">
                  <c:v>Canard Duchêne</c:v>
                </c:pt>
                <c:pt idx="6">
                  <c:v>Deutz</c:v>
                </c:pt>
                <c:pt idx="7">
                  <c:v>Taittinger</c:v>
                </c:pt>
                <c:pt idx="8">
                  <c:v>Demoiselle</c:v>
                </c:pt>
                <c:pt idx="9">
                  <c:v>Ayala</c:v>
                </c:pt>
                <c:pt idx="10">
                  <c:v>De Bligny</c:v>
                </c:pt>
              </c:strCache>
            </c:strRef>
          </c:cat>
          <c:val>
            <c:numRef>
              <c:f>Sheet1!$B$2:$B$12</c:f>
              <c:numCache>
                <c:formatCode>General</c:formatCode>
                <c:ptCount val="11"/>
                <c:pt idx="0">
                  <c:v>4.167</c:v>
                </c:pt>
                <c:pt idx="1">
                  <c:v>-0.029000000000000026</c:v>
                </c:pt>
                <c:pt idx="2">
                  <c:v>-0.062000000000000055</c:v>
                </c:pt>
                <c:pt idx="3">
                  <c:v>0.0</c:v>
                </c:pt>
                <c:pt idx="4">
                  <c:v>0.04299999999999993</c:v>
                </c:pt>
                <c:pt idx="5">
                  <c:v>0.921</c:v>
                </c:pt>
                <c:pt idx="6">
                  <c:v>-0.556</c:v>
                </c:pt>
                <c:pt idx="7">
                  <c:v>0.014999999999999902</c:v>
                </c:pt>
                <c:pt idx="8">
                  <c:v>-0.039000000000000035</c:v>
                </c:pt>
                <c:pt idx="9">
                  <c:v>-0.019000000000000017</c:v>
                </c:pt>
                <c:pt idx="10">
                  <c:v>0.0589999999999999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Laurent Perrier</c:v>
                </c:pt>
                <c:pt idx="4">
                  <c:v>Nicolas Feuillatte</c:v>
                </c:pt>
                <c:pt idx="5">
                  <c:v>Canard Duchêne</c:v>
                </c:pt>
                <c:pt idx="6">
                  <c:v>Deutz</c:v>
                </c:pt>
                <c:pt idx="7">
                  <c:v>Taittinger</c:v>
                </c:pt>
                <c:pt idx="8">
                  <c:v>Demoiselle</c:v>
                </c:pt>
                <c:pt idx="9">
                  <c:v>Ayala</c:v>
                </c:pt>
                <c:pt idx="10">
                  <c:v>De Bligny</c:v>
                </c:pt>
              </c:strCache>
            </c:strRef>
          </c:cat>
          <c:val>
            <c:numRef>
              <c:f>Sheet1!$B$2:$B$12</c:f>
              <c:numCache>
                <c:formatCode>General</c:formatCode>
                <c:ptCount val="11"/>
                <c:pt idx="0">
                  <c:v>-0.22238112745715366</c:v>
                </c:pt>
                <c:pt idx="1">
                  <c:v>-0.13171722040375877</c:v>
                </c:pt>
                <c:pt idx="2">
                  <c:v>-0.6495558957036374</c:v>
                </c:pt>
                <c:pt idx="3">
                  <c:v>0.1731691493041534</c:v>
                </c:pt>
                <c:pt idx="4">
                  <c:v>-0.09639459152560148</c:v>
                </c:pt>
                <c:pt idx="5">
                  <c:v>1.5199037853175157</c:v>
                </c:pt>
                <c:pt idx="6">
                  <c:v>-0.38542011090899053</c:v>
                </c:pt>
                <c:pt idx="7">
                  <c:v>-0.3403818713243192</c:v>
                </c:pt>
                <c:pt idx="8">
                  <c:v>-0.3720535519514454</c:v>
                </c:pt>
                <c:pt idx="9">
                  <c:v>-0.7529715224211118</c:v>
                </c:pt>
                <c:pt idx="10">
                  <c:v>1.93240636914089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3819999999999999</c:v>
                </c:pt>
                <c:pt idx="1">
                  <c:v>0.0</c:v>
                </c:pt>
                <c:pt idx="2">
                  <c:v>-0.683</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Patriarche</c:v>
                </c:pt>
                <c:pt idx="1">
                  <c:v>Bouvet-Ladubay</c:v>
                </c:pt>
                <c:pt idx="2">
                  <c:v>Bottega</c:v>
                </c:pt>
                <c:pt idx="3">
                  <c:v>Savian</c:v>
                </c:pt>
                <c:pt idx="4">
                  <c:v>De Chanceny</c:v>
                </c:pt>
                <c:pt idx="5">
                  <c:v>Mure</c:v>
                </c:pt>
                <c:pt idx="6">
                  <c:v>Chateau Moncontour</c:v>
                </c:pt>
                <c:pt idx="7">
                  <c:v>Cru La Maqueline</c:v>
                </c:pt>
                <c:pt idx="8">
                  <c:v>Contarini</c:v>
                </c:pt>
                <c:pt idx="9">
                  <c:v>Kriter</c:v>
                </c:pt>
              </c:strCache>
            </c:strRef>
          </c:cat>
          <c:val>
            <c:numRef>
              <c:f>Sheet1!$B$2:$B$11</c:f>
              <c:numCache>
                <c:formatCode>General</c:formatCode>
                <c:ptCount val="10"/>
                <c:pt idx="0">
                  <c:v>0.038999999999999924</c:v>
                </c:pt>
                <c:pt idx="1">
                  <c:v>0.21599999999999997</c:v>
                </c:pt>
                <c:pt idx="2">
                  <c:v>0.0</c:v>
                </c:pt>
                <c:pt idx="3">
                  <c:v>0.381</c:v>
                </c:pt>
                <c:pt idx="4">
                  <c:v>0.0</c:v>
                </c:pt>
                <c:pt idx="5">
                  <c:v>0.0</c:v>
                </c:pt>
                <c:pt idx="6">
                  <c:v>-0.667</c:v>
                </c:pt>
                <c:pt idx="7">
                  <c:v>-0.7070000000000001</c:v>
                </c:pt>
                <c:pt idx="8">
                  <c:v>0.0</c:v>
                </c:pt>
                <c:pt idx="9">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Patriarche</c:v>
                </c:pt>
                <c:pt idx="1">
                  <c:v>Bouvet-Ladubay</c:v>
                </c:pt>
                <c:pt idx="2">
                  <c:v>Bottega</c:v>
                </c:pt>
                <c:pt idx="3">
                  <c:v>Savian</c:v>
                </c:pt>
                <c:pt idx="4">
                  <c:v>De Chanceny</c:v>
                </c:pt>
                <c:pt idx="5">
                  <c:v>Mure</c:v>
                </c:pt>
                <c:pt idx="6">
                  <c:v>Chateau Moncontour</c:v>
                </c:pt>
                <c:pt idx="7">
                  <c:v>Cru La Maqueline</c:v>
                </c:pt>
                <c:pt idx="8">
                  <c:v>Contarini</c:v>
                </c:pt>
                <c:pt idx="9">
                  <c:v>Kriter</c:v>
                </c:pt>
              </c:strCache>
            </c:strRef>
          </c:cat>
          <c:val>
            <c:numRef>
              <c:f>Sheet1!$B$2:$B$11</c:f>
              <c:numCache>
                <c:formatCode>General</c:formatCode>
                <c:ptCount val="10"/>
                <c:pt idx="0">
                  <c:v>1.011237198636405</c:v>
                </c:pt>
                <c:pt idx="1">
                  <c:v>-0.7773346528889132</c:v>
                </c:pt>
                <c:pt idx="2">
                  <c:v>0.14545372366128495</c:v>
                </c:pt>
                <c:pt idx="3">
                  <c:v>0.4132606984109046</c:v>
                </c:pt>
                <c:pt idx="4">
                  <c:v>0.0</c:v>
                </c:pt>
                <c:pt idx="5">
                  <c:v>0.0</c:v>
                </c:pt>
                <c:pt idx="6">
                  <c:v>-0.42514014784048826</c:v>
                </c:pt>
                <c:pt idx="7">
                  <c:v>-0.3553799890871343</c:v>
                </c:pt>
                <c:pt idx="8">
                  <c:v>0.0</c:v>
                </c:pt>
                <c:pt idx="9">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De Bligny</c:v>
                </c:pt>
                <c:pt idx="7">
                  <c:v>Deutz</c:v>
                </c:pt>
                <c:pt idx="8">
                  <c:v>Taittinger</c:v>
                </c:pt>
                <c:pt idx="9">
                  <c:v>Demoiselle</c:v>
                </c:pt>
                <c:pt idx="10">
                  <c:v>Ayala</c:v>
                </c:pt>
              </c:strCache>
            </c:strRef>
          </c:cat>
          <c:val>
            <c:numRef>
              <c:f>Sheet1!$B$2:$B$12</c:f>
              <c:numCache>
                <c:formatCode>General</c:formatCode>
                <c:ptCount val="11"/>
                <c:pt idx="0">
                  <c:v>5.2</c:v>
                </c:pt>
                <c:pt idx="1">
                  <c:v>-0.06000000000000005</c:v>
                </c:pt>
                <c:pt idx="2">
                  <c:v>-0.07199999999999995</c:v>
                </c:pt>
                <c:pt idx="3">
                  <c:v>0.028999999999999915</c:v>
                </c:pt>
                <c:pt idx="4">
                  <c:v>0.0</c:v>
                </c:pt>
                <c:pt idx="5">
                  <c:v>0.7749999999999999</c:v>
                </c:pt>
                <c:pt idx="6">
                  <c:v>0.05600000000000005</c:v>
                </c:pt>
                <c:pt idx="7">
                  <c:v>-0.477</c:v>
                </c:pt>
                <c:pt idx="8">
                  <c:v>0.030999999999999917</c:v>
                </c:pt>
                <c:pt idx="9">
                  <c:v>-0.052000000000000046</c:v>
                </c:pt>
                <c:pt idx="10">
                  <c:v>-0.057000000000000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Malard</c:v>
                </c:pt>
                <c:pt idx="2">
                  <c:v>Heidsieck &amp; Co Monopole</c:v>
                </c:pt>
                <c:pt idx="3">
                  <c:v>Nicolas Feuillatte</c:v>
                </c:pt>
                <c:pt idx="4">
                  <c:v>Laurent Perrier</c:v>
                </c:pt>
                <c:pt idx="5">
                  <c:v>Canard Duchêne</c:v>
                </c:pt>
                <c:pt idx="6">
                  <c:v>De Bligny</c:v>
                </c:pt>
                <c:pt idx="7">
                  <c:v>Deutz</c:v>
                </c:pt>
                <c:pt idx="8">
                  <c:v>Taittinger</c:v>
                </c:pt>
                <c:pt idx="9">
                  <c:v>Demoiselle</c:v>
                </c:pt>
                <c:pt idx="10">
                  <c:v>Ayala</c:v>
                </c:pt>
              </c:strCache>
            </c:strRef>
          </c:cat>
          <c:val>
            <c:numRef>
              <c:f>Sheet1!$B$2:$B$12</c:f>
              <c:numCache>
                <c:formatCode>General</c:formatCode>
                <c:ptCount val="11"/>
                <c:pt idx="0">
                  <c:v>-0.12199605163786909</c:v>
                </c:pt>
                <c:pt idx="1">
                  <c:v>-0.330199867957778</c:v>
                </c:pt>
                <c:pt idx="2">
                  <c:v>-0.6080316098256713</c:v>
                </c:pt>
                <c:pt idx="3">
                  <c:v>-0.30256054012478206</c:v>
                </c:pt>
                <c:pt idx="4">
                  <c:v>-0.08653314366003195</c:v>
                </c:pt>
                <c:pt idx="5">
                  <c:v>1.0837944236842163</c:v>
                </c:pt>
                <c:pt idx="6">
                  <c:v>0.44005367496364234</c:v>
                </c:pt>
                <c:pt idx="7">
                  <c:v>-0.2658756441814303</c:v>
                </c:pt>
                <c:pt idx="8">
                  <c:v>-0.4111655819045408</c:v>
                </c:pt>
                <c:pt idx="9">
                  <c:v>-0.4756691735134172</c:v>
                </c:pt>
                <c:pt idx="10">
                  <c:v>-0.7275257970879088</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6730541291719726</c:v>
                </c:pt>
                <c:pt idx="1">
                  <c:v>0.0</c:v>
                </c:pt>
                <c:pt idx="2">
                  <c:v>-0.380115135149365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Perrier Jouet</c:v>
                </c:pt>
                <c:pt idx="8">
                  <c:v>Ruinart</c:v>
                </c:pt>
                <c:pt idx="9">
                  <c:v>Deutz</c:v>
                </c:pt>
                <c:pt idx="10">
                  <c:v>Taittinger</c:v>
                </c:pt>
              </c:strCache>
            </c:strRef>
          </c:cat>
          <c:val>
            <c:numRef>
              <c:f>Sheet1!$B$2:$B$12</c:f>
              <c:numCache>
                <c:formatCode>General</c:formatCode>
                <c:ptCount val="11"/>
                <c:pt idx="0">
                  <c:v>0.1080000000000001</c:v>
                </c:pt>
                <c:pt idx="1">
                  <c:v>0.028999999999999915</c:v>
                </c:pt>
                <c:pt idx="2">
                  <c:v>1.061</c:v>
                </c:pt>
                <c:pt idx="3">
                  <c:v>-0.23199999999999998</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Perrier Jouet</c:v>
                </c:pt>
                <c:pt idx="8">
                  <c:v>Ruinart</c:v>
                </c:pt>
                <c:pt idx="9">
                  <c:v>Deutz</c:v>
                </c:pt>
                <c:pt idx="10">
                  <c:v>Taittinger</c:v>
                </c:pt>
              </c:strCache>
            </c:strRef>
          </c:cat>
          <c:val>
            <c:numRef>
              <c:f>Sheet1!$B$2:$B$12</c:f>
              <c:numCache>
                <c:formatCode>General</c:formatCode>
                <c:ptCount val="11"/>
                <c:pt idx="0">
                  <c:v>-0.14694900643636222</c:v>
                </c:pt>
                <c:pt idx="1">
                  <c:v>-0.03440606212640096</c:v>
                </c:pt>
                <c:pt idx="2">
                  <c:v>-0.39528404591358957</c:v>
                </c:pt>
                <c:pt idx="3">
                  <c:v>-0.4618494674759478</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026999999999999913</c:v>
                </c:pt>
                <c:pt idx="1">
                  <c:v>-0.55</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21111596796348597</c:v>
                </c:pt>
                <c:pt idx="1">
                  <c:v>-0.961540795653406</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Malard</c:v>
                </c:pt>
                <c:pt idx="2">
                  <c:v>Roederer</c:v>
                </c:pt>
                <c:pt idx="3">
                  <c:v>Ruinart</c:v>
                </c:pt>
                <c:pt idx="4">
                  <c:v>Pommery</c:v>
                </c:pt>
                <c:pt idx="5">
                  <c:v>Piper Heidsieck</c:v>
                </c:pt>
                <c:pt idx="6">
                  <c:v>Laurent Perrier</c:v>
                </c:pt>
                <c:pt idx="7">
                  <c:v>Bollinger</c:v>
                </c:pt>
                <c:pt idx="8">
                  <c:v>Veuve Clicquot</c:v>
                </c:pt>
              </c:strCache>
            </c:strRef>
          </c:cat>
          <c:val>
            <c:numRef>
              <c:f>Sheet1!$B$2:$B$10</c:f>
              <c:numCache>
                <c:formatCode>General</c:formatCode>
                <c:ptCount val="9"/>
                <c:pt idx="0">
                  <c:v>9.333</c:v>
                </c:pt>
                <c:pt idx="1">
                  <c:v>0.16700000000000004</c:v>
                </c:pt>
                <c:pt idx="2">
                  <c:v>4.167</c:v>
                </c:pt>
                <c:pt idx="3">
                  <c:v>11.5</c:v>
                </c:pt>
                <c:pt idx="4">
                  <c:v>-0.30600000000000005</c:v>
                </c:pt>
                <c:pt idx="5">
                  <c:v>0.0</c:v>
                </c:pt>
                <c:pt idx="6">
                  <c:v>0.0</c:v>
                </c:pt>
                <c:pt idx="7">
                  <c:v>0.0</c:v>
                </c:pt>
                <c:pt idx="8">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Malard</c:v>
                </c:pt>
                <c:pt idx="2">
                  <c:v>Roederer</c:v>
                </c:pt>
                <c:pt idx="3">
                  <c:v>Ruinart</c:v>
                </c:pt>
                <c:pt idx="4">
                  <c:v>Pommery</c:v>
                </c:pt>
                <c:pt idx="5">
                  <c:v>Piper Heidsieck</c:v>
                </c:pt>
                <c:pt idx="6">
                  <c:v>Laurent Perrier</c:v>
                </c:pt>
                <c:pt idx="7">
                  <c:v>Bollinger</c:v>
                </c:pt>
                <c:pt idx="8">
                  <c:v>Veuve Clicquot</c:v>
                </c:pt>
              </c:strCache>
            </c:strRef>
          </c:cat>
          <c:val>
            <c:numRef>
              <c:f>Sheet1!$B$2:$B$10</c:f>
              <c:numCache>
                <c:formatCode>General</c:formatCode>
                <c:ptCount val="9"/>
                <c:pt idx="0">
                  <c:v>2.189721948284012</c:v>
                </c:pt>
                <c:pt idx="1">
                  <c:v>0.7656556125562468</c:v>
                </c:pt>
                <c:pt idx="2">
                  <c:v>1.7250236364562634</c:v>
                </c:pt>
                <c:pt idx="3">
                  <c:v>3.3360669605183872</c:v>
                </c:pt>
                <c:pt idx="4">
                  <c:v>-0.5089769300004736</c:v>
                </c:pt>
                <c:pt idx="5">
                  <c:v>0.0</c:v>
                </c:pt>
                <c:pt idx="6">
                  <c:v>0.0</c:v>
                </c:pt>
                <c:pt idx="7">
                  <c:v>0.0</c:v>
                </c:pt>
                <c:pt idx="8">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4000000000000003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007658792172933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0.6779999999999999</c:v>
                </c:pt>
                <c:pt idx="1">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0.41996156435663623</c:v>
                </c:pt>
                <c:pt idx="1">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Canard Duchêne</c:v>
                </c:pt>
                <c:pt idx="3">
                  <c:v>Laurent Perrier</c:v>
                </c:pt>
                <c:pt idx="4">
                  <c:v>Taittinger</c:v>
                </c:pt>
                <c:pt idx="5">
                  <c:v>De Bligny</c:v>
                </c:pt>
                <c:pt idx="6">
                  <c:v>Demoiselle</c:v>
                </c:pt>
                <c:pt idx="7">
                  <c:v>Ayala</c:v>
                </c:pt>
                <c:pt idx="8">
                  <c:v>Deutz</c:v>
                </c:pt>
                <c:pt idx="9">
                  <c:v>Bollinger</c:v>
                </c:pt>
                <c:pt idx="10">
                  <c:v>Roederer</c:v>
                </c:pt>
              </c:strCache>
            </c:strRef>
          </c:cat>
          <c:val>
            <c:numRef>
              <c:f>Sheet1!$B$2:$B$12</c:f>
              <c:numCache>
                <c:formatCode>General</c:formatCode>
                <c:ptCount val="11"/>
                <c:pt idx="0">
                  <c:v>3.556</c:v>
                </c:pt>
                <c:pt idx="1">
                  <c:v>-0.062000000000000055</c:v>
                </c:pt>
                <c:pt idx="2">
                  <c:v>0.897</c:v>
                </c:pt>
                <c:pt idx="3">
                  <c:v>-0.08099999999999996</c:v>
                </c:pt>
                <c:pt idx="4">
                  <c:v>0.04400000000000004</c:v>
                </c:pt>
                <c:pt idx="5">
                  <c:v>0.12200000000000011</c:v>
                </c:pt>
                <c:pt idx="6">
                  <c:v>0.0129999999999999</c:v>
                </c:pt>
                <c:pt idx="7">
                  <c:v>-0.10199999999999998</c:v>
                </c:pt>
                <c:pt idx="8">
                  <c:v>-0.5349999999999999</c:v>
                </c:pt>
                <c:pt idx="9">
                  <c:v>0.1180000000000001</c:v>
                </c:pt>
                <c:pt idx="10">
                  <c:v>4.44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Canard Duchêne</c:v>
                </c:pt>
                <c:pt idx="3">
                  <c:v>Laurent Perrier</c:v>
                </c:pt>
                <c:pt idx="4">
                  <c:v>Taittinger</c:v>
                </c:pt>
                <c:pt idx="5">
                  <c:v>De Bligny</c:v>
                </c:pt>
                <c:pt idx="6">
                  <c:v>Demoiselle</c:v>
                </c:pt>
                <c:pt idx="7">
                  <c:v>Ayala</c:v>
                </c:pt>
                <c:pt idx="8">
                  <c:v>Deutz</c:v>
                </c:pt>
                <c:pt idx="9">
                  <c:v>Bollinger</c:v>
                </c:pt>
                <c:pt idx="10">
                  <c:v>Roederer</c:v>
                </c:pt>
              </c:strCache>
            </c:strRef>
          </c:cat>
          <c:val>
            <c:numRef>
              <c:f>Sheet1!$B$2:$B$12</c:f>
              <c:numCache>
                <c:formatCode>General</c:formatCode>
                <c:ptCount val="11"/>
                <c:pt idx="0">
                  <c:v>-0.36378262783893656</c:v>
                </c:pt>
                <c:pt idx="1">
                  <c:v>-0.7072368709243477</c:v>
                </c:pt>
                <c:pt idx="2">
                  <c:v>1.5944754655027018</c:v>
                </c:pt>
                <c:pt idx="3">
                  <c:v>-0.046497109673788506</c:v>
                </c:pt>
                <c:pt idx="4">
                  <c:v>-0.23682818710710973</c:v>
                </c:pt>
                <c:pt idx="5">
                  <c:v>3.426331864649897</c:v>
                </c:pt>
                <c:pt idx="6">
                  <c:v>-0.42951705726480016</c:v>
                </c:pt>
                <c:pt idx="7">
                  <c:v>-0.8228717991441671</c:v>
                </c:pt>
                <c:pt idx="8">
                  <c:v>-0.36926891866751677</c:v>
                </c:pt>
                <c:pt idx="9">
                  <c:v>-0.374520696896955</c:v>
                </c:pt>
                <c:pt idx="10">
                  <c:v>2.04249377310232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09499999999999997</c:v>
                </c:pt>
                <c:pt idx="1">
                  <c:v>0.42900000000000005</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2642648139073813</c:v>
                </c:pt>
                <c:pt idx="1">
                  <c:v>0.4086981735717288</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utz</c:v>
                </c:pt>
                <c:pt idx="2">
                  <c:v>Laurent Perrier</c:v>
                </c:pt>
                <c:pt idx="3">
                  <c:v>Demoiselle</c:v>
                </c:pt>
                <c:pt idx="4">
                  <c:v>Pommery</c:v>
                </c:pt>
                <c:pt idx="5">
                  <c:v>Nicolas Feuillatte</c:v>
                </c:pt>
                <c:pt idx="6">
                  <c:v>Malard</c:v>
                </c:pt>
                <c:pt idx="7">
                  <c:v>Besserat De Bellefon</c:v>
                </c:pt>
                <c:pt idx="8">
                  <c:v>Nicolas</c:v>
                </c:pt>
                <c:pt idx="9">
                  <c:v>Bollinger</c:v>
                </c:pt>
                <c:pt idx="10">
                  <c:v>Dom Perignon</c:v>
                </c:pt>
              </c:strCache>
            </c:strRef>
          </c:cat>
          <c:val>
            <c:numRef>
              <c:f>Sheet1!$B$2:$B$12</c:f>
              <c:numCache>
                <c:formatCode>General</c:formatCode>
                <c:ptCount val="11"/>
                <c:pt idx="0">
                  <c:v>2.0</c:v>
                </c:pt>
                <c:pt idx="1">
                  <c:v>-0.30200000000000005</c:v>
                </c:pt>
                <c:pt idx="2">
                  <c:v>7.800000000000001</c:v>
                </c:pt>
                <c:pt idx="3">
                  <c:v>-0.21599999999999997</c:v>
                </c:pt>
                <c:pt idx="4">
                  <c:v>0.21199999999999997</c:v>
                </c:pt>
                <c:pt idx="5">
                  <c:v>0.06499999999999995</c:v>
                </c:pt>
                <c:pt idx="6">
                  <c:v>-0.06000000000000005</c:v>
                </c:pt>
                <c:pt idx="7">
                  <c:v>-0.30300000000000005</c:v>
                </c:pt>
                <c:pt idx="8">
                  <c:v>-0.25</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utz</c:v>
                </c:pt>
                <c:pt idx="2">
                  <c:v>Laurent Perrier</c:v>
                </c:pt>
                <c:pt idx="3">
                  <c:v>Demoiselle</c:v>
                </c:pt>
                <c:pt idx="4">
                  <c:v>Pommery</c:v>
                </c:pt>
                <c:pt idx="5">
                  <c:v>Nicolas Feuillatte</c:v>
                </c:pt>
                <c:pt idx="6">
                  <c:v>Malard</c:v>
                </c:pt>
                <c:pt idx="7">
                  <c:v>Besserat De Bellefon</c:v>
                </c:pt>
                <c:pt idx="8">
                  <c:v>Nicolas</c:v>
                </c:pt>
                <c:pt idx="9">
                  <c:v>Bollinger</c:v>
                </c:pt>
                <c:pt idx="10">
                  <c:v>Dom Perignon</c:v>
                </c:pt>
              </c:strCache>
            </c:strRef>
          </c:cat>
          <c:val>
            <c:numRef>
              <c:f>Sheet1!$B$2:$B$12</c:f>
              <c:numCache>
                <c:formatCode>General</c:formatCode>
                <c:ptCount val="11"/>
                <c:pt idx="0">
                  <c:v>0.47437988874609527</c:v>
                </c:pt>
                <c:pt idx="1">
                  <c:v>-0.5460339221003818</c:v>
                </c:pt>
                <c:pt idx="2">
                  <c:v>4.75722655755408</c:v>
                </c:pt>
                <c:pt idx="3">
                  <c:v>-0.5411220761189521</c:v>
                </c:pt>
                <c:pt idx="4">
                  <c:v>-0.6554936308446289</c:v>
                </c:pt>
                <c:pt idx="5">
                  <c:v>0.039181186370397025</c:v>
                </c:pt>
                <c:pt idx="6">
                  <c:v>-0.18725180002969133</c:v>
                </c:pt>
                <c:pt idx="7">
                  <c:v>-0.40680575426476984</c:v>
                </c:pt>
                <c:pt idx="8">
                  <c:v>-0.369000066634399</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0.806</c:v>
                </c:pt>
                <c:pt idx="1">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0.8508340603680286</c:v>
                </c:pt>
                <c:pt idx="1">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dLbl>
              <c:idx val="3"/>
              <c:tx>
                <c:rich>
                  <a:bodyPr/>
                  <a:lstStyle/>
                  <a:p/>
                </c:rich>
              </c:tx>
              <c:showLegendKey val="0"/>
              <c:showVal val="1"/>
              <c:showCatName val="0"/>
              <c:showSerName val="0"/>
              <c:showPercent val="0"/>
              <c:showBubbleSize val="0"/>
            </c:dLbl>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Malard</c:v>
                </c:pt>
                <c:pt idx="1">
                  <c:v>Henriot</c:v>
                </c:pt>
                <c:pt idx="2">
                  <c:v>Besserat De Bellefon</c:v>
                </c:pt>
                <c:pt idx="3">
                  <c:v>Ruinart</c:v>
                </c:pt>
                <c:pt idx="4">
                  <c:v>Nicolas</c:v>
                </c:pt>
                <c:pt idx="5">
                  <c:v>Perrier Jouet</c:v>
                </c:pt>
                <c:pt idx="6">
                  <c:v>Delamotte</c:v>
                </c:pt>
                <c:pt idx="7">
                  <c:v>Deutz</c:v>
                </c:pt>
              </c:strCache>
            </c:strRef>
          </c:cat>
          <c:val>
            <c:numRef>
              <c:f>Sheet1!$B$2:$B$9</c:f>
              <c:numCache>
                <c:formatCode>General</c:formatCode>
                <c:ptCount val="8"/>
                <c:pt idx="0">
                  <c:v>-0.05500000000000005</c:v>
                </c:pt>
                <c:pt idx="1">
                  <c:v>0.07800000000000007</c:v>
                </c:pt>
                <c:pt idx="2">
                  <c:v>0.0</c:v>
                </c:pt>
                <c:pt idx="3">
                  <c:v>0.0</c:v>
                </c:pt>
                <c:pt idx="4">
                  <c:v>0.0</c:v>
                </c:pt>
                <c:pt idx="5">
                  <c:v>0.0</c:v>
                </c:pt>
                <c:pt idx="6">
                  <c:v>0.0</c:v>
                </c:pt>
                <c:pt idx="7">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dLbl>
              <c:idx val="3"/>
              <c:tx>
                <c:rich>
                  <a:bodyPr/>
                  <a:lstStyle/>
                  <a:p/>
                </c:rich>
              </c:tx>
              <c:showLegendKey val="0"/>
              <c:showVal val="1"/>
              <c:showCatName val="0"/>
              <c:showSerName val="0"/>
              <c:showPercent val="0"/>
              <c:showBubbleSize val="0"/>
            </c:dLbl>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Malard</c:v>
                </c:pt>
                <c:pt idx="1">
                  <c:v>Henriot</c:v>
                </c:pt>
                <c:pt idx="2">
                  <c:v>Besserat De Bellefon</c:v>
                </c:pt>
                <c:pt idx="3">
                  <c:v>Ruinart</c:v>
                </c:pt>
                <c:pt idx="4">
                  <c:v>Nicolas</c:v>
                </c:pt>
                <c:pt idx="5">
                  <c:v>Perrier Jouet</c:v>
                </c:pt>
                <c:pt idx="6">
                  <c:v>Delamotte</c:v>
                </c:pt>
                <c:pt idx="7">
                  <c:v>Deutz</c:v>
                </c:pt>
              </c:strCache>
            </c:strRef>
          </c:cat>
          <c:val>
            <c:numRef>
              <c:f>Sheet1!$B$2:$B$9</c:f>
              <c:numCache>
                <c:formatCode>General</c:formatCode>
                <c:ptCount val="8"/>
                <c:pt idx="0">
                  <c:v>-0.6044166386667305</c:v>
                </c:pt>
                <c:pt idx="1">
                  <c:v>0.4831385311655898</c:v>
                </c:pt>
                <c:pt idx="2">
                  <c:v>0.0</c:v>
                </c:pt>
                <c:pt idx="3">
                  <c:v>0.0</c:v>
                </c:pt>
                <c:pt idx="4">
                  <c:v>0.0</c:v>
                </c:pt>
                <c:pt idx="5">
                  <c:v>0.0</c:v>
                </c:pt>
                <c:pt idx="6">
                  <c:v>0.0</c:v>
                </c:pt>
                <c:pt idx="7">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3800000000000003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1774248760412873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026000000000000023</c:v>
                </c:pt>
                <c:pt idx="1">
                  <c:v>-0.459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913</c:v>
                </c:pt>
                <c:pt idx="1">
                  <c:v>0.0</c:v>
                </c:pt>
                <c:pt idx="2">
                  <c:v>-0.77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37119462546743875</c:v>
                </c:pt>
                <c:pt idx="1">
                  <c:v>0.0</c:v>
                </c:pt>
                <c:pt idx="2">
                  <c:v>-0.62193997644866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12187178623010597</c:v>
                </c:pt>
                <c:pt idx="1">
                  <c:v>0.00125815202578949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0.759</c:v>
                </c:pt>
                <c:pt idx="1">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390417331206803</c:v>
                </c:pt>
                <c:pt idx="1">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FFBFBF"/>
              </a:solidFill>
            </c:spPr>
            <c:extLst>
              <c:ext xmlns:c16="http://schemas.microsoft.com/office/drawing/2014/chart" uri="{C3380CC4-5D6E-409C-BE32-E72D297353CC}">
                <c16:uniqueId val="{00000015-9B05-4EC0-B6C5-883B60DE7730}"/>
              </c:ext>
            </c:extLst>
          </c:dPt>
          <c:dLbls>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Canard Duchêne</c:v>
                </c:pt>
                <c:pt idx="4">
                  <c:v>Taittinger</c:v>
                </c:pt>
                <c:pt idx="5">
                  <c:v>Ayala</c:v>
                </c:pt>
                <c:pt idx="6">
                  <c:v>De Bligny</c:v>
                </c:pt>
                <c:pt idx="7">
                  <c:v>Deutz</c:v>
                </c:pt>
                <c:pt idx="8">
                  <c:v>Demoiselle</c:v>
                </c:pt>
                <c:pt idx="9">
                  <c:v>Bollinger</c:v>
                </c:pt>
                <c:pt idx="10">
                  <c:v>Besserat De Bellefon</c:v>
                </c:pt>
              </c:strCache>
            </c:strRef>
          </c:cat>
          <c:val>
            <c:numRef>
              <c:f>Sheet1!$B$2:$B$12</c:f>
              <c:numCache>
                <c:formatCode>General</c:formatCode>
                <c:ptCount val="11"/>
                <c:pt idx="0">
                  <c:v>3.75</c:v>
                </c:pt>
                <c:pt idx="1">
                  <c:v>-0.062000000000000055</c:v>
                </c:pt>
                <c:pt idx="2">
                  <c:v>-0.08899999999999997</c:v>
                </c:pt>
                <c:pt idx="3">
                  <c:v>0.8500000000000001</c:v>
                </c:pt>
                <c:pt idx="4">
                  <c:v>0.06099999999999994</c:v>
                </c:pt>
                <c:pt idx="5">
                  <c:v>-0.03600000000000003</c:v>
                </c:pt>
                <c:pt idx="6">
                  <c:v>0.05600000000000005</c:v>
                </c:pt>
                <c:pt idx="7">
                  <c:v>-0.55</c:v>
                </c:pt>
                <c:pt idx="8">
                  <c:v>0.0</c:v>
                </c:pt>
                <c:pt idx="9">
                  <c:v>0.125</c:v>
                </c:pt>
                <c:pt idx="10">
                  <c:v>-0.12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Laurent Perrier</c:v>
                </c:pt>
                <c:pt idx="3">
                  <c:v>Canard Duchêne</c:v>
                </c:pt>
                <c:pt idx="4">
                  <c:v>Taittinger</c:v>
                </c:pt>
                <c:pt idx="5">
                  <c:v>Ayala</c:v>
                </c:pt>
                <c:pt idx="6">
                  <c:v>De Bligny</c:v>
                </c:pt>
                <c:pt idx="7">
                  <c:v>Deutz</c:v>
                </c:pt>
                <c:pt idx="8">
                  <c:v>Demoiselle</c:v>
                </c:pt>
                <c:pt idx="9">
                  <c:v>Bollinger</c:v>
                </c:pt>
                <c:pt idx="10">
                  <c:v>Besserat De Bellefon</c:v>
                </c:pt>
              </c:strCache>
            </c:strRef>
          </c:cat>
          <c:val>
            <c:numRef>
              <c:f>Sheet1!$B$2:$B$12</c:f>
              <c:numCache>
                <c:formatCode>General</c:formatCode>
                <c:ptCount val="11"/>
                <c:pt idx="0">
                  <c:v>-0.341605988068158</c:v>
                </c:pt>
                <c:pt idx="1">
                  <c:v>-0.5891685260178452</c:v>
                </c:pt>
                <c:pt idx="2">
                  <c:v>-0.08009949834947805</c:v>
                </c:pt>
                <c:pt idx="3">
                  <c:v>1.7091507135277908</c:v>
                </c:pt>
                <c:pt idx="4">
                  <c:v>-0.27805640272390897</c:v>
                </c:pt>
                <c:pt idx="5">
                  <c:v>-0.8092099319463424</c:v>
                </c:pt>
                <c:pt idx="6">
                  <c:v>1.6448914234720857</c:v>
                </c:pt>
                <c:pt idx="7">
                  <c:v>-0.24355838381199957</c:v>
                </c:pt>
                <c:pt idx="8">
                  <c:v>-0.4237874657334415</c:v>
                </c:pt>
                <c:pt idx="9">
                  <c:v>-0.4943995785605333</c:v>
                </c:pt>
                <c:pt idx="10">
                  <c:v>-0.424156704293944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0</c:v>
                </c:pt>
                <c:pt idx="1">
                  <c:v>0.381</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13838850870195896</c:v>
                </c:pt>
                <c:pt idx="1">
                  <c:v>0.3810368354432414</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Dom Perignon</c:v>
                </c:pt>
                <c:pt idx="1">
                  <c:v>Roederer</c:v>
                </c:pt>
                <c:pt idx="2">
                  <c:v>Malard</c:v>
                </c:pt>
                <c:pt idx="3">
                  <c:v>Ruinart</c:v>
                </c:pt>
                <c:pt idx="4">
                  <c:v>Perrier Jouet</c:v>
                </c:pt>
                <c:pt idx="5">
                  <c:v>Piper Heidsieck</c:v>
                </c:pt>
                <c:pt idx="6">
                  <c:v>Laurent Perrier</c:v>
                </c:pt>
                <c:pt idx="7">
                  <c:v>Bollinger</c:v>
                </c:pt>
              </c:strCache>
            </c:strRef>
          </c:cat>
          <c:val>
            <c:numRef>
              <c:f>Sheet1!$B$2:$B$9</c:f>
              <c:numCache>
                <c:formatCode>General</c:formatCode>
                <c:ptCount val="8"/>
                <c:pt idx="0">
                  <c:v>20.0</c:v>
                </c:pt>
                <c:pt idx="1">
                  <c:v>7.0</c:v>
                </c:pt>
                <c:pt idx="2">
                  <c:v>0.31400000000000006</c:v>
                </c:pt>
                <c:pt idx="3">
                  <c:v>13.5</c:v>
                </c:pt>
                <c:pt idx="4">
                  <c:v>0.0</c:v>
                </c:pt>
                <c:pt idx="5">
                  <c:v>0.0</c:v>
                </c:pt>
                <c:pt idx="6">
                  <c:v>0.0</c:v>
                </c:pt>
                <c:pt idx="7">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Dom Perignon</c:v>
                </c:pt>
                <c:pt idx="1">
                  <c:v>Roederer</c:v>
                </c:pt>
                <c:pt idx="2">
                  <c:v>Malard</c:v>
                </c:pt>
                <c:pt idx="3">
                  <c:v>Ruinart</c:v>
                </c:pt>
                <c:pt idx="4">
                  <c:v>Perrier Jouet</c:v>
                </c:pt>
                <c:pt idx="5">
                  <c:v>Piper Heidsieck</c:v>
                </c:pt>
                <c:pt idx="6">
                  <c:v>Laurent Perrier</c:v>
                </c:pt>
                <c:pt idx="7">
                  <c:v>Bollinger</c:v>
                </c:pt>
              </c:strCache>
            </c:strRef>
          </c:cat>
          <c:val>
            <c:numRef>
              <c:f>Sheet1!$B$2:$B$9</c:f>
              <c:numCache>
                <c:formatCode>General</c:formatCode>
                <c:ptCount val="8"/>
                <c:pt idx="0">
                  <c:v>8.279563549160672</c:v>
                </c:pt>
                <c:pt idx="1">
                  <c:v>4.196641488954725</c:v>
                </c:pt>
                <c:pt idx="2">
                  <c:v>0.9139870955868037</c:v>
                </c:pt>
                <c:pt idx="3">
                  <c:v>15.374381165425941</c:v>
                </c:pt>
                <c:pt idx="4">
                  <c:v>0.0</c:v>
                </c:pt>
                <c:pt idx="5">
                  <c:v>0.0</c:v>
                </c:pt>
                <c:pt idx="6">
                  <c:v>0.0</c:v>
                </c:pt>
                <c:pt idx="7">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moiselle</c:v>
                </c:pt>
                <c:pt idx="2">
                  <c:v>Laurent Perrier</c:v>
                </c:pt>
                <c:pt idx="3">
                  <c:v>Deutz</c:v>
                </c:pt>
                <c:pt idx="4">
                  <c:v>Pommery</c:v>
                </c:pt>
                <c:pt idx="5">
                  <c:v>Nicolas Feuillatte</c:v>
                </c:pt>
                <c:pt idx="6">
                  <c:v>Malard</c:v>
                </c:pt>
                <c:pt idx="7">
                  <c:v>Besserat De Bellefon</c:v>
                </c:pt>
                <c:pt idx="8">
                  <c:v>Nicolas</c:v>
                </c:pt>
                <c:pt idx="9">
                  <c:v>Bollinger</c:v>
                </c:pt>
                <c:pt idx="10">
                  <c:v>Dom Perignon</c:v>
                </c:pt>
              </c:strCache>
            </c:strRef>
          </c:cat>
          <c:val>
            <c:numRef>
              <c:f>Sheet1!$B$2:$B$12</c:f>
              <c:numCache>
                <c:formatCode>General</c:formatCode>
                <c:ptCount val="11"/>
                <c:pt idx="0">
                  <c:v>1.714</c:v>
                </c:pt>
                <c:pt idx="1">
                  <c:v>-0.118</c:v>
                </c:pt>
                <c:pt idx="2">
                  <c:v>10.0</c:v>
                </c:pt>
                <c:pt idx="3">
                  <c:v>-0.30500000000000005</c:v>
                </c:pt>
                <c:pt idx="4">
                  <c:v>0.2649999999999999</c:v>
                </c:pt>
                <c:pt idx="5">
                  <c:v>-0.06499999999999995</c:v>
                </c:pt>
                <c:pt idx="6">
                  <c:v>-0.02200000000000002</c:v>
                </c:pt>
                <c:pt idx="7">
                  <c:v>-0.20799999999999996</c:v>
                </c:pt>
                <c:pt idx="8">
                  <c:v>-0.42900000000000005</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moiselle</c:v>
                </c:pt>
                <c:pt idx="2">
                  <c:v>Laurent Perrier</c:v>
                </c:pt>
                <c:pt idx="3">
                  <c:v>Deutz</c:v>
                </c:pt>
                <c:pt idx="4">
                  <c:v>Pommery</c:v>
                </c:pt>
                <c:pt idx="5">
                  <c:v>Nicolas Feuillatte</c:v>
                </c:pt>
                <c:pt idx="6">
                  <c:v>Malard</c:v>
                </c:pt>
                <c:pt idx="7">
                  <c:v>Besserat De Bellefon</c:v>
                </c:pt>
                <c:pt idx="8">
                  <c:v>Nicolas</c:v>
                </c:pt>
                <c:pt idx="9">
                  <c:v>Bollinger</c:v>
                </c:pt>
                <c:pt idx="10">
                  <c:v>Dom Perignon</c:v>
                </c:pt>
              </c:strCache>
            </c:strRef>
          </c:cat>
          <c:val>
            <c:numRef>
              <c:f>Sheet1!$B$2:$B$12</c:f>
              <c:numCache>
                <c:formatCode>General</c:formatCode>
                <c:ptCount val="11"/>
                <c:pt idx="0">
                  <c:v>0.6437495871072567</c:v>
                </c:pt>
                <c:pt idx="1">
                  <c:v>-0.16478410225713624</c:v>
                </c:pt>
                <c:pt idx="2">
                  <c:v>7.241430030752584</c:v>
                </c:pt>
                <c:pt idx="3">
                  <c:v>-0.6221051159825396</c:v>
                </c:pt>
                <c:pt idx="4">
                  <c:v>-0.7128357363851823</c:v>
                </c:pt>
                <c:pt idx="5">
                  <c:v>-0.030099119170966193</c:v>
                </c:pt>
                <c:pt idx="6">
                  <c:v>-0.046210943136091864</c:v>
                </c:pt>
                <c:pt idx="7">
                  <c:v>-0.6289551132873603</c:v>
                </c:pt>
                <c:pt idx="8">
                  <c:v>-0.7660003781225605</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19999999999999996</c:v>
                </c:pt>
                <c:pt idx="1">
                  <c:v>0.18999999999999995</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5477206312135499</c:v>
                </c:pt>
                <c:pt idx="1">
                  <c:v>-0.31261275574377434</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14300000000000002</c:v>
                </c:pt>
                <c:pt idx="1">
                  <c:v>-0.06000000000000005</c:v>
                </c:pt>
                <c:pt idx="2">
                  <c:v>0.7030000000000001</c:v>
                </c:pt>
                <c:pt idx="3">
                  <c:v>0.04000000000000003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3841151830333426</c:v>
                </c:pt>
                <c:pt idx="1">
                  <c:v>-0.3569880574004276</c:v>
                </c:pt>
                <c:pt idx="2">
                  <c:v>0.2873701942189062</c:v>
                </c:pt>
                <c:pt idx="3">
                  <c:v>-0.455712127408215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569999999999999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3710399250692515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Ruinart</c:v>
                </c:pt>
                <c:pt idx="8">
                  <c:v>Perrier Jouet</c:v>
                </c:pt>
                <c:pt idx="9">
                  <c:v>Deutz</c:v>
                </c:pt>
                <c:pt idx="10">
                  <c:v>Taittinger</c:v>
                </c:pt>
              </c:strCache>
            </c:strRef>
          </c:cat>
          <c:val>
            <c:numRef>
              <c:f>Sheet1!$B$2:$B$12</c:f>
              <c:numCache>
                <c:formatCode>General</c:formatCode>
                <c:ptCount val="11"/>
                <c:pt idx="0">
                  <c:v>0.16900000000000004</c:v>
                </c:pt>
                <c:pt idx="1">
                  <c:v>-0.139</c:v>
                </c:pt>
                <c:pt idx="2">
                  <c:v>0.897</c:v>
                </c:pt>
                <c:pt idx="3">
                  <c:v>-0.0639999999999999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Ruinart</c:v>
                </c:pt>
                <c:pt idx="8">
                  <c:v>Perrier Jouet</c:v>
                </c:pt>
                <c:pt idx="9">
                  <c:v>Deutz</c:v>
                </c:pt>
                <c:pt idx="10">
                  <c:v>Taittinger</c:v>
                </c:pt>
              </c:strCache>
            </c:strRef>
          </c:cat>
          <c:val>
            <c:numRef>
              <c:f>Sheet1!$B$2:$B$12</c:f>
              <c:numCache>
                <c:formatCode>General</c:formatCode>
                <c:ptCount val="11"/>
                <c:pt idx="0">
                  <c:v>-0.2021454482864966</c:v>
                </c:pt>
                <c:pt idx="1">
                  <c:v>-0.4012702533654282</c:v>
                </c:pt>
                <c:pt idx="2">
                  <c:v>-0.6007982650702167</c:v>
                </c:pt>
                <c:pt idx="3">
                  <c:v>-0.351391176522678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Canard Duchêne</c:v>
                </c:pt>
                <c:pt idx="2">
                  <c:v>Laurent Perrier</c:v>
                </c:pt>
                <c:pt idx="3">
                  <c:v>Heidsieck &amp; Co Monopole</c:v>
                </c:pt>
                <c:pt idx="4">
                  <c:v>Bollinger</c:v>
                </c:pt>
                <c:pt idx="5">
                  <c:v>Taittinger</c:v>
                </c:pt>
                <c:pt idx="6">
                  <c:v>Ayala</c:v>
                </c:pt>
                <c:pt idx="7">
                  <c:v>De Bligny</c:v>
                </c:pt>
                <c:pt idx="8">
                  <c:v>Deutz</c:v>
                </c:pt>
                <c:pt idx="9">
                  <c:v>Demoiselle</c:v>
                </c:pt>
                <c:pt idx="10">
                  <c:v>Roederer</c:v>
                </c:pt>
              </c:strCache>
            </c:strRef>
          </c:cat>
          <c:val>
            <c:numRef>
              <c:f>Sheet1!$B$2:$B$12</c:f>
              <c:numCache>
                <c:formatCode>General</c:formatCode>
                <c:ptCount val="11"/>
                <c:pt idx="0">
                  <c:v>3.091</c:v>
                </c:pt>
                <c:pt idx="1">
                  <c:v>0.6819999999999999</c:v>
                </c:pt>
                <c:pt idx="2">
                  <c:v>0.09800000000000009</c:v>
                </c:pt>
                <c:pt idx="3">
                  <c:v>-0.09499999999999997</c:v>
                </c:pt>
                <c:pt idx="4">
                  <c:v>0.18799999999999994</c:v>
                </c:pt>
                <c:pt idx="5">
                  <c:v>-0.029000000000000026</c:v>
                </c:pt>
                <c:pt idx="6">
                  <c:v>-0.08499999999999996</c:v>
                </c:pt>
                <c:pt idx="7">
                  <c:v>0.07699999999999996</c:v>
                </c:pt>
                <c:pt idx="8">
                  <c:v>-0.46499999999999997</c:v>
                </c:pt>
                <c:pt idx="9">
                  <c:v>0.014000000000000012</c:v>
                </c:pt>
                <c:pt idx="10">
                  <c:v>3.182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Canard Duchêne</c:v>
                </c:pt>
                <c:pt idx="2">
                  <c:v>Laurent Perrier</c:v>
                </c:pt>
                <c:pt idx="3">
                  <c:v>Heidsieck &amp; Co Monopole</c:v>
                </c:pt>
                <c:pt idx="4">
                  <c:v>Bollinger</c:v>
                </c:pt>
                <c:pt idx="5">
                  <c:v>Taittinger</c:v>
                </c:pt>
                <c:pt idx="6">
                  <c:v>Ayala</c:v>
                </c:pt>
                <c:pt idx="7">
                  <c:v>De Bligny</c:v>
                </c:pt>
                <c:pt idx="8">
                  <c:v>Deutz</c:v>
                </c:pt>
                <c:pt idx="9">
                  <c:v>Demoiselle</c:v>
                </c:pt>
                <c:pt idx="10">
                  <c:v>Roederer</c:v>
                </c:pt>
              </c:strCache>
            </c:strRef>
          </c:cat>
          <c:val>
            <c:numRef>
              <c:f>Sheet1!$B$2:$B$12</c:f>
              <c:numCache>
                <c:formatCode>General</c:formatCode>
                <c:ptCount val="11"/>
                <c:pt idx="0">
                  <c:v>-0.17703760669777813</c:v>
                </c:pt>
                <c:pt idx="1">
                  <c:v>0.374018705013744</c:v>
                </c:pt>
                <c:pt idx="2">
                  <c:v>0.0928088805612588</c:v>
                </c:pt>
                <c:pt idx="3">
                  <c:v>-0.6295312967954477</c:v>
                </c:pt>
                <c:pt idx="4">
                  <c:v>-0.41283734967089036</c:v>
                </c:pt>
                <c:pt idx="5">
                  <c:v>-0.39361767823088567</c:v>
                </c:pt>
                <c:pt idx="6">
                  <c:v>-0.6794580430519648</c:v>
                </c:pt>
                <c:pt idx="7">
                  <c:v>0.9845969877222205</c:v>
                </c:pt>
                <c:pt idx="8">
                  <c:v>-0.5236941353814433</c:v>
                </c:pt>
                <c:pt idx="9">
                  <c:v>-0.4116049879769792</c:v>
                </c:pt>
                <c:pt idx="10">
                  <c:v>-0.221819198535456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FFBFBF"/>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moiselle</c:v>
                </c:pt>
                <c:pt idx="2">
                  <c:v>Deutz</c:v>
                </c:pt>
                <c:pt idx="3">
                  <c:v>Laurent Perrier</c:v>
                </c:pt>
                <c:pt idx="4">
                  <c:v>Pommery</c:v>
                </c:pt>
                <c:pt idx="5">
                  <c:v>Nicolas Feuillatte</c:v>
                </c:pt>
                <c:pt idx="6">
                  <c:v>Malard</c:v>
                </c:pt>
                <c:pt idx="7">
                  <c:v>Besserat De Bellefon</c:v>
                </c:pt>
                <c:pt idx="8">
                  <c:v>Nicolas</c:v>
                </c:pt>
                <c:pt idx="9">
                  <c:v>Veuve Clicquot</c:v>
                </c:pt>
                <c:pt idx="10">
                  <c:v>Bollinger</c:v>
                </c:pt>
              </c:strCache>
            </c:strRef>
          </c:cat>
          <c:val>
            <c:numRef>
              <c:f>Sheet1!$B$2:$B$12</c:f>
              <c:numCache>
                <c:formatCode>General</c:formatCode>
                <c:ptCount val="11"/>
                <c:pt idx="0">
                  <c:v>1.9289999999999998</c:v>
                </c:pt>
                <c:pt idx="1">
                  <c:v>-0.13</c:v>
                </c:pt>
                <c:pt idx="2">
                  <c:v>-0.349</c:v>
                </c:pt>
                <c:pt idx="3">
                  <c:v>11.0</c:v>
                </c:pt>
                <c:pt idx="4">
                  <c:v>0.137</c:v>
                </c:pt>
                <c:pt idx="5">
                  <c:v>-0.029000000000000026</c:v>
                </c:pt>
                <c:pt idx="6">
                  <c:v>0.040999999999999925</c:v>
                </c:pt>
                <c:pt idx="7">
                  <c:v>-0.281</c:v>
                </c:pt>
                <c:pt idx="8">
                  <c:v>-0.14300000000000002</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Demoiselle</c:v>
                </c:pt>
                <c:pt idx="2">
                  <c:v>Deutz</c:v>
                </c:pt>
                <c:pt idx="3">
                  <c:v>Laurent Perrier</c:v>
                </c:pt>
                <c:pt idx="4">
                  <c:v>Pommery</c:v>
                </c:pt>
                <c:pt idx="5">
                  <c:v>Nicolas Feuillatte</c:v>
                </c:pt>
                <c:pt idx="6">
                  <c:v>Malard</c:v>
                </c:pt>
                <c:pt idx="7">
                  <c:v>Besserat De Bellefon</c:v>
                </c:pt>
                <c:pt idx="8">
                  <c:v>Nicolas</c:v>
                </c:pt>
                <c:pt idx="9">
                  <c:v>Veuve Clicquot</c:v>
                </c:pt>
                <c:pt idx="10">
                  <c:v>Bollinger</c:v>
                </c:pt>
              </c:strCache>
            </c:strRef>
          </c:cat>
          <c:val>
            <c:numRef>
              <c:f>Sheet1!$B$2:$B$12</c:f>
              <c:numCache>
                <c:formatCode>General</c:formatCode>
                <c:ptCount val="11"/>
                <c:pt idx="0">
                  <c:v>0.5799246595467045</c:v>
                </c:pt>
                <c:pt idx="1">
                  <c:v>-0.31094215392491986</c:v>
                </c:pt>
                <c:pt idx="2">
                  <c:v>-0.6732525751096816</c:v>
                </c:pt>
                <c:pt idx="3">
                  <c:v>4.172186977197542</c:v>
                </c:pt>
                <c:pt idx="4">
                  <c:v>-0.5889124611339305</c:v>
                </c:pt>
                <c:pt idx="5">
                  <c:v>-0.18802544036379965</c:v>
                </c:pt>
                <c:pt idx="6">
                  <c:v>1.085233548102523</c:v>
                </c:pt>
                <c:pt idx="7">
                  <c:v>-0.5954241821883457</c:v>
                </c:pt>
                <c:pt idx="8">
                  <c:v>-0.045194123689294874</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3"/>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Savian</c:v>
                </c:pt>
                <c:pt idx="2">
                  <c:v>Vilaveroni</c:v>
                </c:pt>
                <c:pt idx="3">
                  <c:v>Contarini</c:v>
                </c:pt>
              </c:strCache>
            </c:strRef>
          </c:cat>
          <c:val>
            <c:numRef>
              <c:f>Sheet1!$B$2:$B$5</c:f>
              <c:numCache>
                <c:formatCode>General</c:formatCode>
                <c:ptCount val="4"/>
                <c:pt idx="0">
                  <c:v>-0.05300000000000005</c:v>
                </c:pt>
                <c:pt idx="1">
                  <c:v>0.3680000000000001</c:v>
                </c:pt>
                <c:pt idx="2">
                  <c:v>-0.29400000000000004</c:v>
                </c:pt>
                <c:pt idx="3">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3"/>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Savian</c:v>
                </c:pt>
                <c:pt idx="2">
                  <c:v>Vilaveroni</c:v>
                </c:pt>
                <c:pt idx="3">
                  <c:v>Contarini</c:v>
                </c:pt>
              </c:strCache>
            </c:strRef>
          </c:cat>
          <c:val>
            <c:numRef>
              <c:f>Sheet1!$B$2:$B$5</c:f>
              <c:numCache>
                <c:formatCode>General</c:formatCode>
                <c:ptCount val="4"/>
                <c:pt idx="0">
                  <c:v>-0.2700357596820312</c:v>
                </c:pt>
                <c:pt idx="1">
                  <c:v>0.5840221160228083</c:v>
                </c:pt>
                <c:pt idx="2">
                  <c:v>0.11180165411431409</c:v>
                </c:pt>
                <c:pt idx="3">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Bligny</c:v>
                </c:pt>
                <c:pt idx="3">
                  <c:v>De Venoge</c:v>
                </c:pt>
                <c:pt idx="4">
                  <c:v>Besserat De Bellefon</c:v>
                </c:pt>
              </c:strCache>
            </c:strRef>
          </c:cat>
          <c:val>
            <c:numRef>
              <c:f>Sheet1!$B$2:$B$6</c:f>
              <c:numCache>
                <c:formatCode>General</c:formatCode>
                <c:ptCount val="5"/>
                <c:pt idx="0">
                  <c:v>0.07600000000000007</c:v>
                </c:pt>
                <c:pt idx="1">
                  <c:v>0.06099999999999994</c:v>
                </c:pt>
                <c:pt idx="2">
                  <c:v>-0.23099999999999998</c:v>
                </c:pt>
                <c:pt idx="3">
                  <c:v>1.3940000000000001</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DEDDDD"/>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Ruinart</c:v>
                </c:pt>
                <c:pt idx="8">
                  <c:v>Perrier Jouet</c:v>
                </c:pt>
                <c:pt idx="9">
                  <c:v>Deutz</c:v>
                </c:pt>
                <c:pt idx="10">
                  <c:v>Taittinger</c:v>
                </c:pt>
              </c:strCache>
            </c:strRef>
          </c:cat>
          <c:val>
            <c:numRef>
              <c:f>Sheet1!$B$2:$B$12</c:f>
              <c:numCache>
                <c:formatCode>General</c:formatCode>
                <c:ptCount val="11"/>
                <c:pt idx="0">
                  <c:v>0.125</c:v>
                </c:pt>
                <c:pt idx="1">
                  <c:v>0.028000000000000025</c:v>
                </c:pt>
                <c:pt idx="2">
                  <c:v>1.577</c:v>
                </c:pt>
                <c:pt idx="3">
                  <c:v>-0.17000000000000004</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DEDDDD"/>
              </a:solidFill>
            </c:spPr>
            <c:extLst>
              <c:ext xmlns:c16="http://schemas.microsoft.com/office/drawing/2014/chart" uri="{C3380CC4-5D6E-409C-BE32-E72D297353CC}">
                <c16:uniqueId val="{00000013-6D8A-4B36-B874-4E9C8B692C25}"/>
              </c:ext>
            </c:extLst>
          </c:dPt>
          <c:dPt>
            <c:idx val="10"/>
            <c:invertIfNegative val="0"/>
            <c:bubble3D val="0"/>
            <c:spPr>
              <a:solidFill>
                <a:srgbClr val="DEDDDD"/>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dLbl>
              <c:idx val="9"/>
              <c:tx>
                <c:rich>
                  <a:bodyPr/>
                  <a:lstStyle/>
                  <a:p/>
                </c:rich>
              </c:tx>
              <c:showLegendKey val="0"/>
              <c:showVal val="1"/>
              <c:showCatName val="0"/>
              <c:showSerName val="0"/>
              <c:showPercent val="0"/>
              <c:showBubbleSize val="0"/>
            </c:dLbl>
            <c:dLbl>
              <c:idx val="1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Malard</c:v>
                </c:pt>
                <c:pt idx="1">
                  <c:v>Henriot</c:v>
                </c:pt>
                <c:pt idx="2">
                  <c:v>De Venoge</c:v>
                </c:pt>
                <c:pt idx="3">
                  <c:v>De Bligny</c:v>
                </c:pt>
                <c:pt idx="4">
                  <c:v>Besserat De Bellefon</c:v>
                </c:pt>
                <c:pt idx="5">
                  <c:v>Nicolas</c:v>
                </c:pt>
                <c:pt idx="6">
                  <c:v>Delamotte</c:v>
                </c:pt>
                <c:pt idx="7">
                  <c:v>Ruinart</c:v>
                </c:pt>
                <c:pt idx="8">
                  <c:v>Perrier Jouet</c:v>
                </c:pt>
                <c:pt idx="9">
                  <c:v>Deutz</c:v>
                </c:pt>
                <c:pt idx="10">
                  <c:v>Taittinger</c:v>
                </c:pt>
              </c:strCache>
            </c:strRef>
          </c:cat>
          <c:val>
            <c:numRef>
              <c:f>Sheet1!$B$2:$B$12</c:f>
              <c:numCache>
                <c:formatCode>General</c:formatCode>
                <c:ptCount val="11"/>
                <c:pt idx="0">
                  <c:v>-0.17968645244554082</c:v>
                </c:pt>
                <c:pt idx="1">
                  <c:v>-0.24967862707925526</c:v>
                </c:pt>
                <c:pt idx="2">
                  <c:v>-0.30932420772800406</c:v>
                </c:pt>
                <c:pt idx="3">
                  <c:v>-0.45526264675652783</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06599999999999995</c:v>
                </c:pt>
                <c:pt idx="1">
                  <c:v>-0.08099999999999996</c:v>
                </c:pt>
                <c:pt idx="2">
                  <c:v>0.45500000000000007</c:v>
                </c:pt>
                <c:pt idx="3">
                  <c:v>0.12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08334745155778556</c:v>
                </c:pt>
                <c:pt idx="1">
                  <c:v>-0.5713238501886555</c:v>
                </c:pt>
                <c:pt idx="2">
                  <c:v>-0.4661918326277872</c:v>
                </c:pt>
                <c:pt idx="3">
                  <c:v>1.721464335452350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Bligny</c:v>
                </c:pt>
                <c:pt idx="3">
                  <c:v>De Venoge</c:v>
                </c:pt>
                <c:pt idx="4">
                  <c:v>Besserat De Bellefon</c:v>
                </c:pt>
              </c:strCache>
            </c:strRef>
          </c:cat>
          <c:val>
            <c:numRef>
              <c:f>Sheet1!$B$2:$B$6</c:f>
              <c:numCache>
                <c:formatCode>General</c:formatCode>
                <c:ptCount val="5"/>
                <c:pt idx="0">
                  <c:v>-0.3832957422713066</c:v>
                </c:pt>
                <c:pt idx="1">
                  <c:v>-0.26058872549840373</c:v>
                </c:pt>
                <c:pt idx="2">
                  <c:v>-0.4346951784172004</c:v>
                </c:pt>
                <c:pt idx="3">
                  <c:v>0.3454821016166283</c:v>
                </c:pt>
                <c:pt idx="4">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42900000000000005</c:v>
                </c:pt>
                <c:pt idx="1">
                  <c:v>0.0</c:v>
                </c:pt>
                <c:pt idx="2">
                  <c:v>-0.667</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6473615597185718</c:v>
                </c:pt>
                <c:pt idx="1">
                  <c:v>0.0</c:v>
                </c:pt>
                <c:pt idx="2">
                  <c:v>-0.467486979707439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Malard</c:v>
                </c:pt>
                <c:pt idx="1">
                  <c:v>Henriot</c:v>
                </c:pt>
                <c:pt idx="2">
                  <c:v>De Venoge</c:v>
                </c:pt>
                <c:pt idx="3">
                  <c:v>De Bligny</c:v>
                </c:pt>
                <c:pt idx="4">
                  <c:v>Besserat De Bellefon</c:v>
                </c:pt>
                <c:pt idx="5">
                  <c:v>Nicolas</c:v>
                </c:pt>
                <c:pt idx="6">
                  <c:v>Delamotte</c:v>
                </c:pt>
                <c:pt idx="7">
                  <c:v>Ruinart</c:v>
                </c:pt>
                <c:pt idx="8">
                  <c:v>Ayala</c:v>
                </c:pt>
              </c:strCache>
            </c:strRef>
          </c:cat>
          <c:val>
            <c:numRef>
              <c:f>Sheet1!$B$2:$B$10</c:f>
              <c:numCache>
                <c:formatCode>General</c:formatCode>
                <c:ptCount val="9"/>
                <c:pt idx="0">
                  <c:v>0.21700000000000008</c:v>
                </c:pt>
                <c:pt idx="1">
                  <c:v>0.07400000000000007</c:v>
                </c:pt>
                <c:pt idx="2">
                  <c:v>1.1760000000000002</c:v>
                </c:pt>
                <c:pt idx="3">
                  <c:v>-0.19599999999999995</c:v>
                </c:pt>
                <c:pt idx="4">
                  <c:v>0.0</c:v>
                </c:pt>
                <c:pt idx="5">
                  <c:v>0.0</c:v>
                </c:pt>
                <c:pt idx="6">
                  <c:v>0.0</c:v>
                </c:pt>
                <c:pt idx="7">
                  <c:v>0.0</c:v>
                </c:pt>
                <c:pt idx="8">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DEDDDD"/>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Malard</c:v>
                </c:pt>
                <c:pt idx="1">
                  <c:v>Henriot</c:v>
                </c:pt>
                <c:pt idx="2">
                  <c:v>De Venoge</c:v>
                </c:pt>
                <c:pt idx="3">
                  <c:v>De Bligny</c:v>
                </c:pt>
                <c:pt idx="4">
                  <c:v>Besserat De Bellefon</c:v>
                </c:pt>
                <c:pt idx="5">
                  <c:v>Nicolas</c:v>
                </c:pt>
                <c:pt idx="6">
                  <c:v>Delamotte</c:v>
                </c:pt>
                <c:pt idx="7">
                  <c:v>Ruinart</c:v>
                </c:pt>
                <c:pt idx="8">
                  <c:v>Ayala</c:v>
                </c:pt>
              </c:strCache>
            </c:strRef>
          </c:cat>
          <c:val>
            <c:numRef>
              <c:f>Sheet1!$B$2:$B$10</c:f>
              <c:numCache>
                <c:formatCode>General</c:formatCode>
                <c:ptCount val="9"/>
                <c:pt idx="0">
                  <c:v>-0.09549354367852614</c:v>
                </c:pt>
                <c:pt idx="1">
                  <c:v>0.1480200369956124</c:v>
                </c:pt>
                <c:pt idx="2">
                  <c:v>-0.11038331446557381</c:v>
                </c:pt>
                <c:pt idx="3">
                  <c:v>-0.44428998215349236</c:v>
                </c:pt>
                <c:pt idx="4">
                  <c:v>0.0</c:v>
                </c:pt>
                <c:pt idx="5">
                  <c:v>0.0</c:v>
                </c:pt>
                <c:pt idx="6">
                  <c:v>0.0</c:v>
                </c:pt>
                <c:pt idx="7">
                  <c:v>0.0</c:v>
                </c:pt>
                <c:pt idx="8">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DEDDDD"/>
              </a:solidFill>
            </c:spPr>
            <c:extLst>
              <c:ext xmlns:c16="http://schemas.microsoft.com/office/drawing/2014/chart" uri="{C3380CC4-5D6E-409C-BE32-E72D297353CC}">
                <c16:uniqueId val="{00000011-9B05-4EC0-B6C5-883B60DE7730}"/>
              </c:ext>
            </c:extLst>
          </c:dPt>
          <c:dPt>
            <c:idx val="9"/>
            <c:invertIfNegative val="0"/>
            <c:bubble3D val="0"/>
            <c:spPr>
              <a:solidFill>
                <a:srgbClr val="FFBFBF"/>
              </a:solidFill>
            </c:spPr>
            <c:extLst>
              <c:ext xmlns:c16="http://schemas.microsoft.com/office/drawing/2014/chart" uri="{C3380CC4-5D6E-409C-BE32-E72D297353CC}">
                <c16:uniqueId val="{00000013-9B05-4EC0-B6C5-883B60DE7730}"/>
              </c:ext>
            </c:extLst>
          </c:dPt>
          <c:dPt>
            <c:idx val="10"/>
            <c:invertIfNegative val="0"/>
            <c:bubble3D val="0"/>
            <c:spPr>
              <a:solidFill>
                <a:srgbClr val="DEDDDD"/>
              </a:solidFill>
            </c:spPr>
            <c:extLst>
              <c:ext xmlns:c16="http://schemas.microsoft.com/office/drawing/2014/chart" uri="{C3380CC4-5D6E-409C-BE32-E72D297353CC}">
                <c16:uniqueId val="{00000015-9B05-4EC0-B6C5-883B60DE7730}"/>
              </c:ext>
            </c:extLst>
          </c:dPt>
          <c:dLbls>
            <c:dLbl>
              <c:idx val="8"/>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Canard Duchêne</c:v>
                </c:pt>
                <c:pt idx="3">
                  <c:v>Laurent Perrier</c:v>
                </c:pt>
                <c:pt idx="4">
                  <c:v>De Bligny</c:v>
                </c:pt>
                <c:pt idx="5">
                  <c:v>Taittinger</c:v>
                </c:pt>
                <c:pt idx="6">
                  <c:v>Deutz</c:v>
                </c:pt>
                <c:pt idx="7">
                  <c:v>Ayala</c:v>
                </c:pt>
                <c:pt idx="8">
                  <c:v>Demoiselle</c:v>
                </c:pt>
                <c:pt idx="9">
                  <c:v>Besserat De Bellefon</c:v>
                </c:pt>
                <c:pt idx="10">
                  <c:v>Bollinger</c:v>
                </c:pt>
              </c:strCache>
            </c:strRef>
          </c:cat>
          <c:val>
            <c:numRef>
              <c:f>Sheet1!$B$2:$B$12</c:f>
              <c:numCache>
                <c:formatCode>General</c:formatCode>
                <c:ptCount val="11"/>
                <c:pt idx="0">
                  <c:v>3.444</c:v>
                </c:pt>
                <c:pt idx="1">
                  <c:v>-0.07199999999999995</c:v>
                </c:pt>
                <c:pt idx="2">
                  <c:v>0.756</c:v>
                </c:pt>
                <c:pt idx="3">
                  <c:v>-0.07099999999999995</c:v>
                </c:pt>
                <c:pt idx="4">
                  <c:v>0.11299999999999999</c:v>
                </c:pt>
                <c:pt idx="5">
                  <c:v>0.030999999999999917</c:v>
                </c:pt>
                <c:pt idx="6">
                  <c:v>-0.5</c:v>
                </c:pt>
                <c:pt idx="7">
                  <c:v>-0.05400000000000005</c:v>
                </c:pt>
                <c:pt idx="8">
                  <c:v>0.0</c:v>
                </c:pt>
                <c:pt idx="9">
                  <c:v>-0.11699999999999999</c:v>
                </c:pt>
                <c:pt idx="10">
                  <c:v>0.1040000000000000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FFBFBF"/>
              </a:solidFill>
            </c:spPr>
            <c:extLst>
              <c:ext xmlns:c16="http://schemas.microsoft.com/office/drawing/2014/chart" uri="{C3380CC4-5D6E-409C-BE32-E72D297353CC}">
                <c16:uniqueId val="{00000011-6D8A-4B36-B874-4E9C8B692C25}"/>
              </c:ext>
            </c:extLst>
          </c:dPt>
          <c:dPt>
            <c:idx val="9"/>
            <c:invertIfNegative val="0"/>
            <c:bubble3D val="0"/>
            <c:spPr>
              <a:solidFill>
                <a:srgbClr val="FFBFBF"/>
              </a:solidFill>
            </c:spPr>
            <c:extLst>
              <c:ext xmlns:c16="http://schemas.microsoft.com/office/drawing/2014/chart" uri="{C3380CC4-5D6E-409C-BE32-E72D297353CC}">
                <c16:uniqueId val="{00000013-6D8A-4B36-B874-4E9C8B692C25}"/>
              </c:ext>
            </c:extLst>
          </c:dPt>
          <c:dPt>
            <c:idx val="10"/>
            <c:invertIfNegative val="0"/>
            <c:bubble3D val="0"/>
            <c:spPr>
              <a:solidFill>
                <a:srgbClr val="FF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Ruinart</c:v>
                </c:pt>
                <c:pt idx="1">
                  <c:v>Heidsieck &amp; Co Monopole</c:v>
                </c:pt>
                <c:pt idx="2">
                  <c:v>Canard Duchêne</c:v>
                </c:pt>
                <c:pt idx="3">
                  <c:v>Laurent Perrier</c:v>
                </c:pt>
                <c:pt idx="4">
                  <c:v>De Bligny</c:v>
                </c:pt>
                <c:pt idx="5">
                  <c:v>Taittinger</c:v>
                </c:pt>
                <c:pt idx="6">
                  <c:v>Deutz</c:v>
                </c:pt>
                <c:pt idx="7">
                  <c:v>Ayala</c:v>
                </c:pt>
                <c:pt idx="8">
                  <c:v>Demoiselle</c:v>
                </c:pt>
                <c:pt idx="9">
                  <c:v>Besserat De Bellefon</c:v>
                </c:pt>
                <c:pt idx="10">
                  <c:v>Bollinger</c:v>
                </c:pt>
              </c:strCache>
            </c:strRef>
          </c:cat>
          <c:val>
            <c:numRef>
              <c:f>Sheet1!$B$2:$B$12</c:f>
              <c:numCache>
                <c:formatCode>General</c:formatCode>
                <c:ptCount val="11"/>
                <c:pt idx="0">
                  <c:v>-0.2409246824829403</c:v>
                </c:pt>
                <c:pt idx="1">
                  <c:v>-0.6080316098256713</c:v>
                </c:pt>
                <c:pt idx="2">
                  <c:v>1.110551550568875</c:v>
                </c:pt>
                <c:pt idx="3">
                  <c:v>-0.12408808706497876</c:v>
                </c:pt>
                <c:pt idx="4">
                  <c:v>0.46596226904984883</c:v>
                </c:pt>
                <c:pt idx="5">
                  <c:v>-0.4111655819045408</c:v>
                </c:pt>
                <c:pt idx="6">
                  <c:v>-0.2363119600307153</c:v>
                </c:pt>
                <c:pt idx="7">
                  <c:v>-0.7275257970879088</c:v>
                </c:pt>
                <c:pt idx="8">
                  <c:v>-0.45983200515243794</c:v>
                </c:pt>
                <c:pt idx="9">
                  <c:v>-0.3735630107507385</c:v>
                </c:pt>
                <c:pt idx="10">
                  <c:v>-0.58128306914793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040999999999999925</c:v>
                </c:pt>
                <c:pt idx="1">
                  <c:v>-0.48</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25578821904634574</c:v>
                </c:pt>
                <c:pt idx="1">
                  <c:v>-0.0324241645455029</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052999999999999936</c:v>
                </c:pt>
                <c:pt idx="1">
                  <c:v>0.381</c:v>
                </c:pt>
                <c:pt idx="2">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Contarini</c:v>
                </c:pt>
              </c:strCache>
            </c:strRef>
          </c:cat>
          <c:val>
            <c:numRef>
              <c:f>Sheet1!$B$2:$B$4</c:f>
              <c:numCache>
                <c:formatCode>General</c:formatCode>
                <c:ptCount val="3"/>
                <c:pt idx="0">
                  <c:v>0.1805757244553574</c:v>
                </c:pt>
                <c:pt idx="1">
                  <c:v>0.1616439822118727</c:v>
                </c:pt>
                <c:pt idx="2">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DEDDDD"/>
              </a:solidFill>
            </c:spPr>
            <c:extLst>
              <c:ext xmlns:c16="http://schemas.microsoft.com/office/drawing/2014/chart" uri="{C3380CC4-5D6E-409C-BE32-E72D297353CC}">
                <c16:uniqueId val="{0000000D-9B05-4EC0-B6C5-883B60DE7730}"/>
              </c:ext>
            </c:extLst>
          </c:dPt>
          <c:dPt>
            <c:idx val="7"/>
            <c:invertIfNegative val="0"/>
            <c:bubble3D val="0"/>
            <c:spPr>
              <a:solidFill>
                <a:srgbClr val="DEDDDD"/>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Dom Perignon</c:v>
                </c:pt>
                <c:pt idx="1">
                  <c:v>Malard</c:v>
                </c:pt>
                <c:pt idx="2">
                  <c:v>Ruinart</c:v>
                </c:pt>
                <c:pt idx="3">
                  <c:v>Roederer</c:v>
                </c:pt>
                <c:pt idx="4">
                  <c:v>Pommery</c:v>
                </c:pt>
                <c:pt idx="5">
                  <c:v>Piper Heidsieck</c:v>
                </c:pt>
                <c:pt idx="6">
                  <c:v>Laurent Perrier</c:v>
                </c:pt>
                <c:pt idx="7">
                  <c:v>Bollinger</c:v>
                </c:pt>
              </c:strCache>
            </c:strRef>
          </c:cat>
          <c:val>
            <c:numRef>
              <c:f>Sheet1!$B$2:$B$9</c:f>
              <c:numCache>
                <c:formatCode>General</c:formatCode>
                <c:ptCount val="8"/>
                <c:pt idx="0">
                  <c:v>14.0</c:v>
                </c:pt>
                <c:pt idx="1">
                  <c:v>0.038000000000000034</c:v>
                </c:pt>
                <c:pt idx="2">
                  <c:v>11.667</c:v>
                </c:pt>
                <c:pt idx="3">
                  <c:v>3.0</c:v>
                </c:pt>
                <c:pt idx="4">
                  <c:v>-0.19999999999999996</c:v>
                </c:pt>
                <c:pt idx="5">
                  <c:v>0.0</c:v>
                </c:pt>
                <c:pt idx="6">
                  <c:v>0.0</c:v>
                </c:pt>
                <c:pt idx="7">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DEDDDD"/>
              </a:solidFill>
            </c:spPr>
            <c:extLst>
              <c:ext xmlns:c16="http://schemas.microsoft.com/office/drawing/2014/chart" uri="{C3380CC4-5D6E-409C-BE32-E72D297353CC}">
                <c16:uniqueId val="{0000000D-6D8A-4B36-B874-4E9C8B692C25}"/>
              </c:ext>
            </c:extLst>
          </c:dPt>
          <c:dPt>
            <c:idx val="7"/>
            <c:invertIfNegative val="0"/>
            <c:bubble3D val="0"/>
            <c:spPr>
              <a:solidFill>
                <a:srgbClr val="DEDDDD"/>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c:rich>
              </c:tx>
              <c:showLegendKey val="0"/>
              <c:showVal val="1"/>
              <c:showCatName val="0"/>
              <c:showSerName val="0"/>
              <c:showPercent val="0"/>
              <c:showBubbleSize val="0"/>
            </c:dLbl>
            <c:dLbl>
              <c:idx val="6"/>
              <c:tx>
                <c:rich>
                  <a:bodyPr/>
                  <a:lstStyle/>
                  <a:p/>
                </c:rich>
              </c:tx>
              <c:showLegendKey val="0"/>
              <c:showVal val="1"/>
              <c:showCatName val="0"/>
              <c:showSerName val="0"/>
              <c:showPercent val="0"/>
              <c:showBubbleSize val="0"/>
            </c:dLbl>
            <c:dLbl>
              <c:idx val="7"/>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Dom Perignon</c:v>
                </c:pt>
                <c:pt idx="1">
                  <c:v>Malard</c:v>
                </c:pt>
                <c:pt idx="2">
                  <c:v>Ruinart</c:v>
                </c:pt>
                <c:pt idx="3">
                  <c:v>Roederer</c:v>
                </c:pt>
                <c:pt idx="4">
                  <c:v>Pommery</c:v>
                </c:pt>
                <c:pt idx="5">
                  <c:v>Piper Heidsieck</c:v>
                </c:pt>
                <c:pt idx="6">
                  <c:v>Laurent Perrier</c:v>
                </c:pt>
                <c:pt idx="7">
                  <c:v>Bollinger</c:v>
                </c:pt>
              </c:strCache>
            </c:strRef>
          </c:cat>
          <c:val>
            <c:numRef>
              <c:f>Sheet1!$B$2:$B$9</c:f>
              <c:numCache>
                <c:formatCode>General</c:formatCode>
                <c:ptCount val="8"/>
                <c:pt idx="0">
                  <c:v>5.442289279419533</c:v>
                </c:pt>
                <c:pt idx="1">
                  <c:v>0.0828208299716704</c:v>
                </c:pt>
                <c:pt idx="2">
                  <c:v>5.624550459929282</c:v>
                </c:pt>
                <c:pt idx="3">
                  <c:v>0.36179191220929696</c:v>
                </c:pt>
                <c:pt idx="4">
                  <c:v>-1.2849433351322181</c:v>
                </c:pt>
                <c:pt idx="5">
                  <c:v>0.0</c:v>
                </c:pt>
                <c:pt idx="6">
                  <c:v>0.0</c:v>
                </c:pt>
                <c:pt idx="7">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c:spPr>
            <c:extLst>
              <c:ext xmlns:c16="http://schemas.microsoft.com/office/drawing/2014/chart" uri="{C3380CC4-5D6E-409C-BE32-E72D297353CC}">
                <c16:uniqueId val="{00000007-26FB-4B52-8D72-D56D618E8EAF}"/>
              </c:ext>
            </c:extLst>
          </c:dPt>
          <c:dPt>
            <c:idx val="4"/>
            <c:invertIfNegative val="0"/>
            <c:bubble3D val="0"/>
            <c:spPr>
              <a:solidFill>
                <a:srgbClr val="E6E5E5"/>
              </a:solidFill>
            </c:spPr>
            <c:extLst>
              <c:ext xmlns:c16="http://schemas.microsoft.com/office/drawing/2014/chart" uri="{C3380CC4-5D6E-409C-BE32-E72D297353CC}">
                <c16:uniqueId val="{00000009-26FB-4B52-8D72-D56D618E8EAF}"/>
              </c:ext>
            </c:extLst>
          </c:dPt>
          <c:dPt>
            <c:idx val="5"/>
            <c:invertIfNegative val="0"/>
            <c:bubble3D val="0"/>
            <c:spPr>
              <a:solidFill>
                <a:srgbClr val="E6E5E5"/>
              </a:solidFill>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rgbClr val="E6E5E5"/>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rgbClr val="E6E5E5"/>
              </a:solidFill>
              <a:ln>
                <a:noFill/>
              </a:ln>
              <a:effectLst/>
            </c:spPr>
            <c:extLst>
              <c:ext xmlns:c16="http://schemas.microsoft.com/office/drawing/2014/chart" uri="{C3380CC4-5D6E-409C-BE32-E72D297353CC}">
                <c16:uniqueId val="{00000002-7B2D-4A32-96D2-9C641BCDE5CC}"/>
              </c:ext>
            </c:extLst>
          </c:dPt>
          <c:dPt>
            <c:idx val="13"/>
            <c:invertIfNegative val="0"/>
            <c:bubble3D val="0"/>
            <c:spPr>
              <a:solidFill>
                <a:srgbClr val="E6E5E5"/>
              </a:solidFill>
            </c:spPr>
            <c:extLst>
              <c:ext xmlns:c16="http://schemas.microsoft.com/office/drawing/2014/chart" uri="{C3380CC4-5D6E-409C-BE32-E72D297353CC}">
                <c16:uniqueId val="{00000017-26FB-4B52-8D72-D56D618E8EAF}"/>
              </c:ext>
            </c:extLst>
          </c:dPt>
          <c:dPt>
            <c:idx val="14"/>
            <c:invertIfNegative val="0"/>
            <c:bubble3D val="0"/>
            <c:spPr>
              <a:solidFill>
                <a:srgbClr val="E6E5E5"/>
              </a:solidFill>
              <a:ln>
                <a:noFill/>
              </a:ln>
              <a:effectLst/>
            </c:spPr>
            <c:extLst>
              <c:ext xmlns:c16="http://schemas.microsoft.com/office/drawing/2014/chart" uri="{C3380CC4-5D6E-409C-BE32-E72D297353CC}">
                <c16:uniqueId val="{00000019-26FB-4B52-8D72-D56D618E8EAF}"/>
              </c:ext>
            </c:extLst>
          </c:dPt>
          <c:dPt>
            <c:idx val="15"/>
            <c:invertIfNegative val="0"/>
            <c:bubble3D val="0"/>
            <c:spPr>
              <a:solidFill>
                <a:srgbClr val="E6E5E5"/>
              </a:solidFill>
            </c:spPr>
            <c:extLst>
              <c:ext xmlns:c16="http://schemas.microsoft.com/office/drawing/2014/chart" uri="{C3380CC4-5D6E-409C-BE32-E72D297353CC}">
                <c16:uniqueId val="{0000001C-26FB-4B52-8D72-D56D618E8EAF}"/>
              </c:ext>
            </c:extLst>
          </c:dPt>
          <c:dPt>
            <c:idx val="19"/>
            <c:invertIfNegative val="0"/>
            <c:bubble3D val="0"/>
            <c:spPr>
              <a:solidFill>
                <a:srgbClr val="E6E5E5"/>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rgbClr val="E6E5E5"/>
              </a:solidFill>
              <a:ln>
                <a:noFill/>
              </a:ln>
              <a:effectLst/>
            </c:spPr>
            <c:extLst>
              <c:ext xmlns:c16="http://schemas.microsoft.com/office/drawing/2014/chart" uri="{C3380CC4-5D6E-409C-BE32-E72D297353CC}">
                <c16:uniqueId val="{00000005-0A6E-4C83-9A06-9C3309B2855E}"/>
              </c:ext>
            </c:extLst>
          </c:dPt>
          <c:dPt>
            <c:idx val="29"/>
            <c:invertIfNegative val="0"/>
            <c:bubble3D val="0"/>
            <c:spPr>
              <a:solidFill>
                <a:srgbClr val="E6E5E5"/>
              </a:solidFill>
            </c:spPr>
            <c:extLst>
              <c:ext xmlns:c16="http://schemas.microsoft.com/office/drawing/2014/chart" uri="{C3380CC4-5D6E-409C-BE32-E72D297353CC}">
                <c16:uniqueId val="{00000003-8F47-486F-B734-6012CEA493B3}"/>
              </c:ext>
            </c:extLst>
          </c:dPt>
          <c:dPt>
            <c:idx val="31"/>
            <c:invertIfNegative val="0"/>
            <c:bubble3D val="0"/>
            <c:spPr>
              <a:solidFill>
                <a:srgbClr val="E6E5E5"/>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rgbClr val="E6E5E5"/>
              </a:solidFill>
              <a:ln>
                <a:noFill/>
              </a:ln>
              <a:effectLst/>
            </c:spPr>
            <c:extLst>
              <c:ext xmlns:c16="http://schemas.microsoft.com/office/drawing/2014/chart" uri="{C3380CC4-5D6E-409C-BE32-E72D297353CC}">
                <c16:uniqueId val="{00000001-4D12-44DE-B956-CABCB15EBC04}"/>
              </c:ext>
            </c:extLst>
          </c:dPt>
          <c:dPt>
            <c:idx val="9"/>
            <c:spPr>
              <a:solidFill>
                <a:srgbClr val="E6E5E5"/>
              </a:solidFill>
            </c:spPr>
          </c:dPt>
          <c:dPt>
            <c:idx val="10"/>
            <c:spPr>
              <a:solidFill>
                <a:srgbClr val="E6E5E5"/>
              </a:solidFill>
            </c:spPr>
          </c:dPt>
          <c:dPt>
            <c:idx val="16"/>
            <c:spPr>
              <a:solidFill>
                <a:srgbClr val="E6E5E5"/>
              </a:solidFill>
            </c:spPr>
          </c:dPt>
          <c:dPt>
            <c:idx val="17"/>
            <c:spPr>
              <a:solidFill>
                <a:srgbClr val="E6E5E5"/>
              </a:solidFill>
            </c:spPr>
          </c:dPt>
          <c:dPt>
            <c:idx val="18"/>
            <c:spPr>
              <a:solidFill>
                <a:srgbClr val="E6E5E5"/>
              </a:solidFill>
            </c:spPr>
          </c:dPt>
          <c:dPt>
            <c:idx val="20"/>
            <c:spPr>
              <a:solidFill>
                <a:srgbClr val="E6E5E5"/>
              </a:solidFill>
            </c:spPr>
          </c:dPt>
          <c:dPt>
            <c:idx val="21"/>
            <c:spPr>
              <a:solidFill>
                <a:srgbClr val="7ECAC4"/>
              </a:solidFill>
            </c:spPr>
          </c:dPt>
          <c:dPt>
            <c:idx val="22"/>
            <c:spPr>
              <a:solidFill>
                <a:srgbClr val="E6E5E5"/>
              </a:solidFill>
            </c:spPr>
          </c:dPt>
          <c:dPt>
            <c:idx val="23"/>
            <c:spPr>
              <a:solidFill>
                <a:srgbClr val="E6E5E5"/>
              </a:solidFill>
            </c:spPr>
          </c:dPt>
          <c:dPt>
            <c:idx val="25"/>
            <c:spPr>
              <a:solidFill>
                <a:srgbClr val="E6E5E5"/>
              </a:solidFill>
            </c:spPr>
          </c:dPt>
          <c:dPt>
            <c:idx val="26"/>
            <c:spPr>
              <a:solidFill>
                <a:srgbClr val="E6E5E5"/>
              </a:solidFill>
            </c:spPr>
          </c:dPt>
          <c:dPt>
            <c:idx val="27"/>
            <c:spPr>
              <a:solidFill>
                <a:srgbClr val="E6E5E5"/>
              </a:solidFill>
            </c:spPr>
          </c:dPt>
          <c:dPt>
            <c:idx val="28"/>
            <c:spPr>
              <a:solidFill>
                <a:srgbClr val="E6E5E5"/>
              </a:solidFill>
            </c:spPr>
          </c:dPt>
          <c:dPt>
            <c:idx val="30"/>
            <c:spPr>
              <a:solidFill>
                <a:srgbClr val="E6E5E5"/>
              </a:solidFill>
            </c:spPr>
          </c:dPt>
          <c:dPt>
            <c:idx val="32"/>
            <c:spPr>
              <a:solidFill>
                <a:srgbClr val="E6E5E5"/>
              </a:solidFill>
            </c:spPr>
          </c:dPt>
          <c:dPt>
            <c:idx val="34"/>
            <c:spPr>
              <a:solidFill>
                <a:srgbClr val="E6E5E5"/>
              </a:solidFill>
            </c:spPr>
          </c:dPt>
          <c:dPt>
            <c:idx val="35"/>
            <c:spPr>
              <a:solidFill>
                <a:srgbClr val="E6E5E5"/>
              </a:solidFill>
            </c:spPr>
          </c:dPt>
          <c:dPt>
            <c:idx val="36"/>
            <c:spPr>
              <a:solidFill>
                <a:srgbClr val="E6E5E5"/>
              </a:solidFill>
            </c:spPr>
          </c:dPt>
          <c:dPt>
            <c:idx val="37"/>
            <c:spPr>
              <a:solidFill>
                <a:srgbClr val="E6E5E5"/>
              </a:solidFill>
            </c:spPr>
          </c:dPt>
          <c:dPt>
            <c:idx val="38"/>
            <c:spPr>
              <a:solidFill>
                <a:srgbClr val="E6E5E5"/>
              </a:solidFill>
            </c:spPr>
          </c:dPt>
          <c:dPt>
            <c:idx val="39"/>
            <c:spPr>
              <a:solidFill>
                <a:srgbClr val="E6E5E5"/>
              </a:solidFill>
            </c:spPr>
          </c:dPt>
          <c:dPt>
            <c:idx val="40"/>
            <c:spPr>
              <a:solidFill>
                <a:srgbClr val="E6E5E5"/>
              </a:solidFill>
            </c:spPr>
          </c:dPt>
          <c:dPt>
            <c:idx val="41"/>
            <c:spPr>
              <a:solidFill>
                <a:srgbClr val="E6E5E5"/>
              </a:solidFill>
            </c:spPr>
          </c:dPt>
          <c:dPt>
            <c:idx val="42"/>
            <c:spPr>
              <a:solidFill>
                <a:srgbClr val="7ECAC4"/>
              </a:solidFill>
            </c:spPr>
          </c:dPt>
          <c:dPt>
            <c:idx val="43"/>
            <c:spPr>
              <a:solidFill>
                <a:srgbClr val="E6E5E5"/>
              </a:solidFill>
            </c:spPr>
          </c:dPt>
          <c:dPt>
            <c:idx val="44"/>
            <c:spPr>
              <a:solidFill>
                <a:srgbClr val="E6E5E5"/>
              </a:solidFill>
            </c:spPr>
          </c:dPt>
          <c:dPt>
            <c:idx val="45"/>
            <c:spPr>
              <a:solidFill>
                <a:srgbClr val="E6E5E5"/>
              </a:solidFill>
            </c:spPr>
          </c:dPt>
          <c:dPt>
            <c:idx val="46"/>
            <c:spPr>
              <a:solidFill>
                <a:srgbClr val="E6E5E5"/>
              </a:solidFill>
            </c:spPr>
          </c:dPt>
          <c:dPt>
            <c:idx val="47"/>
            <c:spPr>
              <a:solidFill>
                <a:srgbClr val="E6E5E5"/>
              </a:solidFill>
            </c:spPr>
          </c:dPt>
          <c:dPt>
            <c:idx val="48"/>
            <c:spPr>
              <a:solidFill>
                <a:srgbClr val="E6E5E5"/>
              </a:solidFill>
            </c:spPr>
          </c:dPt>
          <c:dPt>
            <c:idx val="49"/>
            <c:spPr>
              <a:solidFill>
                <a:srgbClr val="E6E5E5"/>
              </a:solidFill>
            </c:spPr>
          </c:dPt>
          <c:dPt>
            <c:idx val="50"/>
            <c:spPr>
              <a:solidFill>
                <a:srgbClr val="E6E5E5"/>
              </a:solidFill>
            </c:spPr>
          </c:dPt>
          <c:dPt>
            <c:idx val="51"/>
            <c:spPr>
              <a:solidFill>
                <a:srgbClr val="E6E5E5"/>
              </a:solidFill>
            </c:spPr>
          </c:dPt>
          <c:dPt>
            <c:idx val="52"/>
            <c:spPr>
              <a:solidFill>
                <a:srgbClr val="E6E5E5"/>
              </a:solidFill>
            </c:spPr>
          </c:dPt>
          <c:dPt>
            <c:idx val="53"/>
            <c:spPr>
              <a:solidFill>
                <a:srgbClr val="E6E5E5"/>
              </a:solidFill>
            </c:spPr>
          </c:dPt>
          <c:dPt>
            <c:idx val="54"/>
            <c:spPr>
              <a:solidFill>
                <a:srgbClr val="E6E5E5"/>
              </a:solidFill>
            </c:spPr>
          </c:dPt>
          <c:dPt>
            <c:idx val="55"/>
            <c:spPr>
              <a:solidFill>
                <a:srgbClr val="E6E5E5"/>
              </a:solidFill>
            </c:spPr>
          </c:dPt>
          <c:dPt>
            <c:idx val="56"/>
            <c:spPr>
              <a:solidFill>
                <a:srgbClr val="E6E5E5"/>
              </a:solidFill>
            </c:spPr>
          </c:dPt>
          <c:dPt>
            <c:idx val="57"/>
            <c:spPr>
              <a:solidFill>
                <a:srgbClr val="E6E5E5"/>
              </a:solidFill>
            </c:spPr>
          </c:dPt>
          <c:dPt>
            <c:idx val="58"/>
            <c:spPr>
              <a:solidFill>
                <a:srgbClr val="E6E5E5"/>
              </a:solidFill>
            </c:spPr>
          </c:dPt>
          <c:dPt>
            <c:idx val="59"/>
            <c:spPr>
              <a:solidFill>
                <a:srgbClr val="E6E5E5"/>
              </a:solidFill>
            </c:spPr>
          </c:dPt>
          <c:dPt>
            <c:idx val="60"/>
            <c:spPr>
              <a:solidFill>
                <a:srgbClr val="E6E5E5"/>
              </a:solidFill>
            </c:spPr>
          </c:dPt>
          <c:dPt>
            <c:idx val="61"/>
            <c:spPr>
              <a:solidFill>
                <a:srgbClr val="E6E5E5"/>
              </a:solidFill>
            </c:spPr>
          </c:dPt>
          <c:dPt>
            <c:idx val="62"/>
            <c:spPr>
              <a:solidFill>
                <a:srgbClr val="E6E5E5"/>
              </a:solidFill>
            </c:spPr>
          </c:dPt>
          <c:dPt>
            <c:idx val="63"/>
            <c:spPr>
              <a:solidFill>
                <a:srgbClr val="7ECAC4"/>
              </a:solidFill>
            </c:spPr>
          </c:dPt>
          <c:dPt>
            <c:idx val="64"/>
            <c:spPr>
              <a:solidFill>
                <a:srgbClr val="E6E5E5"/>
              </a:solidFill>
            </c:spPr>
          </c:dPt>
          <c:dPt>
            <c:idx val="65"/>
            <c:spPr>
              <a:solidFill>
                <a:srgbClr val="E6E5E5"/>
              </a:solidFill>
            </c:spPr>
          </c:dPt>
          <c:dPt>
            <c:idx val="66"/>
            <c:spPr>
              <a:solidFill>
                <a:srgbClr val="E6E5E5"/>
              </a:solidFill>
            </c:spPr>
          </c:dPt>
          <c:dPt>
            <c:idx val="67"/>
            <c:spPr>
              <a:solidFill>
                <a:srgbClr val="E6E5E5"/>
              </a:solidFill>
            </c:spPr>
          </c:dPt>
          <c:dPt>
            <c:idx val="68"/>
            <c:spPr>
              <a:solidFill>
                <a:srgbClr val="E6E5E5"/>
              </a:solidFill>
            </c:spPr>
          </c:dPt>
          <c:dPt>
            <c:idx val="69"/>
            <c:spPr>
              <a:solidFill>
                <a:srgbClr val="E6E5E5"/>
              </a:solidFill>
            </c:spPr>
          </c:dPt>
          <c:dPt>
            <c:idx val="70"/>
            <c:spPr>
              <a:solidFill>
                <a:srgbClr val="E6E5E5"/>
              </a:solidFill>
            </c:spPr>
          </c:dPt>
          <c:dPt>
            <c:idx val="71"/>
            <c:spPr>
              <a:solidFill>
                <a:srgbClr val="E6E5E5"/>
              </a:solidFill>
            </c:spPr>
          </c:dPt>
          <c:dPt>
            <c:idx val="72"/>
            <c:spPr>
              <a:solidFill>
                <a:srgbClr val="E6E5E5"/>
              </a:solidFill>
            </c:spPr>
          </c:dPt>
          <c:dPt>
            <c:idx val="73"/>
            <c:spPr>
              <a:solidFill>
                <a:srgbClr val="E6E5E5"/>
              </a:solidFill>
            </c:spPr>
          </c:dPt>
          <c:dPt>
            <c:idx val="74"/>
            <c:spPr>
              <a:solidFill>
                <a:srgbClr val="E6E5E5"/>
              </a:solidFill>
            </c:spPr>
          </c:dPt>
          <c:dPt>
            <c:idx val="75"/>
            <c:spPr>
              <a:solidFill>
                <a:srgbClr val="E6E5E5"/>
              </a:solidFill>
            </c:spPr>
          </c:dPt>
          <c:dPt>
            <c:idx val="76"/>
            <c:spPr>
              <a:solidFill>
                <a:srgbClr val="E6E5E5"/>
              </a:solidFill>
            </c:spPr>
          </c:dPt>
          <c:dPt>
            <c:idx val="77"/>
            <c:spPr>
              <a:solidFill>
                <a:srgbClr val="E6E5E5"/>
              </a:solidFill>
            </c:spPr>
          </c:dPt>
          <c:dPt>
            <c:idx val="78"/>
            <c:spPr>
              <a:solidFill>
                <a:srgbClr val="E6E5E5"/>
              </a:solidFill>
            </c:spPr>
          </c:dPt>
          <c:dPt>
            <c:idx val="79"/>
            <c:spPr>
              <a:solidFill>
                <a:srgbClr val="E6E5E5"/>
              </a:solidFill>
            </c:spPr>
          </c:dPt>
          <c:dPt>
            <c:idx val="80"/>
            <c:spPr>
              <a:solidFill>
                <a:srgbClr val="E6E5E5"/>
              </a:solidFill>
            </c:spPr>
          </c:dPt>
          <c:dPt>
            <c:idx val="81"/>
            <c:spPr>
              <a:solidFill>
                <a:srgbClr val="E6E5E5"/>
              </a:solidFill>
            </c:spPr>
          </c:dPt>
          <c:dPt>
            <c:idx val="82"/>
            <c:spPr>
              <a:solidFill>
                <a:srgbClr val="E6E5E5"/>
              </a:solidFill>
            </c:spPr>
          </c:dPt>
          <c:dPt>
            <c:idx val="83"/>
            <c:spPr>
              <a:solidFill>
                <a:srgbClr val="E6E5E5"/>
              </a:solidFill>
            </c:spPr>
          </c:dPt>
          <c:dPt>
            <c:idx val="84"/>
            <c:spPr>
              <a:solidFill>
                <a:srgbClr val="E6E5E5"/>
              </a:solidFill>
            </c:spPr>
          </c:dPt>
          <c:dPt>
            <c:idx val="85"/>
            <c:spPr>
              <a:solidFill>
                <a:srgbClr val="E6E5E5"/>
              </a:solidFill>
            </c:spPr>
          </c:dPt>
          <c:dPt>
            <c:idx val="86"/>
            <c:spPr>
              <a:solidFill>
                <a:srgbClr val="7ECAC4"/>
              </a:solidFill>
            </c:spPr>
          </c:dPt>
          <c:dPt>
            <c:idx val="87"/>
            <c:spPr>
              <a:solidFill>
                <a:srgbClr val="E6E5E5"/>
              </a:solidFill>
            </c:spPr>
          </c:dPt>
          <c:dPt>
            <c:idx val="88"/>
            <c:spPr>
              <a:solidFill>
                <a:srgbClr val="E6E5E5"/>
              </a:solidFill>
            </c:spPr>
          </c:dPt>
          <c:dPt>
            <c:idx val="89"/>
            <c:spPr>
              <a:solidFill>
                <a:srgbClr val="E6E5E5"/>
              </a:solidFill>
            </c:spPr>
          </c:dPt>
          <c:dPt>
            <c:idx val="90"/>
            <c:spPr>
              <a:solidFill>
                <a:srgbClr val="E6E5E5"/>
              </a:solidFill>
            </c:spPr>
          </c:dPt>
          <c:dPt>
            <c:idx val="91"/>
            <c:spPr>
              <a:solidFill>
                <a:srgbClr val="E6E5E5"/>
              </a:solidFill>
            </c:spPr>
          </c:dPt>
          <c:dPt>
            <c:idx val="92"/>
            <c:spPr>
              <a:solidFill>
                <a:srgbClr val="E6E5E5"/>
              </a:solidFill>
            </c:spPr>
          </c:dPt>
          <c:dPt>
            <c:idx val="93"/>
            <c:spPr>
              <a:solidFill>
                <a:srgbClr val="E6E5E5"/>
              </a:solidFill>
            </c:spPr>
          </c:dPt>
          <c:dPt>
            <c:idx val="94"/>
            <c:spPr>
              <a:solidFill>
                <a:srgbClr val="E6E5E5"/>
              </a:solidFill>
            </c:spPr>
          </c:dPt>
          <c:dPt>
            <c:idx val="95"/>
            <c:spPr>
              <a:solidFill>
                <a:srgbClr val="E6E5E5"/>
              </a:solidFill>
            </c:spPr>
          </c:dPt>
          <c:dPt>
            <c:idx val="96"/>
            <c:spPr>
              <a:solidFill>
                <a:srgbClr val="E6E5E5"/>
              </a:solidFill>
            </c:spPr>
          </c:dPt>
          <c:dPt>
            <c:idx val="97"/>
            <c:spPr>
              <a:solidFill>
                <a:srgbClr val="E6E5E5"/>
              </a:solidFill>
            </c:spPr>
          </c:dPt>
          <c:dPt>
            <c:idx val="98"/>
            <c:spPr>
              <a:solidFill>
                <a:srgbClr val="E6E5E5"/>
              </a:solidFill>
            </c:spPr>
          </c:dPt>
          <c:dPt>
            <c:idx val="99"/>
            <c:spPr>
              <a:solidFill>
                <a:srgbClr val="E6E5E5"/>
              </a:solidFill>
            </c:spPr>
          </c:dPt>
          <c:dPt>
            <c:idx val="100"/>
            <c:spPr>
              <a:solidFill>
                <a:srgbClr val="E6E5E5"/>
              </a:solidFill>
            </c:spPr>
          </c:dPt>
          <c:dPt>
            <c:idx val="101"/>
            <c:spPr>
              <a:solidFill>
                <a:srgbClr val="E6E5E5"/>
              </a:solidFill>
            </c:spPr>
          </c:dPt>
          <c:dPt>
            <c:idx val="102"/>
            <c:spPr>
              <a:solidFill>
                <a:srgbClr val="E6E5E5"/>
              </a:solidFill>
            </c:spPr>
          </c:dPt>
          <c:dPt>
            <c:idx val="103"/>
            <c:spPr>
              <a:solidFill>
                <a:srgbClr val="E6E5E5"/>
              </a:solidFill>
            </c:spPr>
          </c:dPt>
          <c:dPt>
            <c:idx val="104"/>
            <c:spPr>
              <a:solidFill>
                <a:srgbClr val="7ECAC4"/>
              </a:solidFill>
            </c:spPr>
          </c:dPt>
          <c:dPt>
            <c:idx val="105"/>
            <c:spPr>
              <a:solidFill>
                <a:srgbClr val="E6E5E5"/>
              </a:solidFill>
            </c:spPr>
          </c:dPt>
          <c:dPt>
            <c:idx val="106"/>
            <c:spPr>
              <a:solidFill>
                <a:srgbClr val="E6E5E5"/>
              </a:solidFill>
            </c:spPr>
          </c:dPt>
          <c:dPt>
            <c:idx val="107"/>
            <c:spPr>
              <a:solidFill>
                <a:srgbClr val="E6E5E5"/>
              </a:solidFill>
            </c:spPr>
          </c:dPt>
          <c:dPt>
            <c:idx val="108"/>
            <c:spPr>
              <a:solidFill>
                <a:srgbClr val="E6E5E5"/>
              </a:solidFill>
            </c:spPr>
          </c:dPt>
          <c:dPt>
            <c:idx val="109"/>
            <c:spPr>
              <a:solidFill>
                <a:srgbClr val="E6E5E5"/>
              </a:solidFill>
            </c:spPr>
          </c:dPt>
          <c:dPt>
            <c:idx val="110"/>
            <c:spPr>
              <a:solidFill>
                <a:srgbClr val="E6E5E5"/>
              </a:solidFill>
            </c:spPr>
          </c:dPt>
          <c:dPt>
            <c:idx val="111"/>
            <c:spPr>
              <a:solidFill>
                <a:srgbClr val="E6E5E5"/>
              </a:solidFill>
            </c:spPr>
          </c:dPt>
          <c:dPt>
            <c:idx val="112"/>
            <c:spPr>
              <a:solidFill>
                <a:srgbClr val="E6E5E5"/>
              </a:solidFill>
            </c:spPr>
          </c:dPt>
          <c:dPt>
            <c:idx val="113"/>
            <c:spPr>
              <a:solidFill>
                <a:srgbClr val="E6E5E5"/>
              </a:solidFill>
            </c:spPr>
          </c:dPt>
          <c:dPt>
            <c:idx val="114"/>
            <c:spPr>
              <a:solidFill>
                <a:srgbClr val="E6E5E5"/>
              </a:solidFill>
            </c:spPr>
          </c:dPt>
          <c:dPt>
            <c:idx val="115"/>
            <c:spPr>
              <a:solidFill>
                <a:srgbClr val="E6E5E5"/>
              </a:solidFill>
            </c:spPr>
          </c:dPt>
          <c:dPt>
            <c:idx val="116"/>
            <c:spPr>
              <a:solidFill>
                <a:srgbClr val="E6E5E5"/>
              </a:solidFill>
            </c:spPr>
          </c:dPt>
          <c:dPt>
            <c:idx val="117"/>
            <c:spPr>
              <a:solidFill>
                <a:srgbClr val="E6E5E5"/>
              </a:solidFill>
            </c:spPr>
          </c:dPt>
          <c:dPt>
            <c:idx val="118"/>
            <c:spPr>
              <a:solidFill>
                <a:srgbClr val="E6E5E5"/>
              </a:solidFill>
            </c:spPr>
          </c:dPt>
          <c:dPt>
            <c:idx val="119"/>
            <c:spPr>
              <a:solidFill>
                <a:srgbClr val="E6E5E5"/>
              </a:solidFill>
            </c:spPr>
          </c:dPt>
          <c:dPt>
            <c:idx val="120"/>
            <c:spPr>
              <a:solidFill>
                <a:srgbClr val="E6E5E5"/>
              </a:solidFill>
            </c:spPr>
          </c:dPt>
          <c:dPt>
            <c:idx val="121"/>
            <c:spPr>
              <a:solidFill>
                <a:srgbClr val="E6E5E5"/>
              </a:solidFill>
            </c:spPr>
          </c:dPt>
          <c:dPt>
            <c:idx val="122"/>
            <c:spPr>
              <a:solidFill>
                <a:srgbClr val="E6E5E5"/>
              </a:solidFill>
            </c:spPr>
          </c:dPt>
          <c:dPt>
            <c:idx val="123"/>
            <c:spPr>
              <a:solidFill>
                <a:srgbClr val="E6E5E5"/>
              </a:solidFill>
            </c:spPr>
          </c:dPt>
          <c:dPt>
            <c:idx val="124"/>
            <c:spPr>
              <a:solidFill>
                <a:srgbClr val="E6E5E5"/>
              </a:solidFill>
            </c:spPr>
          </c:dPt>
          <c:dPt>
            <c:idx val="125"/>
            <c:spPr>
              <a:solidFill>
                <a:srgbClr val="7ECAC4"/>
              </a:solidFill>
            </c:spPr>
          </c:dPt>
          <c:dPt>
            <c:idx val="126"/>
            <c:spPr>
              <a:solidFill>
                <a:srgbClr val="E6E5E5"/>
              </a:solidFill>
            </c:spPr>
          </c:dPt>
          <c:dPt>
            <c:idx val="127"/>
            <c:spPr>
              <a:solidFill>
                <a:srgbClr val="E6E5E5"/>
              </a:solidFill>
            </c:spPr>
          </c:dPt>
          <c:dPt>
            <c:idx val="128"/>
            <c:spPr>
              <a:solidFill>
                <a:srgbClr val="E6E5E5"/>
              </a:solidFill>
            </c:spPr>
          </c:dPt>
          <c:dPt>
            <c:idx val="129"/>
            <c:spPr>
              <a:solidFill>
                <a:srgbClr val="E6E5E5"/>
              </a:solidFill>
            </c:spPr>
          </c:dPt>
          <c:dPt>
            <c:idx val="130"/>
            <c:spPr>
              <a:solidFill>
                <a:srgbClr val="E6E5E5"/>
              </a:solidFill>
            </c:spPr>
          </c:dPt>
          <c:dPt>
            <c:idx val="131"/>
            <c:spPr>
              <a:solidFill>
                <a:srgbClr val="E6E5E5"/>
              </a:solidFill>
            </c:spPr>
          </c:dPt>
          <c:dPt>
            <c:idx val="132"/>
            <c:spPr>
              <a:solidFill>
                <a:srgbClr val="E6E5E5"/>
              </a:solidFill>
            </c:spPr>
          </c:dPt>
          <c:dPt>
            <c:idx val="133"/>
            <c:spPr>
              <a:solidFill>
                <a:srgbClr val="E6E5E5"/>
              </a:solidFill>
            </c:spPr>
          </c:dPt>
          <c:dPt>
            <c:idx val="134"/>
            <c:spPr>
              <a:solidFill>
                <a:srgbClr val="E6E5E5"/>
              </a:solidFill>
            </c:spPr>
          </c:dPt>
          <c:dPt>
            <c:idx val="135"/>
            <c:spPr>
              <a:solidFill>
                <a:srgbClr val="E6E5E5"/>
              </a:solidFill>
            </c:spPr>
          </c:dPt>
          <c:dPt>
            <c:idx val="136"/>
            <c:spPr>
              <a:solidFill>
                <a:srgbClr val="E6E5E5"/>
              </a:solidFill>
            </c:spPr>
          </c:dPt>
          <c:dPt>
            <c:idx val="137"/>
            <c:spPr>
              <a:solidFill>
                <a:srgbClr val="E6E5E5"/>
              </a:solidFill>
            </c:spPr>
          </c:dPt>
          <c:dPt>
            <c:idx val="138"/>
            <c:spPr>
              <a:solidFill>
                <a:srgbClr val="E6E5E5"/>
              </a:solidFill>
            </c:spPr>
          </c:dPt>
          <c:dPt>
            <c:idx val="139"/>
            <c:spPr>
              <a:solidFill>
                <a:srgbClr val="E6E5E5"/>
              </a:solidFill>
            </c:spPr>
          </c:dPt>
          <c:dPt>
            <c:idx val="140"/>
            <c:spPr>
              <a:solidFill>
                <a:srgbClr val="E6E5E5"/>
              </a:solidFill>
            </c:spPr>
          </c:dPt>
          <c:dPt>
            <c:idx val="141"/>
            <c:spPr>
              <a:solidFill>
                <a:srgbClr val="E6E5E5"/>
              </a:solidFill>
            </c:spPr>
          </c:dPt>
          <c:dPt>
            <c:idx val="142"/>
            <c:spPr>
              <a:solidFill>
                <a:srgbClr val="E6E5E5"/>
              </a:solidFill>
            </c:spPr>
          </c:dPt>
          <c:dPt>
            <c:idx val="143"/>
            <c:spPr>
              <a:solidFill>
                <a:srgbClr val="E6E5E5"/>
              </a:solidFill>
            </c:spPr>
          </c:dPt>
          <c:dPt>
            <c:idx val="144"/>
            <c:spPr>
              <a:solidFill>
                <a:srgbClr val="E6E5E5"/>
              </a:solidFill>
            </c:spPr>
          </c:dPt>
          <c:dPt>
            <c:idx val="145"/>
            <c:spPr>
              <a:solidFill>
                <a:srgbClr val="E6E5E5"/>
              </a:solidFill>
            </c:spPr>
          </c:dPt>
          <c:dPt>
            <c:idx val="146"/>
            <c:spPr>
              <a:solidFill>
                <a:srgbClr val="7ECAC4"/>
              </a:solidFill>
            </c:spPr>
          </c:dPt>
          <c:dPt>
            <c:idx val="147"/>
            <c:spPr>
              <a:solidFill>
                <a:srgbClr val="E6E5E5"/>
              </a:solidFill>
            </c:spPr>
          </c:dPt>
          <c:dPt>
            <c:idx val="148"/>
            <c:spPr>
              <a:solidFill>
                <a:srgbClr val="E6E5E5"/>
              </a:solidFill>
            </c:spPr>
          </c:dPt>
          <c:dPt>
            <c:idx val="149"/>
            <c:spPr>
              <a:solidFill>
                <a:srgbClr val="E6E5E5"/>
              </a:solidFill>
            </c:spPr>
          </c:dPt>
          <c:dPt>
            <c:idx val="150"/>
            <c:spPr>
              <a:solidFill>
                <a:srgbClr val="E6E5E5"/>
              </a:solidFill>
            </c:spPr>
          </c:dPt>
          <c:dPt>
            <c:idx val="151"/>
            <c:spPr>
              <a:solidFill>
                <a:srgbClr val="E6E5E5"/>
              </a:solidFill>
            </c:spPr>
          </c:dPt>
          <c:dPt>
            <c:idx val="152"/>
            <c:spPr>
              <a:solidFill>
                <a:srgbClr val="E6E5E5"/>
              </a:solidFill>
            </c:spPr>
          </c:dPt>
          <c:dPt>
            <c:idx val="153"/>
            <c:spPr>
              <a:solidFill>
                <a:srgbClr val="E6E5E5"/>
              </a:solidFill>
            </c:spPr>
          </c:dPt>
          <c:dPt>
            <c:idx val="154"/>
            <c:spPr>
              <a:solidFill>
                <a:srgbClr val="E6E5E5"/>
              </a:solidFill>
            </c:spPr>
          </c:dPt>
          <c:dPt>
            <c:idx val="155"/>
            <c:spPr>
              <a:solidFill>
                <a:srgbClr val="E6E5E5"/>
              </a:solidFill>
            </c:spPr>
          </c:dPt>
          <c:dPt>
            <c:idx val="156"/>
            <c:spPr>
              <a:solidFill>
                <a:srgbClr val="E6E5E5"/>
              </a:solidFill>
            </c:spPr>
          </c:dPt>
          <c:dPt>
            <c:idx val="157"/>
            <c:spPr>
              <a:solidFill>
                <a:srgbClr val="E6E5E5"/>
              </a:solidFill>
            </c:spPr>
          </c:dPt>
          <c:dPt>
            <c:idx val="158"/>
            <c:spPr>
              <a:solidFill>
                <a:srgbClr val="E6E5E5"/>
              </a:solidFill>
            </c:spPr>
          </c:dPt>
          <c:dPt>
            <c:idx val="159"/>
            <c:spPr>
              <a:solidFill>
                <a:srgbClr val="E6E5E5"/>
              </a:solidFill>
            </c:spPr>
          </c:dPt>
          <c:dPt>
            <c:idx val="160"/>
            <c:spPr>
              <a:solidFill>
                <a:srgbClr val="E6E5E5"/>
              </a:solidFill>
            </c:spPr>
          </c:dPt>
          <c:dPt>
            <c:idx val="161"/>
            <c:spPr>
              <a:solidFill>
                <a:srgbClr val="E6E5E5"/>
              </a:solidFill>
            </c:spPr>
          </c:dPt>
          <c:dPt>
            <c:idx val="162"/>
            <c:spPr>
              <a:solidFill>
                <a:srgbClr val="E6E5E5"/>
              </a:solidFill>
            </c:spPr>
          </c:dPt>
          <c:dPt>
            <c:idx val="163"/>
            <c:spPr>
              <a:solidFill>
                <a:srgbClr val="E6E5E5"/>
              </a:solidFill>
            </c:spPr>
          </c:dPt>
          <c:dPt>
            <c:idx val="164"/>
            <c:spPr>
              <a:solidFill>
                <a:srgbClr val="E6E5E5"/>
              </a:solidFill>
            </c:spPr>
          </c:dPt>
          <c:dPt>
            <c:idx val="165"/>
            <c:spPr>
              <a:solidFill>
                <a:srgbClr val="E6E5E5"/>
              </a:solidFill>
            </c:spPr>
          </c:dPt>
          <c:dPt>
            <c:idx val="166"/>
            <c:spPr>
              <a:solidFill>
                <a:srgbClr val="7ECAC4"/>
              </a:solidFill>
            </c:spPr>
          </c:dPt>
          <c:dPt>
            <c:idx val="167"/>
            <c:spPr>
              <a:solidFill>
                <a:srgbClr val="E6E5E5"/>
              </a:solidFill>
            </c:spPr>
          </c:dPt>
          <c:dPt>
            <c:idx val="168"/>
            <c:spPr>
              <a:solidFill>
                <a:srgbClr val="E6E5E5"/>
              </a:solidFill>
            </c:spPr>
          </c:dPt>
          <c:dPt>
            <c:idx val="169"/>
            <c:spPr>
              <a:solidFill>
                <a:srgbClr val="E6E5E5"/>
              </a:solidFill>
            </c:spPr>
          </c:dPt>
          <c:dPt>
            <c:idx val="170"/>
            <c:spPr>
              <a:solidFill>
                <a:srgbClr val="E6E5E5"/>
              </a:solidFill>
            </c:spPr>
          </c:dPt>
          <c:dPt>
            <c:idx val="171"/>
            <c:spPr>
              <a:solidFill>
                <a:srgbClr val="E6E5E5"/>
              </a:solidFill>
            </c:spPr>
          </c:dPt>
          <c:dPt>
            <c:idx val="172"/>
            <c:spPr>
              <a:solidFill>
                <a:srgbClr val="E6E5E5"/>
              </a:solidFill>
            </c:spPr>
          </c:dPt>
          <c:dPt>
            <c:idx val="173"/>
            <c:spPr>
              <a:solidFill>
                <a:srgbClr val="E6E5E5"/>
              </a:solidFill>
            </c:spPr>
          </c:dPt>
          <c:dPt>
            <c:idx val="174"/>
            <c:spPr>
              <a:solidFill>
                <a:srgbClr val="E6E5E5"/>
              </a:solidFill>
            </c:spPr>
          </c:dPt>
          <c:dPt>
            <c:idx val="175"/>
            <c:spPr>
              <a:solidFill>
                <a:srgbClr val="E6E5E5"/>
              </a:solidFill>
            </c:spPr>
          </c:dPt>
          <c:dPt>
            <c:idx val="176"/>
            <c:spPr>
              <a:solidFill>
                <a:srgbClr val="E6E5E5"/>
              </a:solidFill>
            </c:spPr>
          </c:dPt>
          <c:dPt>
            <c:idx val="177"/>
            <c:spPr>
              <a:solidFill>
                <a:srgbClr val="E6E5E5"/>
              </a:solidFill>
            </c:spPr>
          </c:dPt>
          <c:dPt>
            <c:idx val="178"/>
            <c:spPr>
              <a:solidFill>
                <a:srgbClr val="E6E5E5"/>
              </a:solidFill>
            </c:spPr>
          </c:dPt>
          <c:dPt>
            <c:idx val="179"/>
            <c:spPr>
              <a:solidFill>
                <a:srgbClr val="E6E5E5"/>
              </a:solidFill>
            </c:spPr>
          </c:dPt>
          <c:dPt>
            <c:idx val="180"/>
            <c:spPr>
              <a:solidFill>
                <a:srgbClr val="E6E5E5"/>
              </a:solidFill>
            </c:spPr>
          </c:dPt>
          <c:dPt>
            <c:idx val="181"/>
            <c:spPr>
              <a:solidFill>
                <a:srgbClr val="E6E5E5"/>
              </a:solidFill>
            </c:spPr>
          </c:dPt>
          <c:dPt>
            <c:idx val="182"/>
            <c:spPr>
              <a:solidFill>
                <a:srgbClr val="E6E5E5"/>
              </a:solidFill>
            </c:spPr>
          </c:dPt>
          <c:dPt>
            <c:idx val="183"/>
            <c:spPr>
              <a:solidFill>
                <a:srgbClr val="E6E5E5"/>
              </a:solidFill>
            </c:spPr>
          </c:dPt>
          <c:dPt>
            <c:idx val="184"/>
            <c:spPr>
              <a:solidFill>
                <a:srgbClr val="E6E5E5"/>
              </a:solidFill>
            </c:spPr>
          </c:dPt>
          <c:dPt>
            <c:idx val="185"/>
            <c:spPr>
              <a:solidFill>
                <a:srgbClr val="E6E5E5"/>
              </a:solidFill>
            </c:spPr>
          </c:dPt>
          <c:dPt>
            <c:idx val="186"/>
            <c:spPr>
              <a:solidFill>
                <a:srgbClr val="7ECAC4"/>
              </a:solidFill>
            </c:spPr>
          </c:dPt>
          <c:dPt>
            <c:idx val="187"/>
            <c:spPr>
              <a:solidFill>
                <a:srgbClr val="E6E5E5"/>
              </a:solidFill>
            </c:spPr>
          </c:dPt>
          <c:dPt>
            <c:idx val="188"/>
            <c:spPr>
              <a:solidFill>
                <a:srgbClr val="E6E5E5"/>
              </a:solidFill>
            </c:spPr>
          </c:dPt>
          <c:dPt>
            <c:idx val="189"/>
            <c:spPr>
              <a:solidFill>
                <a:srgbClr val="E6E5E5"/>
              </a:solidFill>
            </c:spPr>
          </c:dPt>
          <c:dPt>
            <c:idx val="190"/>
            <c:spPr>
              <a:solidFill>
                <a:srgbClr val="E6E5E5"/>
              </a:solidFill>
            </c:spPr>
          </c:dPt>
          <c:dPt>
            <c:idx val="191"/>
            <c:spPr>
              <a:solidFill>
                <a:srgbClr val="E6E5E5"/>
              </a:solidFill>
            </c:spPr>
          </c:dPt>
          <c:dPt>
            <c:idx val="192"/>
            <c:spPr>
              <a:solidFill>
                <a:srgbClr val="E6E5E5"/>
              </a:solidFill>
            </c:spPr>
          </c:dPt>
          <c:dPt>
            <c:idx val="193"/>
            <c:spPr>
              <a:solidFill>
                <a:srgbClr val="E6E5E5"/>
              </a:solidFill>
            </c:spPr>
          </c:dPt>
          <c:dPt>
            <c:idx val="194"/>
            <c:spPr>
              <a:solidFill>
                <a:srgbClr val="E6E5E5"/>
              </a:solidFill>
            </c:spPr>
          </c:dPt>
          <c:dPt>
            <c:idx val="195"/>
            <c:spPr>
              <a:solidFill>
                <a:srgbClr val="E6E5E5"/>
              </a:solidFill>
            </c:spPr>
          </c:dPt>
          <c:dPt>
            <c:idx val="196"/>
            <c:spPr>
              <a:solidFill>
                <a:srgbClr val="E6E5E5"/>
              </a:solidFill>
            </c:spPr>
          </c:dPt>
          <c:dPt>
            <c:idx val="197"/>
            <c:spPr>
              <a:solidFill>
                <a:srgbClr val="E6E5E5"/>
              </a:solidFill>
            </c:spPr>
          </c:dPt>
          <c:dPt>
            <c:idx val="198"/>
            <c:spPr>
              <a:solidFill>
                <a:srgbClr val="E6E5E5"/>
              </a:solidFill>
            </c:spPr>
          </c:dPt>
          <c:dPt>
            <c:idx val="199"/>
            <c:spPr>
              <a:solidFill>
                <a:srgbClr val="E6E5E5"/>
              </a:solidFill>
            </c:spPr>
          </c:dPt>
          <c:dPt>
            <c:idx val="200"/>
            <c:spPr>
              <a:solidFill>
                <a:srgbClr val="E6E5E5"/>
              </a:solidFill>
            </c:spPr>
          </c:dPt>
          <c:dPt>
            <c:idx val="201"/>
            <c:spPr>
              <a:solidFill>
                <a:srgbClr val="E6E5E5"/>
              </a:solidFill>
            </c:spPr>
          </c:dPt>
          <c:dPt>
            <c:idx val="202"/>
            <c:spPr>
              <a:solidFill>
                <a:srgbClr val="E6E5E5"/>
              </a:solidFill>
            </c:spPr>
          </c:dPt>
          <c:dPt>
            <c:idx val="203"/>
            <c:spPr>
              <a:solidFill>
                <a:srgbClr val="E6E5E5"/>
              </a:solidFill>
            </c:spPr>
          </c:dPt>
          <c:dPt>
            <c:idx val="204"/>
            <c:spPr>
              <a:solidFill>
                <a:srgbClr val="E6E5E5"/>
              </a:solidFill>
            </c:spPr>
          </c:dPt>
          <c:dPt>
            <c:idx val="205"/>
            <c:spPr>
              <a:solidFill>
                <a:srgbClr val="E6E5E5"/>
              </a:solidFill>
            </c:spPr>
          </c:dPt>
          <c:dPt>
            <c:idx val="206"/>
            <c:spPr>
              <a:solidFill>
                <a:srgbClr val="E6E5E5"/>
              </a:solidFill>
            </c:spPr>
          </c:dPt>
          <c:dPt>
            <c:idx val="207"/>
            <c:spPr>
              <a:solidFill>
                <a:srgbClr val="7ECAC4"/>
              </a:solidFill>
            </c:spPr>
          </c:dPt>
          <c:dPt>
            <c:idx val="208"/>
            <c:spPr>
              <a:solidFill>
                <a:srgbClr val="E6E5E5"/>
              </a:solidFill>
            </c:spPr>
          </c:dPt>
          <c:dPt>
            <c:idx val="209"/>
            <c:spPr>
              <a:solidFill>
                <a:srgbClr val="E6E5E5"/>
              </a:solidFill>
            </c:spPr>
          </c:dPt>
          <c:dPt>
            <c:idx val="210"/>
            <c:spPr>
              <a:solidFill>
                <a:srgbClr val="E6E5E5"/>
              </a:solidFill>
            </c:spPr>
          </c:dPt>
          <c:dPt>
            <c:idx val="211"/>
            <c:spPr>
              <a:solidFill>
                <a:srgbClr val="E6E5E5"/>
              </a:solidFill>
            </c:spPr>
          </c:dPt>
          <c:dPt>
            <c:idx val="212"/>
            <c:spPr>
              <a:solidFill>
                <a:srgbClr val="E6E5E5"/>
              </a:solidFill>
            </c:spPr>
          </c:dPt>
          <c:dPt>
            <c:idx val="213"/>
            <c:spPr>
              <a:solidFill>
                <a:srgbClr val="E6E5E5"/>
              </a:solidFill>
            </c:spPr>
          </c:dPt>
          <c:dPt>
            <c:idx val="214"/>
            <c:spPr>
              <a:solidFill>
                <a:srgbClr val="E6E5E5"/>
              </a:solidFill>
            </c:spPr>
          </c:dPt>
          <c:dPt>
            <c:idx val="215"/>
            <c:spPr>
              <a:solidFill>
                <a:srgbClr val="E6E5E5"/>
              </a:solidFill>
            </c:spPr>
          </c:dPt>
          <c:dPt>
            <c:idx val="216"/>
            <c:spPr>
              <a:solidFill>
                <a:srgbClr val="E6E5E5"/>
              </a:solidFill>
            </c:spPr>
          </c:dPt>
          <c:dPt>
            <c:idx val="217"/>
            <c:spPr>
              <a:solidFill>
                <a:srgbClr val="E6E5E5"/>
              </a:solidFill>
            </c:spPr>
          </c:dPt>
          <c:dPt>
            <c:idx val="218"/>
            <c:spPr>
              <a:solidFill>
                <a:srgbClr val="E6E5E5"/>
              </a:solidFill>
            </c:spPr>
          </c:dPt>
          <c:dPt>
            <c:idx val="219"/>
            <c:spPr>
              <a:solidFill>
                <a:srgbClr val="E6E5E5"/>
              </a:solidFill>
            </c:spPr>
          </c:dPt>
          <c:dPt>
            <c:idx val="220"/>
            <c:spPr>
              <a:solidFill>
                <a:srgbClr val="E6E5E5"/>
              </a:solidFill>
            </c:spPr>
          </c:dPt>
          <c:dPt>
            <c:idx val="221"/>
            <c:spPr>
              <a:solidFill>
                <a:srgbClr val="E6E5E5"/>
              </a:solidFill>
            </c:spPr>
          </c:dPt>
          <c:dPt>
            <c:idx val="222"/>
            <c:spPr>
              <a:solidFill>
                <a:srgbClr val="E6E5E5"/>
              </a:solidFill>
            </c:spPr>
          </c:dPt>
          <c:dPt>
            <c:idx val="223"/>
            <c:spPr>
              <a:solidFill>
                <a:srgbClr val="E6E5E5"/>
              </a:solidFill>
            </c:spPr>
          </c:dPt>
          <c:dPt>
            <c:idx val="224"/>
            <c:spPr>
              <a:solidFill>
                <a:srgbClr val="E6E5E5"/>
              </a:solidFill>
            </c:spPr>
          </c:dPt>
          <c:dPt>
            <c:idx val="225"/>
            <c:spPr>
              <a:solidFill>
                <a:srgbClr val="E6E5E5"/>
              </a:solidFill>
            </c:spPr>
          </c:dPt>
          <c:dPt>
            <c:idx val="226"/>
            <c:spPr>
              <a:solidFill>
                <a:srgbClr val="E6E5E5"/>
              </a:solidFill>
            </c:spPr>
          </c:dPt>
          <c:dPt>
            <c:idx val="227"/>
            <c:spPr>
              <a:solidFill>
                <a:srgbClr val="E6E5E5"/>
              </a:solidFill>
            </c:spPr>
          </c:dPt>
          <c:dPt>
            <c:idx val="228"/>
            <c:spPr>
              <a:solidFill>
                <a:srgbClr val="7ECAC4"/>
              </a:solidFill>
            </c:spPr>
          </c:dPt>
          <c:dPt>
            <c:idx val="229"/>
            <c:spPr>
              <a:solidFill>
                <a:srgbClr val="E6E5E5"/>
              </a:solidFill>
            </c:spPr>
          </c:dPt>
          <c:dPt>
            <c:idx val="230"/>
            <c:spPr>
              <a:solidFill>
                <a:srgbClr val="E6E5E5"/>
              </a:solidFill>
            </c:spPr>
          </c:dPt>
          <c:dPt>
            <c:idx val="231"/>
            <c:spPr>
              <a:solidFill>
                <a:srgbClr val="E6E5E5"/>
              </a:solidFill>
            </c:spPr>
          </c:dPt>
          <c:dPt>
            <c:idx val="232"/>
            <c:spPr>
              <a:solidFill>
                <a:srgbClr val="E6E5E5"/>
              </a:solidFill>
            </c:spPr>
          </c:dPt>
          <c:dPt>
            <c:idx val="233"/>
            <c:spPr>
              <a:solidFill>
                <a:srgbClr val="E6E5E5"/>
              </a:solidFill>
            </c:spPr>
          </c:dPt>
          <c:dPt>
            <c:idx val="234"/>
            <c:spPr>
              <a:solidFill>
                <a:srgbClr val="E6E5E5"/>
              </a:solidFill>
            </c:spPr>
          </c:dPt>
          <c:dPt>
            <c:idx val="235"/>
            <c:spPr>
              <a:solidFill>
                <a:srgbClr val="E6E5E5"/>
              </a:solidFill>
            </c:spPr>
          </c:dPt>
          <c:dPt>
            <c:idx val="236"/>
            <c:spPr>
              <a:solidFill>
                <a:srgbClr val="E6E5E5"/>
              </a:solidFill>
            </c:spPr>
          </c:dPt>
          <c:dPt>
            <c:idx val="237"/>
            <c:spPr>
              <a:solidFill>
                <a:srgbClr val="E6E5E5"/>
              </a:solidFill>
            </c:spPr>
          </c:dPt>
          <c:dPt>
            <c:idx val="238"/>
            <c:spPr>
              <a:solidFill>
                <a:srgbClr val="E6E5E5"/>
              </a:solidFill>
            </c:spPr>
          </c:dPt>
          <c:dPt>
            <c:idx val="239"/>
            <c:spPr>
              <a:solidFill>
                <a:srgbClr val="E6E5E5"/>
              </a:solidFill>
            </c:spPr>
          </c:dPt>
          <c:dPt>
            <c:idx val="240"/>
            <c:spPr>
              <a:solidFill>
                <a:srgbClr val="E6E5E5"/>
              </a:solidFill>
            </c:spPr>
          </c:dPt>
          <c:dPt>
            <c:idx val="241"/>
            <c:spPr>
              <a:solidFill>
                <a:srgbClr val="E6E5E5"/>
              </a:solidFill>
            </c:spPr>
          </c:dPt>
          <c:dPt>
            <c:idx val="242"/>
            <c:spPr>
              <a:solidFill>
                <a:srgbClr val="E6E5E5"/>
              </a:solidFill>
            </c:spPr>
          </c:dPt>
          <c:dPt>
            <c:idx val="243"/>
            <c:spPr>
              <a:solidFill>
                <a:srgbClr val="E6E5E5"/>
              </a:solidFill>
            </c:spPr>
          </c:dPt>
          <c:dPt>
            <c:idx val="244"/>
            <c:spPr>
              <a:solidFill>
                <a:srgbClr val="E6E5E5"/>
              </a:solidFill>
            </c:spPr>
          </c:dPt>
          <c:dPt>
            <c:idx val="245"/>
            <c:spPr>
              <a:solidFill>
                <a:srgbClr val="E6E5E5"/>
              </a:solidFill>
            </c:spPr>
          </c:dPt>
          <c:dPt>
            <c:idx val="246"/>
            <c:spPr>
              <a:solidFill>
                <a:srgbClr val="E6E5E5"/>
              </a:solidFill>
            </c:spPr>
          </c:dPt>
          <c:dPt>
            <c:idx val="247"/>
            <c:spPr>
              <a:solidFill>
                <a:srgbClr val="E6E5E5"/>
              </a:solidFill>
            </c:spPr>
          </c:dPt>
          <c:dPt>
            <c:idx val="248"/>
            <c:spPr>
              <a:solidFill>
                <a:srgbClr val="7ECAC4"/>
              </a:solidFill>
            </c:spPr>
          </c:dPt>
          <c:dPt>
            <c:idx val="249"/>
            <c:spPr>
              <a:solidFill>
                <a:srgbClr val="E6E5E5"/>
              </a:solidFill>
            </c:spPr>
          </c:dPt>
          <c:dPt>
            <c:idx val="250"/>
            <c:spPr>
              <a:solidFill>
                <a:srgbClr val="E6E5E5"/>
              </a:solidFill>
            </c:spPr>
          </c:dPt>
          <c:dPt>
            <c:idx val="251"/>
            <c:spPr>
              <a:solidFill>
                <a:srgbClr val="E6E5E5"/>
              </a:solidFill>
            </c:spPr>
          </c:dPt>
          <c:dPt>
            <c:idx val="252"/>
            <c:spPr>
              <a:solidFill>
                <a:srgbClr val="E6E5E5"/>
              </a:solidFill>
            </c:spPr>
          </c:dPt>
          <c:dPt>
            <c:idx val="253"/>
            <c:spPr>
              <a:solidFill>
                <a:srgbClr val="E6E5E5"/>
              </a:solidFill>
            </c:spPr>
          </c:dPt>
          <c:dPt>
            <c:idx val="254"/>
            <c:spPr>
              <a:solidFill>
                <a:srgbClr val="E6E5E5"/>
              </a:solidFill>
            </c:spPr>
          </c:dPt>
          <c:dPt>
            <c:idx val="255"/>
            <c:spPr>
              <a:solidFill>
                <a:srgbClr val="E6E5E5"/>
              </a:solidFill>
            </c:spPr>
          </c:dPt>
          <c:dPt>
            <c:idx val="256"/>
            <c:spPr>
              <a:solidFill>
                <a:srgbClr val="E6E5E5"/>
              </a:solidFill>
            </c:spPr>
          </c:dPt>
          <c:dPt>
            <c:idx val="257"/>
            <c:spPr>
              <a:solidFill>
                <a:srgbClr val="E6E5E5"/>
              </a:solidFill>
            </c:spPr>
          </c:dPt>
          <c:dPt>
            <c:idx val="258"/>
            <c:spPr>
              <a:solidFill>
                <a:srgbClr val="E6E5E5"/>
              </a:solidFill>
            </c:spPr>
          </c:dPt>
          <c:dPt>
            <c:idx val="259"/>
            <c:spPr>
              <a:solidFill>
                <a:srgbClr val="E6E5E5"/>
              </a:solidFill>
            </c:spPr>
          </c:dPt>
          <c:dPt>
            <c:idx val="260"/>
            <c:spPr>
              <a:solidFill>
                <a:srgbClr val="E6E5E5"/>
              </a:solidFill>
            </c:spPr>
          </c:dPt>
          <c:dPt>
            <c:idx val="261"/>
            <c:spPr>
              <a:solidFill>
                <a:srgbClr val="E6E5E5"/>
              </a:solidFill>
            </c:spPr>
          </c:dPt>
          <c:dPt>
            <c:idx val="262"/>
            <c:spPr>
              <a:solidFill>
                <a:srgbClr val="E6E5E5"/>
              </a:solidFill>
            </c:spPr>
          </c:dPt>
          <c:dPt>
            <c:idx val="263"/>
            <c:spPr>
              <a:solidFill>
                <a:srgbClr val="E6E5E5"/>
              </a:solidFill>
            </c:spPr>
          </c:dPt>
          <c:dPt>
            <c:idx val="264"/>
            <c:spPr>
              <a:solidFill>
                <a:srgbClr val="E6E5E5"/>
              </a:solidFill>
            </c:spPr>
          </c:dPt>
          <c:dPt>
            <c:idx val="265"/>
            <c:spPr>
              <a:solidFill>
                <a:srgbClr val="E6E5E5"/>
              </a:solidFill>
            </c:spPr>
          </c:dPt>
          <c:dPt>
            <c:idx val="266"/>
            <c:spPr>
              <a:solidFill>
                <a:srgbClr val="E6E5E5"/>
              </a:solidFill>
            </c:spPr>
          </c:dPt>
          <c:dPt>
            <c:idx val="267"/>
            <c:spPr>
              <a:solidFill>
                <a:srgbClr val="E6E5E5"/>
              </a:solidFill>
            </c:spPr>
          </c:dPt>
          <c:dPt>
            <c:idx val="268"/>
            <c:spPr>
              <a:solidFill>
                <a:srgbClr val="E6E5E5"/>
              </a:solidFill>
            </c:spPr>
          </c:dPt>
          <c:dPt>
            <c:idx val="269"/>
            <c:spPr>
              <a:solidFill>
                <a:srgbClr val="7ECAC4"/>
              </a:solidFill>
            </c:spPr>
          </c:dPt>
          <c:dPt>
            <c:idx val="270"/>
            <c:spPr>
              <a:solidFill>
                <a:srgbClr val="E6E5E5"/>
              </a:solidFill>
            </c:spPr>
          </c:dPt>
          <c:dPt>
            <c:idx val="271"/>
            <c:spPr>
              <a:solidFill>
                <a:srgbClr val="E6E5E5"/>
              </a:solidFill>
            </c:spPr>
          </c:dPt>
          <c:dPt>
            <c:idx val="272"/>
            <c:spPr>
              <a:solidFill>
                <a:srgbClr val="E6E5E5"/>
              </a:solidFill>
            </c:spPr>
          </c:dPt>
          <c:dPt>
            <c:idx val="273"/>
            <c:spPr>
              <a:solidFill>
                <a:srgbClr val="E6E5E5"/>
              </a:solidFill>
            </c:spPr>
          </c:dPt>
          <c:dPt>
            <c:idx val="274"/>
            <c:spPr>
              <a:solidFill>
                <a:srgbClr val="E6E5E5"/>
              </a:solidFill>
            </c:spPr>
          </c:dPt>
          <c:dPt>
            <c:idx val="275"/>
            <c:spPr>
              <a:solidFill>
                <a:srgbClr val="E6E5E5"/>
              </a:solidFill>
            </c:spPr>
          </c:dPt>
          <c:dPt>
            <c:idx val="276"/>
            <c:spPr>
              <a:solidFill>
                <a:srgbClr val="E6E5E5"/>
              </a:solidFill>
            </c:spPr>
          </c:dPt>
          <c:dPt>
            <c:idx val="277"/>
            <c:spPr>
              <a:solidFill>
                <a:srgbClr val="E6E5E5"/>
              </a:solidFill>
            </c:spPr>
          </c:dPt>
          <c:dPt>
            <c:idx val="278"/>
            <c:spPr>
              <a:solidFill>
                <a:srgbClr val="E6E5E5"/>
              </a:solidFill>
            </c:spPr>
          </c:dPt>
          <c:dPt>
            <c:idx val="279"/>
            <c:spPr>
              <a:solidFill>
                <a:srgbClr val="E6E5E5"/>
              </a:solidFill>
            </c:spPr>
          </c:dPt>
          <c:dPt>
            <c:idx val="280"/>
            <c:spPr>
              <a:solidFill>
                <a:srgbClr val="E6E5E5"/>
              </a:solidFill>
            </c:spPr>
          </c:dPt>
          <c:dPt>
            <c:idx val="281"/>
            <c:spPr>
              <a:solidFill>
                <a:srgbClr val="E6E5E5"/>
              </a:solidFill>
            </c:spPr>
          </c:dPt>
          <c:dPt>
            <c:idx val="282"/>
            <c:spPr>
              <a:solidFill>
                <a:srgbClr val="E6E5E5"/>
              </a:solidFill>
            </c:spPr>
          </c:dPt>
          <c:dPt>
            <c:idx val="283"/>
            <c:spPr>
              <a:solidFill>
                <a:srgbClr val="E6E5E5"/>
              </a:solidFill>
            </c:spPr>
          </c:dPt>
          <c:dPt>
            <c:idx val="284"/>
            <c:spPr>
              <a:solidFill>
                <a:srgbClr val="E6E5E5"/>
              </a:solidFill>
            </c:spPr>
          </c:dPt>
          <c:dPt>
            <c:idx val="285"/>
            <c:spPr>
              <a:solidFill>
                <a:srgbClr val="E6E5E5"/>
              </a:solidFill>
            </c:spPr>
          </c:dPt>
          <c:dPt>
            <c:idx val="286"/>
            <c:spPr>
              <a:solidFill>
                <a:srgbClr val="E6E5E5"/>
              </a:solidFill>
            </c:spPr>
          </c:dPt>
          <c:dPt>
            <c:idx val="287"/>
            <c:spPr>
              <a:solidFill>
                <a:srgbClr val="E6E5E5"/>
              </a:solidFill>
            </c:spPr>
          </c:dPt>
          <c:dPt>
            <c:idx val="288"/>
            <c:spPr>
              <a:solidFill>
                <a:srgbClr val="E6E5E5"/>
              </a:solidFill>
            </c:spPr>
          </c:dPt>
          <c:dPt>
            <c:idx val="289"/>
            <c:spPr>
              <a:solidFill>
                <a:srgbClr val="7ECAC4"/>
              </a:solidFill>
            </c:spPr>
          </c:dPt>
          <c:dPt>
            <c:idx val="290"/>
            <c:spPr>
              <a:solidFill>
                <a:srgbClr val="E6E5E5"/>
              </a:solidFill>
            </c:spPr>
          </c:dPt>
          <c:dPt>
            <c:idx val="291"/>
            <c:spPr>
              <a:solidFill>
                <a:srgbClr val="E6E5E5"/>
              </a:solidFill>
            </c:spPr>
          </c:dPt>
          <c:dPt>
            <c:idx val="292"/>
            <c:spPr>
              <a:solidFill>
                <a:srgbClr val="E6E5E5"/>
              </a:solidFill>
            </c:spPr>
          </c:dPt>
          <c:dPt>
            <c:idx val="293"/>
            <c:spPr>
              <a:solidFill>
                <a:srgbClr val="E6E5E5"/>
              </a:solidFill>
            </c:spPr>
          </c:dPt>
          <c:dPt>
            <c:idx val="294"/>
            <c:spPr>
              <a:solidFill>
                <a:srgbClr val="E6E5E5"/>
              </a:solidFill>
            </c:spPr>
          </c:dPt>
          <c:dPt>
            <c:idx val="295"/>
            <c:spPr>
              <a:solidFill>
                <a:srgbClr val="E6E5E5"/>
              </a:solidFill>
            </c:spPr>
          </c:dPt>
          <c:dPt>
            <c:idx val="296"/>
            <c:spPr>
              <a:solidFill>
                <a:srgbClr val="E6E5E5"/>
              </a:solidFill>
            </c:spPr>
          </c:dPt>
          <c:dPt>
            <c:idx val="297"/>
            <c:spPr>
              <a:solidFill>
                <a:srgbClr val="E6E5E5"/>
              </a:solidFill>
            </c:spPr>
          </c:dPt>
          <c:dPt>
            <c:idx val="298"/>
            <c:spPr>
              <a:solidFill>
                <a:srgbClr val="E6E5E5"/>
              </a:solidFill>
            </c:spPr>
          </c:dPt>
          <c:dPt>
            <c:idx val="299"/>
            <c:spPr>
              <a:solidFill>
                <a:srgbClr val="E6E5E5"/>
              </a:solidFill>
            </c:spPr>
          </c:dPt>
          <c:dPt>
            <c:idx val="300"/>
            <c:spPr>
              <a:solidFill>
                <a:srgbClr val="E6E5E5"/>
              </a:solidFill>
            </c:spPr>
          </c:dPt>
          <c:dPt>
            <c:idx val="301"/>
            <c:spPr>
              <a:solidFill>
                <a:srgbClr val="E6E5E5"/>
              </a:solidFill>
            </c:spPr>
          </c:dPt>
          <c:dPt>
            <c:idx val="302"/>
            <c:spPr>
              <a:solidFill>
                <a:srgbClr val="E6E5E5"/>
              </a:solidFill>
            </c:spPr>
          </c:dPt>
          <c:dPt>
            <c:idx val="303"/>
            <c:spPr>
              <a:solidFill>
                <a:srgbClr val="E6E5E5"/>
              </a:solidFill>
            </c:spPr>
          </c:dPt>
          <c:dPt>
            <c:idx val="304"/>
            <c:spPr>
              <a:solidFill>
                <a:srgbClr val="E6E5E5"/>
              </a:solidFill>
            </c:spPr>
          </c:dPt>
          <c:dPt>
            <c:idx val="305"/>
            <c:spPr>
              <a:solidFill>
                <a:srgbClr val="E6E5E5"/>
              </a:solidFill>
            </c:spPr>
          </c:dPt>
          <c:dPt>
            <c:idx val="306"/>
            <c:spPr>
              <a:solidFill>
                <a:srgbClr val="E6E5E5"/>
              </a:solidFill>
            </c:spPr>
          </c:dPt>
          <c:dPt>
            <c:idx val="307"/>
            <c:spPr>
              <a:solidFill>
                <a:srgbClr val="E6E5E5"/>
              </a:solidFill>
            </c:spPr>
          </c:dPt>
          <c:dPt>
            <c:idx val="308"/>
            <c:spPr>
              <a:solidFill>
                <a:srgbClr val="E6E5E5"/>
              </a:solidFill>
            </c:spPr>
          </c:dPt>
          <c:dPt>
            <c:idx val="309"/>
            <c:spPr>
              <a:solidFill>
                <a:srgbClr val="E6E5E5"/>
              </a:solidFill>
            </c:spPr>
          </c:dPt>
          <c:dPt>
            <c:idx val="310"/>
            <c:spPr>
              <a:solidFill>
                <a:srgbClr val="E6E5E5"/>
              </a:solidFill>
            </c:spPr>
          </c:dPt>
          <c:dPt>
            <c:idx val="311"/>
            <c:spPr>
              <a:solidFill>
                <a:srgbClr val="7ECAC4"/>
              </a:solidFill>
            </c:spPr>
          </c:dPt>
          <c:dPt>
            <c:idx val="312"/>
            <c:spPr>
              <a:solidFill>
                <a:srgbClr val="E6E5E5"/>
              </a:solidFill>
            </c:spPr>
          </c:dPt>
          <c:dPt>
            <c:idx val="313"/>
            <c:spPr>
              <a:solidFill>
                <a:srgbClr val="E6E5E5"/>
              </a:solidFill>
            </c:spPr>
          </c:dPt>
          <c:dPt>
            <c:idx val="314"/>
            <c:spPr>
              <a:solidFill>
                <a:srgbClr val="E6E5E5"/>
              </a:solidFill>
            </c:spPr>
          </c:dPt>
          <c:dPt>
            <c:idx val="315"/>
            <c:spPr>
              <a:solidFill>
                <a:srgbClr val="E6E5E5"/>
              </a:solidFill>
            </c:spPr>
          </c:dPt>
          <c:dPt>
            <c:idx val="316"/>
            <c:spPr>
              <a:solidFill>
                <a:srgbClr val="E6E5E5"/>
              </a:solidFill>
            </c:spPr>
          </c:dPt>
          <c:dPt>
            <c:idx val="317"/>
            <c:spPr>
              <a:solidFill>
                <a:srgbClr val="E6E5E5"/>
              </a:solidFill>
            </c:spPr>
          </c:dPt>
          <c:dPt>
            <c:idx val="318"/>
            <c:spPr>
              <a:solidFill>
                <a:srgbClr val="E6E5E5"/>
              </a:solidFill>
            </c:spPr>
          </c:dPt>
          <c:dPt>
            <c:idx val="319"/>
            <c:spPr>
              <a:solidFill>
                <a:srgbClr val="E6E5E5"/>
              </a:solidFill>
            </c:spPr>
          </c:dPt>
          <c:dPt>
            <c:idx val="320"/>
            <c:spPr>
              <a:solidFill>
                <a:srgbClr val="E6E5E5"/>
              </a:solidFill>
            </c:spPr>
          </c:dPt>
          <c:dPt>
            <c:idx val="321"/>
            <c:spPr>
              <a:solidFill>
                <a:srgbClr val="E6E5E5"/>
              </a:solidFill>
            </c:spPr>
          </c:dPt>
          <c:dPt>
            <c:idx val="322"/>
            <c:spPr>
              <a:solidFill>
                <a:srgbClr val="E6E5E5"/>
              </a:solidFill>
            </c:spPr>
          </c:dPt>
          <c:dPt>
            <c:idx val="323"/>
            <c:spPr>
              <a:solidFill>
                <a:srgbClr val="E6E5E5"/>
              </a:solidFill>
            </c:spPr>
          </c:dPt>
          <c:dPt>
            <c:idx val="324"/>
            <c:spPr>
              <a:solidFill>
                <a:srgbClr val="E6E5E5"/>
              </a:solidFill>
            </c:spPr>
          </c:dPt>
          <c:dPt>
            <c:idx val="325"/>
            <c:spPr>
              <a:solidFill>
                <a:srgbClr val="E6E5E5"/>
              </a:solidFill>
            </c:spPr>
          </c:dPt>
          <c:dPt>
            <c:idx val="326"/>
            <c:spPr>
              <a:solidFill>
                <a:srgbClr val="E6E5E5"/>
              </a:solidFill>
            </c:spPr>
          </c:dPt>
          <c:dPt>
            <c:idx val="327"/>
            <c:spPr>
              <a:solidFill>
                <a:srgbClr val="E6E5E5"/>
              </a:solidFill>
            </c:spPr>
          </c:dPt>
          <c:dPt>
            <c:idx val="328"/>
            <c:spPr>
              <a:solidFill>
                <a:srgbClr val="E6E5E5"/>
              </a:solidFill>
            </c:spPr>
          </c:dPt>
          <c:dPt>
            <c:idx val="329"/>
            <c:spPr>
              <a:solidFill>
                <a:srgbClr val="E6E5E5"/>
              </a:solidFill>
            </c:spPr>
          </c:dPt>
          <c:dPt>
            <c:idx val="330"/>
            <c:spPr>
              <a:solidFill>
                <a:srgbClr val="E6E5E5"/>
              </a:solidFill>
            </c:spPr>
          </c:dPt>
          <c:dLbls>
            <c:dLbl>
              <c:idx val="0"/>
              <c:tx>
                <c:rich>
                  <a:bodyPr/>
                  <a:lstStyle/>
                  <a:p>
                    <a:fld id="{A89EE413-3830-4362-A0C2-B67150155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D4AC78D7-CAA3-4EE2-82BE-431259E3B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E24A084-8661-46E9-85F2-5429B324D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5BED6DE-3F39-48C1-B159-D93168D6D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3436FC3-8CB8-4EB4-85B2-45D6929E8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AE4729E-A44F-492E-9664-A2580F683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A6CF3494-7270-4C80-80D1-24EFE5500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A99E243-8FD5-4878-BCEA-5C71DD1C3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52B4C07C-C0CD-4979-A5E1-ECFE2C3FA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D28925BA-EF57-486B-B62A-8EB0223D5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F4591DE0-E497-4008-AE9F-036AF3074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A06B6D15-6151-45DE-878C-F5040CBD8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1459AAB2-5526-47CA-BDEE-6A2F7CC18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6732F0F0-9619-4535-A25B-6D88532F1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EA622D42-1EFF-491F-B14E-F9AB44E5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28C36F48-92EE-4CCB-BCC3-A9841541C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36502E95-59F8-48E9-8448-81908A835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B6598901-E813-41FD-AFF9-FF607EA44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0804A5F8-919F-42BB-8658-07C6038B7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80EAD8B-B44C-4B89-A882-899F55592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911B5F33-4460-4C0E-B2A4-FB92F6AD5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1710C96-D5C2-4C0C-BEEA-B08542263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F4B452E8-38ED-4E72-9448-D51DF7BB7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B392DF62-5038-4585-9024-9A60A7A9B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57A14EF2-3673-4321-BC87-C762A0CA4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C04F8054-FDA1-4866-AD5F-A6B33C2E2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7F8706BA-5393-4315-BEDF-13FBFCBCA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8665C69B-D060-42CF-A593-48848DA15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45D347BA-650F-4EC8-8845-E527DB4E1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0D0F241F-B739-40E6-ACB4-0758A7F7E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4710C053-7A72-41FF-8EE8-51BD35200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CCF87D6-F857-459F-9DDF-9611DD102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49D397FB-126C-464F-9314-AC4573C0C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74D3FE7C-6BBB-435F-8A01-434837E8E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537153CB-440E-4D2B-BD14-AEB3D708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B76E0D4B-75CF-4287-A2AB-14E95578E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450D18EB-1039-4089-ADD3-A39FA5ABD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28BEAB7D-3B66-46F6-A1CF-2D0E97346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CA76B5AD-75FA-46D6-9612-5B3E5987E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A682DDDD-65D0-48EA-848A-E89808C7B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2BFC3D64-BF93-4E6D-8913-9DDFC8C4B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285CE408-820E-4D84-A4DD-725043303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9956691B-04C6-4636-B2EE-8A967A291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9E4E18E6-A9E2-442A-AFE0-9CAC4C9FF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90F28C14-F2B8-4884-8E3A-87E63496D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FA5E13CE-D018-45BB-A756-99EDFCA17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85270CE8-57AB-4B7D-9733-2052DE1C2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FE7087B-C39E-4ECB-9D61-EE9BE3A49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094E50DC-7E1F-450E-9DEE-664719965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D864A9F0-DA2F-43F9-B1D5-F05B64C49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ED95000F-C92A-4CB0-9F1F-418F2E3F0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4D3A4AF0-CA78-474A-8CD4-F346969F5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38483C90-24BA-40C7-BF3B-35CC49401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ACBAEE35-F2DD-48E8-8796-E5BBEE541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1788D4BD-AD42-47F3-936F-E0AF365A4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6430B383-6315-4120-827B-38BDBC056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76CDFBEC-2D3C-4A76-95F5-F5AF64BDE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F633B7AF-0314-4AB5-A0BE-8709BC948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FFE5C870-A7AE-4CDA-AA94-E544194FD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7926485E-A1F4-4FB8-99BC-3A4DB4300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CCCCFA95-5CCC-4548-8ADB-3A896E53E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E3EBAEAA-15F6-4F75-87ED-6957564E2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430338D0-1776-42FC-8695-43496F5A5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F42FF0AE-A414-4B79-AEAB-5E9C65772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3B76911B-715B-47A6-83B6-265E714D4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394E09B8-E29E-485C-B025-C92755366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2AF5B50D-D59D-4B40-9577-184BEDBEB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97D8DEDA-2041-41F0-8947-E89C4E7CD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4E334628-40E7-45F3-BEAE-A954BB160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148D19D2-FCC1-4D96-B71B-74D4216F4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CF83B700-4926-4A86-9EA0-B1D7AC799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A214C102-88BF-447C-8B5B-7D261BA62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D0295075-5CB4-4E87-B25D-551854295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69F8327E-019F-4E55-9E60-D3537FAA8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C51A8566-2A24-4D85-8B66-71CB6CCFF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37672A8A-72E2-47B6-8BEA-47D92F601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707EC825-7BC0-4684-B997-03FF0CBCE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1FB08396-D8D7-4FFC-BC2C-FEC3CEC71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9CDDAD0C-7279-4AC0-9106-C6108ED49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B70357D6-BEC4-430A-BFBB-3CFD37F28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CB566C7E-B1B9-4BC6-97A3-1FA6FA6AF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D1B30B7E-B3CA-4B19-A834-E1997B391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1B941D1C-8E1F-41A3-A6F3-0C9BE4574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E9EA56A8-232C-4D04-AB1B-130FCB731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69D5BEF4-103C-4E51-8486-5EA0194FF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D87736AC-82AF-4C9A-9DA5-67065991C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DC37C52A-7164-4AC6-B84A-C87717B31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341B8A59-ADF6-4F96-AFF8-274413A04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772ED4A4-6CDC-44C8-9B27-B7F32F3C5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DD63BB2-33E0-4950-82F0-FF04FEF95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5C113F4F-AE2D-4257-B259-846EDB741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7841A750-CD0D-4F6B-B8ED-2C2B8BC4E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BCF230C4-E68F-4CEB-A848-12D5BE102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22A06AC9-584B-474F-BE92-45A74FF2A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1A4F6D2F-DCAA-44F9-8B5E-9110C0EE4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9C7E595A-5ADE-4854-A4EB-93487AE61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8FA9CA74-6C98-42C1-950D-6AA26196E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D802D091-4E97-4CE2-8AB1-F2D358F87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BE61199-4BB2-49DC-AB80-EC03075A3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9E169229-0D76-4299-9837-333DA887F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C488469D-1F91-49E5-808F-05E4617D9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DCAE4FED-E6B0-4B84-B290-25CE568CA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BC2F08FB-7D5E-49D9-99B6-921BC3FE8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03DA6E6C-9CAA-4809-8438-47B9EFDF6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2D5B2900-0FC6-4444-B88C-38A69AF86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7CADF80A-925D-4402-8DCE-8E149D52C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68ECD440-C914-42F0-8270-11691BD78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B8A5BBC0-D87F-48F1-B613-E64403CE8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9063BFCA-8B73-4E10-82C7-00D67D1BC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2F522CED-B1F9-4238-A574-12C24BF49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09C2F9EF-FE23-459F-A9AF-69B1FFB58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8173596C-6E9C-4D3B-A343-51F2D3825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6946A4BE-86B0-4F00-A233-C07533FD3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378B93C6-51FB-4B69-AD2F-C4C0271B6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72AFADAA-540E-4751-BC55-8C1F4C92D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15A08CE5-90A0-4760-B344-DE328EAC5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32</c:f>
              <c:numCache>
                <c:formatCode>General</c:formatCode>
                <c:ptCount val="331"/>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3</c:v>
                </c:pt>
                <c:pt idx="21">
                  <c:v>3</c:v>
                </c:pt>
                <c:pt idx="22">
                  <c:v>3</c:v>
                </c:pt>
                <c:pt idx="23">
                  <c:v>3</c:v>
                </c:pt>
                <c:pt idx="24">
                  <c:v>3</c:v>
                </c:pt>
                <c:pt idx="25">
                  <c:v>3</c:v>
                </c:pt>
                <c:pt idx="26">
                  <c:v>3</c:v>
                </c:pt>
                <c:pt idx="27">
                  <c:v>3</c:v>
                </c:pt>
                <c:pt idx="28">
                  <c:v>3</c:v>
                </c:pt>
                <c:pt idx="29">
                  <c:v>3</c:v>
                </c:pt>
                <c:pt idx="30">
                  <c:v>3</c:v>
                </c:pt>
                <c:pt idx="31">
                  <c:v>3</c:v>
                </c:pt>
                <c:pt idx="32">
                  <c:v>3</c:v>
                </c:pt>
                <c:pt idx="33">
                  <c:v>3</c:v>
                </c:pt>
                <c:pt idx="34">
                  <c:v>3</c:v>
                </c:pt>
                <c:pt idx="35">
                  <c:v>3</c:v>
                </c:pt>
                <c:pt idx="36">
                  <c:v>3</c:v>
                </c:pt>
                <c:pt idx="37">
                  <c:v>3</c:v>
                </c:pt>
                <c:pt idx="38">
                  <c:v>3</c:v>
                </c:pt>
                <c:pt idx="39">
                  <c:v>3</c:v>
                </c:pt>
                <c:pt idx="40">
                  <c:v>3</c:v>
                </c:pt>
                <c:pt idx="41">
                  <c:v>5</c:v>
                </c:pt>
                <c:pt idx="42">
                  <c:v>5</c:v>
                </c:pt>
                <c:pt idx="43">
                  <c:v>5</c:v>
                </c:pt>
                <c:pt idx="44">
                  <c:v>5</c:v>
                </c:pt>
                <c:pt idx="45">
                  <c:v>5</c:v>
                </c:pt>
                <c:pt idx="46">
                  <c:v>5</c:v>
                </c:pt>
                <c:pt idx="47">
                  <c:v>5</c:v>
                </c:pt>
                <c:pt idx="48">
                  <c:v>5</c:v>
                </c:pt>
                <c:pt idx="49">
                  <c:v>5</c:v>
                </c:pt>
                <c:pt idx="50">
                  <c:v>5</c:v>
                </c:pt>
                <c:pt idx="51">
                  <c:v>5</c:v>
                </c:pt>
                <c:pt idx="52">
                  <c:v>5</c:v>
                </c:pt>
                <c:pt idx="53">
                  <c:v>5</c:v>
                </c:pt>
                <c:pt idx="54">
                  <c:v>5</c:v>
                </c:pt>
                <c:pt idx="55">
                  <c:v>5</c:v>
                </c:pt>
                <c:pt idx="56">
                  <c:v>5</c:v>
                </c:pt>
                <c:pt idx="57">
                  <c:v>5</c:v>
                </c:pt>
                <c:pt idx="58">
                  <c:v>5</c:v>
                </c:pt>
                <c:pt idx="59">
                  <c:v>5</c:v>
                </c:pt>
                <c:pt idx="60">
                  <c:v>5</c:v>
                </c:pt>
                <c:pt idx="61">
                  <c:v>5</c:v>
                </c:pt>
                <c:pt idx="62">
                  <c:v>7</c:v>
                </c:pt>
                <c:pt idx="63">
                  <c:v>7</c:v>
                </c:pt>
                <c:pt idx="64">
                  <c:v>7</c:v>
                </c:pt>
                <c:pt idx="65">
                  <c:v>7</c:v>
                </c:pt>
                <c:pt idx="66">
                  <c:v>7</c:v>
                </c:pt>
                <c:pt idx="67">
                  <c:v>7</c:v>
                </c:pt>
                <c:pt idx="68">
                  <c:v>7</c:v>
                </c:pt>
                <c:pt idx="69">
                  <c:v>7</c:v>
                </c:pt>
                <c:pt idx="70">
                  <c:v>7</c:v>
                </c:pt>
                <c:pt idx="71">
                  <c:v>7</c:v>
                </c:pt>
                <c:pt idx="72">
                  <c:v>7</c:v>
                </c:pt>
                <c:pt idx="73">
                  <c:v>7</c:v>
                </c:pt>
                <c:pt idx="74">
                  <c:v>7</c:v>
                </c:pt>
                <c:pt idx="75">
                  <c:v>7</c:v>
                </c:pt>
                <c:pt idx="76">
                  <c:v>7</c:v>
                </c:pt>
                <c:pt idx="77">
                  <c:v>7</c:v>
                </c:pt>
                <c:pt idx="78">
                  <c:v>7</c:v>
                </c:pt>
                <c:pt idx="79">
                  <c:v>7</c:v>
                </c:pt>
                <c:pt idx="80">
                  <c:v>7</c:v>
                </c:pt>
                <c:pt idx="81">
                  <c:v>7</c:v>
                </c:pt>
                <c:pt idx="82">
                  <c:v>7</c:v>
                </c:pt>
                <c:pt idx="83">
                  <c:v>9</c:v>
                </c:pt>
                <c:pt idx="84">
                  <c:v>9</c:v>
                </c:pt>
                <c:pt idx="85">
                  <c:v>9</c:v>
                </c:pt>
                <c:pt idx="86">
                  <c:v>9</c:v>
                </c:pt>
                <c:pt idx="87">
                  <c:v>9</c:v>
                </c:pt>
                <c:pt idx="88">
                  <c:v>9</c:v>
                </c:pt>
                <c:pt idx="89">
                  <c:v>9</c:v>
                </c:pt>
                <c:pt idx="90">
                  <c:v>9</c:v>
                </c:pt>
                <c:pt idx="91">
                  <c:v>9</c:v>
                </c:pt>
                <c:pt idx="92">
                  <c:v>9</c:v>
                </c:pt>
                <c:pt idx="93">
                  <c:v>9</c:v>
                </c:pt>
                <c:pt idx="94">
                  <c:v>9</c:v>
                </c:pt>
                <c:pt idx="95">
                  <c:v>9</c:v>
                </c:pt>
                <c:pt idx="96">
                  <c:v>9</c:v>
                </c:pt>
                <c:pt idx="97">
                  <c:v>9</c:v>
                </c:pt>
                <c:pt idx="98">
                  <c:v>9</c:v>
                </c:pt>
                <c:pt idx="99">
                  <c:v>9</c:v>
                </c:pt>
                <c:pt idx="100">
                  <c:v>9</c:v>
                </c:pt>
                <c:pt idx="101">
                  <c:v>9</c:v>
                </c:pt>
                <c:pt idx="102">
                  <c:v>9</c:v>
                </c:pt>
                <c:pt idx="103">
                  <c:v>11</c:v>
                </c:pt>
                <c:pt idx="104">
                  <c:v>11</c:v>
                </c:pt>
                <c:pt idx="105">
                  <c:v>11</c:v>
                </c:pt>
                <c:pt idx="106">
                  <c:v>11</c:v>
                </c:pt>
                <c:pt idx="107">
                  <c:v>11</c:v>
                </c:pt>
                <c:pt idx="108">
                  <c:v>11</c:v>
                </c:pt>
                <c:pt idx="109">
                  <c:v>11</c:v>
                </c:pt>
                <c:pt idx="110">
                  <c:v>11</c:v>
                </c:pt>
                <c:pt idx="111">
                  <c:v>11</c:v>
                </c:pt>
                <c:pt idx="112">
                  <c:v>11</c:v>
                </c:pt>
                <c:pt idx="113">
                  <c:v>11</c:v>
                </c:pt>
                <c:pt idx="114">
                  <c:v>11</c:v>
                </c:pt>
                <c:pt idx="115">
                  <c:v>11</c:v>
                </c:pt>
                <c:pt idx="116">
                  <c:v>11</c:v>
                </c:pt>
                <c:pt idx="117">
                  <c:v>11</c:v>
                </c:pt>
                <c:pt idx="118">
                  <c:v>11</c:v>
                </c:pt>
                <c:pt idx="119">
                  <c:v>11</c:v>
                </c:pt>
                <c:pt idx="120">
                  <c:v>11</c:v>
                </c:pt>
                <c:pt idx="121">
                  <c:v>11</c:v>
                </c:pt>
                <c:pt idx="122">
                  <c:v>11</c:v>
                </c:pt>
                <c:pt idx="123">
                  <c:v>11</c:v>
                </c:pt>
                <c:pt idx="124">
                  <c:v>13</c:v>
                </c:pt>
                <c:pt idx="125">
                  <c:v>13</c:v>
                </c:pt>
                <c:pt idx="126">
                  <c:v>13</c:v>
                </c:pt>
                <c:pt idx="127">
                  <c:v>13</c:v>
                </c:pt>
                <c:pt idx="128">
                  <c:v>13</c:v>
                </c:pt>
                <c:pt idx="129">
                  <c:v>13</c:v>
                </c:pt>
                <c:pt idx="130">
                  <c:v>13</c:v>
                </c:pt>
                <c:pt idx="131">
                  <c:v>13</c:v>
                </c:pt>
                <c:pt idx="132">
                  <c:v>13</c:v>
                </c:pt>
                <c:pt idx="133">
                  <c:v>13</c:v>
                </c:pt>
                <c:pt idx="134">
                  <c:v>13</c:v>
                </c:pt>
                <c:pt idx="135">
                  <c:v>13</c:v>
                </c:pt>
                <c:pt idx="136">
                  <c:v>13</c:v>
                </c:pt>
                <c:pt idx="137">
                  <c:v>13</c:v>
                </c:pt>
                <c:pt idx="138">
                  <c:v>13</c:v>
                </c:pt>
                <c:pt idx="139">
                  <c:v>13</c:v>
                </c:pt>
                <c:pt idx="140">
                  <c:v>13</c:v>
                </c:pt>
                <c:pt idx="141">
                  <c:v>13</c:v>
                </c:pt>
                <c:pt idx="142">
                  <c:v>13</c:v>
                </c:pt>
                <c:pt idx="143">
                  <c:v>13</c:v>
                </c:pt>
                <c:pt idx="144">
                  <c:v>13</c:v>
                </c:pt>
                <c:pt idx="145">
                  <c:v>15</c:v>
                </c:pt>
                <c:pt idx="146">
                  <c:v>15</c:v>
                </c:pt>
                <c:pt idx="147">
                  <c:v>15</c:v>
                </c:pt>
                <c:pt idx="148">
                  <c:v>15</c:v>
                </c:pt>
                <c:pt idx="149">
                  <c:v>15</c:v>
                </c:pt>
                <c:pt idx="150">
                  <c:v>15</c:v>
                </c:pt>
                <c:pt idx="151">
                  <c:v>15</c:v>
                </c:pt>
                <c:pt idx="152">
                  <c:v>15</c:v>
                </c:pt>
                <c:pt idx="153">
                  <c:v>15</c:v>
                </c:pt>
                <c:pt idx="154">
                  <c:v>15</c:v>
                </c:pt>
                <c:pt idx="155">
                  <c:v>15</c:v>
                </c:pt>
                <c:pt idx="156">
                  <c:v>15</c:v>
                </c:pt>
                <c:pt idx="157">
                  <c:v>15</c:v>
                </c:pt>
                <c:pt idx="158">
                  <c:v>15</c:v>
                </c:pt>
                <c:pt idx="159">
                  <c:v>15</c:v>
                </c:pt>
                <c:pt idx="160">
                  <c:v>15</c:v>
                </c:pt>
                <c:pt idx="161">
                  <c:v>15</c:v>
                </c:pt>
                <c:pt idx="162">
                  <c:v>15</c:v>
                </c:pt>
                <c:pt idx="163">
                  <c:v>15</c:v>
                </c:pt>
                <c:pt idx="164">
                  <c:v>17</c:v>
                </c:pt>
                <c:pt idx="165">
                  <c:v>17</c:v>
                </c:pt>
                <c:pt idx="166">
                  <c:v>17</c:v>
                </c:pt>
                <c:pt idx="167">
                  <c:v>17</c:v>
                </c:pt>
                <c:pt idx="168">
                  <c:v>17</c:v>
                </c:pt>
                <c:pt idx="169">
                  <c:v>17</c:v>
                </c:pt>
                <c:pt idx="170">
                  <c:v>17</c:v>
                </c:pt>
                <c:pt idx="171">
                  <c:v>17</c:v>
                </c:pt>
                <c:pt idx="172">
                  <c:v>17</c:v>
                </c:pt>
                <c:pt idx="173">
                  <c:v>17</c:v>
                </c:pt>
                <c:pt idx="174">
                  <c:v>17</c:v>
                </c:pt>
                <c:pt idx="175">
                  <c:v>17</c:v>
                </c:pt>
                <c:pt idx="176">
                  <c:v>17</c:v>
                </c:pt>
                <c:pt idx="177">
                  <c:v>17</c:v>
                </c:pt>
                <c:pt idx="178">
                  <c:v>17</c:v>
                </c:pt>
                <c:pt idx="179">
                  <c:v>17</c:v>
                </c:pt>
                <c:pt idx="180">
                  <c:v>17</c:v>
                </c:pt>
                <c:pt idx="181">
                  <c:v>17</c:v>
                </c:pt>
                <c:pt idx="182">
                  <c:v>17</c:v>
                </c:pt>
                <c:pt idx="183">
                  <c:v>17</c:v>
                </c:pt>
                <c:pt idx="184">
                  <c:v>17</c:v>
                </c:pt>
                <c:pt idx="185">
                  <c:v>19</c:v>
                </c:pt>
                <c:pt idx="186">
                  <c:v>19</c:v>
                </c:pt>
                <c:pt idx="187">
                  <c:v>19</c:v>
                </c:pt>
                <c:pt idx="188">
                  <c:v>19</c:v>
                </c:pt>
                <c:pt idx="189">
                  <c:v>19</c:v>
                </c:pt>
                <c:pt idx="190">
                  <c:v>19</c:v>
                </c:pt>
                <c:pt idx="191">
                  <c:v>19</c:v>
                </c:pt>
                <c:pt idx="192">
                  <c:v>19</c:v>
                </c:pt>
                <c:pt idx="193">
                  <c:v>19</c:v>
                </c:pt>
                <c:pt idx="194">
                  <c:v>19</c:v>
                </c:pt>
                <c:pt idx="195">
                  <c:v>19</c:v>
                </c:pt>
                <c:pt idx="196">
                  <c:v>19</c:v>
                </c:pt>
                <c:pt idx="197">
                  <c:v>19</c:v>
                </c:pt>
                <c:pt idx="198">
                  <c:v>19</c:v>
                </c:pt>
                <c:pt idx="199">
                  <c:v>19</c:v>
                </c:pt>
                <c:pt idx="200">
                  <c:v>19</c:v>
                </c:pt>
                <c:pt idx="201">
                  <c:v>19</c:v>
                </c:pt>
                <c:pt idx="202">
                  <c:v>19</c:v>
                </c:pt>
                <c:pt idx="203">
                  <c:v>19</c:v>
                </c:pt>
                <c:pt idx="204">
                  <c:v>19</c:v>
                </c:pt>
                <c:pt idx="205">
                  <c:v>19</c:v>
                </c:pt>
                <c:pt idx="206">
                  <c:v>21</c:v>
                </c:pt>
                <c:pt idx="207">
                  <c:v>21</c:v>
                </c:pt>
                <c:pt idx="208">
                  <c:v>21</c:v>
                </c:pt>
                <c:pt idx="209">
                  <c:v>21</c:v>
                </c:pt>
                <c:pt idx="210">
                  <c:v>21</c:v>
                </c:pt>
                <c:pt idx="211">
                  <c:v>21</c:v>
                </c:pt>
                <c:pt idx="212">
                  <c:v>21</c:v>
                </c:pt>
                <c:pt idx="213">
                  <c:v>21</c:v>
                </c:pt>
                <c:pt idx="214">
                  <c:v>21</c:v>
                </c:pt>
                <c:pt idx="215">
                  <c:v>21</c:v>
                </c:pt>
                <c:pt idx="216">
                  <c:v>21</c:v>
                </c:pt>
                <c:pt idx="217">
                  <c:v>21</c:v>
                </c:pt>
                <c:pt idx="218">
                  <c:v>21</c:v>
                </c:pt>
                <c:pt idx="219">
                  <c:v>21</c:v>
                </c:pt>
                <c:pt idx="220">
                  <c:v>21</c:v>
                </c:pt>
                <c:pt idx="221">
                  <c:v>21</c:v>
                </c:pt>
                <c:pt idx="222">
                  <c:v>21</c:v>
                </c:pt>
                <c:pt idx="223">
                  <c:v>21</c:v>
                </c:pt>
                <c:pt idx="224">
                  <c:v>21</c:v>
                </c:pt>
                <c:pt idx="225">
                  <c:v>21</c:v>
                </c:pt>
                <c:pt idx="226">
                  <c:v>21</c:v>
                </c:pt>
                <c:pt idx="227">
                  <c:v>23</c:v>
                </c:pt>
                <c:pt idx="228">
                  <c:v>23</c:v>
                </c:pt>
                <c:pt idx="229">
                  <c:v>23</c:v>
                </c:pt>
                <c:pt idx="230">
                  <c:v>23</c:v>
                </c:pt>
                <c:pt idx="231">
                  <c:v>23</c:v>
                </c:pt>
                <c:pt idx="232">
                  <c:v>23</c:v>
                </c:pt>
                <c:pt idx="233">
                  <c:v>23</c:v>
                </c:pt>
                <c:pt idx="234">
                  <c:v>23</c:v>
                </c:pt>
                <c:pt idx="235">
                  <c:v>23</c:v>
                </c:pt>
                <c:pt idx="236">
                  <c:v>23</c:v>
                </c:pt>
                <c:pt idx="237">
                  <c:v>23</c:v>
                </c:pt>
                <c:pt idx="238">
                  <c:v>23</c:v>
                </c:pt>
                <c:pt idx="239">
                  <c:v>23</c:v>
                </c:pt>
                <c:pt idx="240">
                  <c:v>23</c:v>
                </c:pt>
                <c:pt idx="241">
                  <c:v>23</c:v>
                </c:pt>
                <c:pt idx="242">
                  <c:v>23</c:v>
                </c:pt>
                <c:pt idx="243">
                  <c:v>23</c:v>
                </c:pt>
                <c:pt idx="244">
                  <c:v>23</c:v>
                </c:pt>
                <c:pt idx="245">
                  <c:v>23</c:v>
                </c:pt>
                <c:pt idx="246">
                  <c:v>23</c:v>
                </c:pt>
                <c:pt idx="247">
                  <c:v>25</c:v>
                </c:pt>
                <c:pt idx="248">
                  <c:v>25</c:v>
                </c:pt>
                <c:pt idx="249">
                  <c:v>25</c:v>
                </c:pt>
                <c:pt idx="250">
                  <c:v>25</c:v>
                </c:pt>
                <c:pt idx="251">
                  <c:v>25</c:v>
                </c:pt>
                <c:pt idx="252">
                  <c:v>25</c:v>
                </c:pt>
                <c:pt idx="253">
                  <c:v>25</c:v>
                </c:pt>
                <c:pt idx="254">
                  <c:v>25</c:v>
                </c:pt>
                <c:pt idx="255">
                  <c:v>25</c:v>
                </c:pt>
                <c:pt idx="256">
                  <c:v>25</c:v>
                </c:pt>
                <c:pt idx="257">
                  <c:v>25</c:v>
                </c:pt>
                <c:pt idx="258">
                  <c:v>25</c:v>
                </c:pt>
                <c:pt idx="259">
                  <c:v>25</c:v>
                </c:pt>
                <c:pt idx="260">
                  <c:v>25</c:v>
                </c:pt>
                <c:pt idx="261">
                  <c:v>25</c:v>
                </c:pt>
                <c:pt idx="262">
                  <c:v>25</c:v>
                </c:pt>
                <c:pt idx="263">
                  <c:v>25</c:v>
                </c:pt>
                <c:pt idx="264">
                  <c:v>25</c:v>
                </c:pt>
                <c:pt idx="265">
                  <c:v>25</c:v>
                </c:pt>
                <c:pt idx="266">
                  <c:v>25</c:v>
                </c:pt>
                <c:pt idx="267">
                  <c:v>25</c:v>
                </c:pt>
                <c:pt idx="268">
                  <c:v>27</c:v>
                </c:pt>
                <c:pt idx="269">
                  <c:v>27</c:v>
                </c:pt>
                <c:pt idx="270">
                  <c:v>27</c:v>
                </c:pt>
                <c:pt idx="271">
                  <c:v>27</c:v>
                </c:pt>
                <c:pt idx="272">
                  <c:v>27</c:v>
                </c:pt>
                <c:pt idx="273">
                  <c:v>27</c:v>
                </c:pt>
                <c:pt idx="274">
                  <c:v>27</c:v>
                </c:pt>
                <c:pt idx="275">
                  <c:v>27</c:v>
                </c:pt>
                <c:pt idx="276">
                  <c:v>27</c:v>
                </c:pt>
                <c:pt idx="277">
                  <c:v>27</c:v>
                </c:pt>
                <c:pt idx="278">
                  <c:v>27</c:v>
                </c:pt>
                <c:pt idx="279">
                  <c:v>27</c:v>
                </c:pt>
                <c:pt idx="280">
                  <c:v>27</c:v>
                </c:pt>
                <c:pt idx="281">
                  <c:v>27</c:v>
                </c:pt>
                <c:pt idx="282">
                  <c:v>27</c:v>
                </c:pt>
                <c:pt idx="283">
                  <c:v>27</c:v>
                </c:pt>
                <c:pt idx="284">
                  <c:v>27</c:v>
                </c:pt>
                <c:pt idx="285">
                  <c:v>27</c:v>
                </c:pt>
                <c:pt idx="286">
                  <c:v>27</c:v>
                </c:pt>
                <c:pt idx="287">
                  <c:v>27</c:v>
                </c:pt>
                <c:pt idx="288">
                  <c:v>29</c:v>
                </c:pt>
                <c:pt idx="289">
                  <c:v>29</c:v>
                </c:pt>
                <c:pt idx="290">
                  <c:v>29</c:v>
                </c:pt>
                <c:pt idx="291">
                  <c:v>29</c:v>
                </c:pt>
                <c:pt idx="292">
                  <c:v>29</c:v>
                </c:pt>
                <c:pt idx="293">
                  <c:v>29</c:v>
                </c:pt>
                <c:pt idx="294">
                  <c:v>29</c:v>
                </c:pt>
                <c:pt idx="295">
                  <c:v>29</c:v>
                </c:pt>
                <c:pt idx="296">
                  <c:v>29</c:v>
                </c:pt>
                <c:pt idx="297">
                  <c:v>29</c:v>
                </c:pt>
                <c:pt idx="298">
                  <c:v>29</c:v>
                </c:pt>
                <c:pt idx="299">
                  <c:v>29</c:v>
                </c:pt>
                <c:pt idx="300">
                  <c:v>29</c:v>
                </c:pt>
                <c:pt idx="301">
                  <c:v>29</c:v>
                </c:pt>
                <c:pt idx="302">
                  <c:v>29</c:v>
                </c:pt>
                <c:pt idx="303">
                  <c:v>29</c:v>
                </c:pt>
                <c:pt idx="304">
                  <c:v>29</c:v>
                </c:pt>
                <c:pt idx="305">
                  <c:v>29</c:v>
                </c:pt>
                <c:pt idx="306">
                  <c:v>29</c:v>
                </c:pt>
                <c:pt idx="307">
                  <c:v>29</c:v>
                </c:pt>
                <c:pt idx="308">
                  <c:v>29</c:v>
                </c:pt>
                <c:pt idx="309">
                  <c:v>29</c:v>
                </c:pt>
                <c:pt idx="310">
                  <c:v>31</c:v>
                </c:pt>
                <c:pt idx="311">
                  <c:v>31</c:v>
                </c:pt>
                <c:pt idx="312">
                  <c:v>31</c:v>
                </c:pt>
                <c:pt idx="313">
                  <c:v>31</c:v>
                </c:pt>
                <c:pt idx="314">
                  <c:v>31</c:v>
                </c:pt>
                <c:pt idx="315">
                  <c:v>31</c:v>
                </c:pt>
                <c:pt idx="316">
                  <c:v>31</c:v>
                </c:pt>
                <c:pt idx="317">
                  <c:v>31</c:v>
                </c:pt>
                <c:pt idx="318">
                  <c:v>31</c:v>
                </c:pt>
                <c:pt idx="319">
                  <c:v>31</c:v>
                </c:pt>
                <c:pt idx="320">
                  <c:v>31</c:v>
                </c:pt>
                <c:pt idx="321">
                  <c:v>31</c:v>
                </c:pt>
                <c:pt idx="322">
                  <c:v>31</c:v>
                </c:pt>
                <c:pt idx="323">
                  <c:v>31</c:v>
                </c:pt>
                <c:pt idx="324">
                  <c:v>31</c:v>
                </c:pt>
                <c:pt idx="325">
                  <c:v>31</c:v>
                </c:pt>
                <c:pt idx="326">
                  <c:v>31</c:v>
                </c:pt>
                <c:pt idx="327">
                  <c:v>31</c:v>
                </c:pt>
                <c:pt idx="328">
                  <c:v>31</c:v>
                </c:pt>
                <c:pt idx="329">
                  <c:v>31</c:v>
                </c:pt>
                <c:pt idx="330">
                  <c:v>31</c:v>
                </c:pt>
              </c:numCache>
            </c:numRef>
          </c:xVal>
          <c:yVal>
            <c:numRef>
              <c:f>Sheet1!$B$2:$B$332</c:f>
              <c:numCache>
                <c:formatCode>General</c:formatCode>
                <c:ptCount val="331"/>
                <c:pt idx="0">
                  <c:v>0.6715426975257872</c:v>
                </c:pt>
                <c:pt idx="1">
                  <c:v>5.618150831221556</c:v>
                </c:pt>
                <c:pt idx="2">
                  <c:v>1.140935615701603</c:v>
                </c:pt>
                <c:pt idx="3">
                  <c:v>2.9318064584048917</c:v>
                </c:pt>
                <c:pt idx="4">
                  <c:v>0.7932179522287043</c:v>
                </c:pt>
                <c:pt idx="5">
                  <c:v>2.4618522741894653</c:v>
                </c:pt>
                <c:pt idx="6">
                  <c:v>5.063831579292238</c:v>
                </c:pt>
                <c:pt idx="7">
                  <c:v>1.7744464369855668</c:v>
                </c:pt>
                <c:pt idx="8">
                  <c:v>0.7073959679238083</c:v>
                </c:pt>
                <c:pt idx="9">
                  <c:v>1.112896691539706</c:v>
                </c:pt>
                <c:pt idx="10">
                  <c:v>3.31329691441154</c:v>
                </c:pt>
                <c:pt idx="11">
                  <c:v>1.5549000490537064</c:v>
                </c:pt>
                <c:pt idx="12">
                  <c:v>1.5920402287511413</c:v>
                </c:pt>
                <c:pt idx="13">
                  <c:v>1.435479578982596</c:v>
                </c:pt>
                <c:pt idx="14">
                  <c:v>2.1455170593771618</c:v>
                </c:pt>
                <c:pt idx="15">
                  <c:v>1.7600103643156937</c:v>
                </c:pt>
                <c:pt idx="16">
                  <c:v>1.2382915794003346</c:v>
                </c:pt>
                <c:pt idx="17">
                  <c:v>1.9275746088815293</c:v>
                </c:pt>
                <c:pt idx="18">
                  <c:v>1.9406805325935146</c:v>
                </c:pt>
                <c:pt idx="19">
                  <c:v>2.1211061875343082</c:v>
                </c:pt>
                <c:pt idx="20">
                  <c:v>0.5477606706244917</c:v>
                </c:pt>
                <c:pt idx="21">
                  <c:v>6.259929287140171</c:v>
                </c:pt>
                <c:pt idx="22">
                  <c:v>1.1623416904866346</c:v>
                </c:pt>
                <c:pt idx="23">
                  <c:v>0.7140176715273205</c:v>
                </c:pt>
                <c:pt idx="24">
                  <c:v>2.583348869920126</c:v>
                </c:pt>
                <c:pt idx="25">
                  <c:v>2.4295554384644404</c:v>
                </c:pt>
                <c:pt idx="26">
                  <c:v>4.788425139833589</c:v>
                </c:pt>
                <c:pt idx="27">
                  <c:v>0.5927012388675096</c:v>
                </c:pt>
                <c:pt idx="28">
                  <c:v>1.7580528978078414</c:v>
                </c:pt>
                <c:pt idx="29">
                  <c:v>3.272780606927575</c:v>
                </c:pt>
                <c:pt idx="30">
                  <c:v>1.0716056504799905</c:v>
                </c:pt>
                <c:pt idx="31">
                  <c:v>1.4677329286946108</c:v>
                </c:pt>
                <c:pt idx="32">
                  <c:v>1.5069917251952258</c:v>
                </c:pt>
                <c:pt idx="33">
                  <c:v>1.3623372474599875</c:v>
                </c:pt>
                <c:pt idx="34">
                  <c:v>2.052878437091956</c:v>
                </c:pt>
                <c:pt idx="35">
                  <c:v>1.5485064049782</c:v>
                </c:pt>
                <c:pt idx="36">
                  <c:v>1.2600896847824434</c:v>
                </c:pt>
                <c:pt idx="37">
                  <c:v>1.8500399398137382</c:v>
                </c:pt>
                <c:pt idx="38">
                  <c:v>2.2123867217616575</c:v>
                </c:pt>
                <c:pt idx="39">
                  <c:v>1.956239846559418</c:v>
                </c:pt>
                <c:pt idx="40">
                  <c:v>1.5649108925087825</c:v>
                </c:pt>
                <c:pt idx="41">
                  <c:v>0.7630950951003972</c:v>
                </c:pt>
                <c:pt idx="42">
                  <c:v>7.624168245361739</c:v>
                </c:pt>
                <c:pt idx="43">
                  <c:v>1.2457431486312522</c:v>
                </c:pt>
                <c:pt idx="44">
                  <c:v>0.7924423268720766</c:v>
                </c:pt>
                <c:pt idx="45">
                  <c:v>3.74411181814524</c:v>
                </c:pt>
                <c:pt idx="46">
                  <c:v>2.7409515774531124</c:v>
                </c:pt>
                <c:pt idx="47">
                  <c:v>1.0175541958168608</c:v>
                </c:pt>
                <c:pt idx="48">
                  <c:v>3.7283657991097554</c:v>
                </c:pt>
                <c:pt idx="49">
                  <c:v>4.508506964000756</c:v>
                </c:pt>
                <c:pt idx="50">
                  <c:v>0.7369182218013035</c:v>
                </c:pt>
                <c:pt idx="51">
                  <c:v>2.4727045788300344</c:v>
                </c:pt>
                <c:pt idx="52">
                  <c:v>2.239590456481315</c:v>
                </c:pt>
                <c:pt idx="53">
                  <c:v>1.9196589846194752</c:v>
                </c:pt>
                <c:pt idx="54">
                  <c:v>1.8495652820363706</c:v>
                </c:pt>
                <c:pt idx="55">
                  <c:v>1.8841534370774988</c:v>
                </c:pt>
                <c:pt idx="56">
                  <c:v>2.570537836046493</c:v>
                </c:pt>
                <c:pt idx="57">
                  <c:v>1.50394246035039</c:v>
                </c:pt>
                <c:pt idx="58">
                  <c:v>2.0215518290373136</c:v>
                </c:pt>
                <c:pt idx="59">
                  <c:v>2.9916608125876376</c:v>
                </c:pt>
                <c:pt idx="60">
                  <c:v>3.0081986204929865</c:v>
                </c:pt>
                <c:pt idx="61">
                  <c:v>2.281505057446321</c:v>
                </c:pt>
                <c:pt idx="62">
                  <c:v>0.4964190811709074</c:v>
                </c:pt>
                <c:pt idx="63">
                  <c:v>2.4453662378577055</c:v>
                </c:pt>
                <c:pt idx="64">
                  <c:v>1.0592769235928405</c:v>
                </c:pt>
                <c:pt idx="65">
                  <c:v>2.8900174512996153</c:v>
                </c:pt>
                <c:pt idx="66">
                  <c:v>0.9003867428337271</c:v>
                </c:pt>
                <c:pt idx="67">
                  <c:v>1.5784818584683562</c:v>
                </c:pt>
                <c:pt idx="68">
                  <c:v>2.7708211742229114</c:v>
                </c:pt>
                <c:pt idx="69">
                  <c:v>1.176046951990537</c:v>
                </c:pt>
                <c:pt idx="70">
                  <c:v>1.0435931171578148</c:v>
                </c:pt>
                <c:pt idx="71">
                  <c:v>0.8712809324555177</c:v>
                </c:pt>
                <c:pt idx="72">
                  <c:v>10.153346907815026</c:v>
                </c:pt>
                <c:pt idx="73">
                  <c:v>1.319448340345956</c:v>
                </c:pt>
                <c:pt idx="74">
                  <c:v>1.2027704953396663</c:v>
                </c:pt>
                <c:pt idx="75">
                  <c:v>3.485475762533752</c:v>
                </c:pt>
                <c:pt idx="76">
                  <c:v>1.118360338339461</c:v>
                </c:pt>
                <c:pt idx="77">
                  <c:v>0.8203362995251389</c:v>
                </c:pt>
                <c:pt idx="78">
                  <c:v>1.9953320233212046</c:v>
                </c:pt>
                <c:pt idx="79">
                  <c:v>1.5183980762628673</c:v>
                </c:pt>
                <c:pt idx="80">
                  <c:v>1.812899327970338</c:v>
                </c:pt>
                <c:pt idx="81">
                  <c:v>1.8538340852664226</c:v>
                </c:pt>
                <c:pt idx="82">
                  <c:v>1.8853678290183644</c:v>
                </c:pt>
                <c:pt idx="83">
                  <c:v>0.6868682876576111</c:v>
                </c:pt>
                <c:pt idx="84">
                  <c:v>0.9006009371814996</c:v>
                </c:pt>
                <c:pt idx="85">
                  <c:v>2.817255555836348</c:v>
                </c:pt>
                <c:pt idx="86">
                  <c:v>3.304841601912732</c:v>
                </c:pt>
                <c:pt idx="87">
                  <c:v>2.035462502597475</c:v>
                </c:pt>
                <c:pt idx="88">
                  <c:v>0.9050475446465028</c:v>
                </c:pt>
                <c:pt idx="89">
                  <c:v>2.0607690457765186</c:v>
                </c:pt>
                <c:pt idx="90">
                  <c:v>1.8564612954186412</c:v>
                </c:pt>
                <c:pt idx="91">
                  <c:v>1.272579581053451</c:v>
                </c:pt>
                <c:pt idx="92">
                  <c:v>1.4626058096619599</c:v>
                </c:pt>
                <c:pt idx="93">
                  <c:v>0.9537213445567266</c:v>
                </c:pt>
                <c:pt idx="94">
                  <c:v>1.6607415276471866</c:v>
                </c:pt>
                <c:pt idx="95">
                  <c:v>3.619984991474251</c:v>
                </c:pt>
                <c:pt idx="96">
                  <c:v>1.354470776549439</c:v>
                </c:pt>
                <c:pt idx="97">
                  <c:v>2.343618557249924</c:v>
                </c:pt>
                <c:pt idx="98">
                  <c:v>2.422149932273743</c:v>
                </c:pt>
                <c:pt idx="99">
                  <c:v>1.678190794178425</c:v>
                </c:pt>
                <c:pt idx="100">
                  <c:v>1.5508898634781911</c:v>
                </c:pt>
                <c:pt idx="101">
                  <c:v>2.5123641199599107</c:v>
                </c:pt>
                <c:pt idx="102">
                  <c:v>1.520552045428487</c:v>
                </c:pt>
                <c:pt idx="103">
                  <c:v>1.0684453097211384</c:v>
                </c:pt>
                <c:pt idx="104">
                  <c:v>4.814616755793226</c:v>
                </c:pt>
                <c:pt idx="105">
                  <c:v>1.1251654080064157</c:v>
                </c:pt>
                <c:pt idx="106">
                  <c:v>1.0931269161575334</c:v>
                </c:pt>
                <c:pt idx="107">
                  <c:v>3.881348706337101</c:v>
                </c:pt>
                <c:pt idx="108">
                  <c:v>2.579356270810211</c:v>
                </c:pt>
                <c:pt idx="109">
                  <c:v>2.360837418182551</c:v>
                </c:pt>
                <c:pt idx="110">
                  <c:v>1.7314173438124416</c:v>
                </c:pt>
                <c:pt idx="111">
                  <c:v>3.5930038825161112</c:v>
                </c:pt>
                <c:pt idx="112">
                  <c:v>3.9023874671387953</c:v>
                </c:pt>
                <c:pt idx="113">
                  <c:v>0.9717661222262258</c:v>
                </c:pt>
                <c:pt idx="114">
                  <c:v>1.7123437842578382</c:v>
                </c:pt>
                <c:pt idx="115">
                  <c:v>2.2252939384709105</c:v>
                </c:pt>
                <c:pt idx="116">
                  <c:v>2.4654960356680067</c:v>
                </c:pt>
                <c:pt idx="117">
                  <c:v>2.726773025874782</c:v>
                </c:pt>
                <c:pt idx="118">
                  <c:v>0.9825036515372916</c:v>
                </c:pt>
                <c:pt idx="119">
                  <c:v>1.7268237934904602</c:v>
                </c:pt>
                <c:pt idx="120">
                  <c:v>2.625591782045556</c:v>
                </c:pt>
                <c:pt idx="121">
                  <c:v>1.6196625945317045</c:v>
                </c:pt>
                <c:pt idx="122">
                  <c:v>4.28954348475792</c:v>
                </c:pt>
                <c:pt idx="123">
                  <c:v>1.6444777150754348</c:v>
                </c:pt>
                <c:pt idx="124">
                  <c:v>0.5880023515206172</c:v>
                </c:pt>
                <c:pt idx="125">
                  <c:v>6.372394271651029</c:v>
                </c:pt>
                <c:pt idx="126">
                  <c:v>1.178825552532752</c:v>
                </c:pt>
                <c:pt idx="127">
                  <c:v>2.7088939586657426</c:v>
                </c:pt>
                <c:pt idx="128">
                  <c:v>0.7377042228855656</c:v>
                </c:pt>
                <c:pt idx="129">
                  <c:v>2.4442811375576072</c:v>
                </c:pt>
                <c:pt idx="130">
                  <c:v>1.766368842521681</c:v>
                </c:pt>
                <c:pt idx="131">
                  <c:v>4.37249803586574</c:v>
                </c:pt>
                <c:pt idx="132">
                  <c:v>0.5944532739181027</c:v>
                </c:pt>
                <c:pt idx="133">
                  <c:v>1.5460572187042987</c:v>
                </c:pt>
                <c:pt idx="134">
                  <c:v>1.0732446415183323</c:v>
                </c:pt>
                <c:pt idx="135">
                  <c:v>3.5028135810745575</c:v>
                </c:pt>
                <c:pt idx="136">
                  <c:v>1.4550156862629382</c:v>
                </c:pt>
                <c:pt idx="137">
                  <c:v>1.3471215624938717</c:v>
                </c:pt>
                <c:pt idx="138">
                  <c:v>2.07416565364882</c:v>
                </c:pt>
                <c:pt idx="139">
                  <c:v>2.087180985151566</c:v>
                </c:pt>
                <c:pt idx="140">
                  <c:v>1.2935183428610635</c:v>
                </c:pt>
                <c:pt idx="141">
                  <c:v>1.948371134253774</c:v>
                </c:pt>
                <c:pt idx="142">
                  <c:v>2.233546936883047</c:v>
                </c:pt>
                <c:pt idx="143">
                  <c:v>1.9526579201072665</c:v>
                </c:pt>
                <c:pt idx="144">
                  <c:v>1.8240998144416747</c:v>
                </c:pt>
                <c:pt idx="145">
                  <c:v>0.9208577178796296</c:v>
                </c:pt>
                <c:pt idx="146">
                  <c:v>2.6997176559166767</c:v>
                </c:pt>
                <c:pt idx="147">
                  <c:v>1.7004431259678732</c:v>
                </c:pt>
                <c:pt idx="148">
                  <c:v>3.2483820461592066</c:v>
                </c:pt>
                <c:pt idx="149">
                  <c:v>2.5770654156893404</c:v>
                </c:pt>
                <c:pt idx="150">
                  <c:v>7.484492215454554</c:v>
                </c:pt>
                <c:pt idx="151">
                  <c:v>0.9825214265431401</c:v>
                </c:pt>
                <c:pt idx="152">
                  <c:v>2.202428057553957</c:v>
                </c:pt>
                <c:pt idx="153">
                  <c:v>2.030382651693307</c:v>
                </c:pt>
                <c:pt idx="154">
                  <c:v>3.1367242746345645</c:v>
                </c:pt>
                <c:pt idx="155">
                  <c:v>1.2880017633187577</c:v>
                </c:pt>
                <c:pt idx="156">
                  <c:v>1.489768616002397</c:v>
                </c:pt>
                <c:pt idx="157">
                  <c:v>3.4612184551585092</c:v>
                </c:pt>
                <c:pt idx="158">
                  <c:v>0.804897255601036</c:v>
                </c:pt>
                <c:pt idx="159">
                  <c:v>2.588081406532528</c:v>
                </c:pt>
                <c:pt idx="160">
                  <c:v>1.0748105181747873</c:v>
                </c:pt>
                <c:pt idx="161">
                  <c:v>1.5758414938145173</c:v>
                </c:pt>
                <c:pt idx="162">
                  <c:v>2.487852947450492</c:v>
                </c:pt>
                <c:pt idx="163">
                  <c:v>1.5692300757112057</c:v>
                </c:pt>
                <c:pt idx="164">
                  <c:v>0.9370143606543468</c:v>
                </c:pt>
                <c:pt idx="165">
                  <c:v>1.5480866932018036</c:v>
                </c:pt>
                <c:pt idx="166">
                  <c:v>4.993321190042502</c:v>
                </c:pt>
                <c:pt idx="167">
                  <c:v>0.8408292385599472</c:v>
                </c:pt>
                <c:pt idx="168">
                  <c:v>3.880146282674646</c:v>
                </c:pt>
                <c:pt idx="169">
                  <c:v>6.549333466297651</c:v>
                </c:pt>
                <c:pt idx="170">
                  <c:v>1.4850014257095787</c:v>
                </c:pt>
                <c:pt idx="171">
                  <c:v>1.5489590271800349</c:v>
                </c:pt>
                <c:pt idx="172">
                  <c:v>3.275093717854991</c:v>
                </c:pt>
                <c:pt idx="173">
                  <c:v>1.2196721229263205</c:v>
                </c:pt>
                <c:pt idx="174">
                  <c:v>1.8303145853193519</c:v>
                </c:pt>
                <c:pt idx="175">
                  <c:v>1.2091721822367916</c:v>
                </c:pt>
                <c:pt idx="176">
                  <c:v>1.2942618283367076</c:v>
                </c:pt>
                <c:pt idx="177">
                  <c:v>1.719037508846426</c:v>
                </c:pt>
                <c:pt idx="178">
                  <c:v>1.968385905503229</c:v>
                </c:pt>
                <c:pt idx="179">
                  <c:v>2.000794506554679</c:v>
                </c:pt>
                <c:pt idx="180">
                  <c:v>2.694299005295195</c:v>
                </c:pt>
                <c:pt idx="181">
                  <c:v>1.2443290692073006</c:v>
                </c:pt>
                <c:pt idx="182">
                  <c:v>2.4361716857043962</c:v>
                </c:pt>
                <c:pt idx="183">
                  <c:v>2.2235091196007195</c:v>
                </c:pt>
                <c:pt idx="184">
                  <c:v>1.664833121268474</c:v>
                </c:pt>
                <c:pt idx="185">
                  <c:v>0.8890708734158725</c:v>
                </c:pt>
                <c:pt idx="186">
                  <c:v>4.561597058050959</c:v>
                </c:pt>
                <c:pt idx="187">
                  <c:v>1.4880701591343233</c:v>
                </c:pt>
                <c:pt idx="188">
                  <c:v>0.9736119355860692</c:v>
                </c:pt>
                <c:pt idx="189">
                  <c:v>8.467025719938448</c:v>
                </c:pt>
                <c:pt idx="190">
                  <c:v>0.8477604495338402</c:v>
                </c:pt>
                <c:pt idx="191">
                  <c:v>1.250435603863837</c:v>
                </c:pt>
                <c:pt idx="192">
                  <c:v>2.9110783261802573</c:v>
                </c:pt>
                <c:pt idx="193">
                  <c:v>1.0699912680702435</c:v>
                </c:pt>
                <c:pt idx="194">
                  <c:v>1.9616835466068288</c:v>
                </c:pt>
                <c:pt idx="195">
                  <c:v>3.198028452029064</c:v>
                </c:pt>
                <c:pt idx="196">
                  <c:v>2.3653875525009544</c:v>
                </c:pt>
                <c:pt idx="197">
                  <c:v>1.586178308089063</c:v>
                </c:pt>
                <c:pt idx="198">
                  <c:v>2.408364083640836</c:v>
                </c:pt>
                <c:pt idx="199">
                  <c:v>4.50925060736311</c:v>
                </c:pt>
                <c:pt idx="200">
                  <c:v>2.0811734548561662</c:v>
                </c:pt>
                <c:pt idx="201">
                  <c:v>0.37667304015296366</c:v>
                </c:pt>
                <c:pt idx="202">
                  <c:v>2.969654806864109</c:v>
                </c:pt>
                <c:pt idx="203">
                  <c:v>2.050369375419745</c:v>
                </c:pt>
                <c:pt idx="204">
                  <c:v>2.6754019842627437</c:v>
                </c:pt>
                <c:pt idx="205">
                  <c:v>3.011682892906815</c:v>
                </c:pt>
                <c:pt idx="206">
                  <c:v>0.9813628146293978</c:v>
                </c:pt>
                <c:pt idx="207">
                  <c:v>2.9231927710843375</c:v>
                </c:pt>
                <c:pt idx="208">
                  <c:v>1.0599293025642407</c:v>
                </c:pt>
                <c:pt idx="209">
                  <c:v>0.8991863555922188</c:v>
                </c:pt>
                <c:pt idx="210">
                  <c:v>3.372790491844734</c:v>
                </c:pt>
                <c:pt idx="211">
                  <c:v>1.6805990578049401</c:v>
                </c:pt>
                <c:pt idx="212">
                  <c:v>2.5895451013632833</c:v>
                </c:pt>
                <c:pt idx="213">
                  <c:v>0.9898548309380015</c:v>
                </c:pt>
                <c:pt idx="214">
                  <c:v>2.232529758927678</c:v>
                </c:pt>
                <c:pt idx="215">
                  <c:v>0.7868200836820084</c:v>
                </c:pt>
                <c:pt idx="216">
                  <c:v>1.1288219554454952</c:v>
                </c:pt>
                <c:pt idx="217">
                  <c:v>1.559072407883462</c:v>
                </c:pt>
                <c:pt idx="218">
                  <c:v>1.481237322515213</c:v>
                </c:pt>
                <c:pt idx="219">
                  <c:v>0.7754756584738303</c:v>
                </c:pt>
                <c:pt idx="220">
                  <c:v>2.1690250745221813</c:v>
                </c:pt>
                <c:pt idx="221">
                  <c:v>1.146265744190172</c:v>
                </c:pt>
                <c:pt idx="222">
                  <c:v>0.23711340206185566</c:v>
                </c:pt>
                <c:pt idx="223">
                  <c:v>1.5421514594815269</c:v>
                </c:pt>
                <c:pt idx="224">
                  <c:v>1.7858431018935979</c:v>
                </c:pt>
                <c:pt idx="225">
                  <c:v>0.7745628964876992</c:v>
                </c:pt>
                <c:pt idx="226">
                  <c:v>1.914193807800563</c:v>
                </c:pt>
                <c:pt idx="227">
                  <c:v>0.488590176057084</c:v>
                </c:pt>
                <c:pt idx="228">
                  <c:v>5.2434520343538695</c:v>
                </c:pt>
                <c:pt idx="229">
                  <c:v>1.0052229667968466</c:v>
                </c:pt>
                <c:pt idx="230">
                  <c:v>2.9840451453309256</c:v>
                </c:pt>
                <c:pt idx="231">
                  <c:v>0.946523950711649</c:v>
                </c:pt>
                <c:pt idx="232">
                  <c:v>1.9425734027800547</c:v>
                </c:pt>
                <c:pt idx="233">
                  <c:v>2.7248771560446845</c:v>
                </c:pt>
                <c:pt idx="234">
                  <c:v>1.2785385504248623</c:v>
                </c:pt>
                <c:pt idx="235">
                  <c:v>5.333513745612215</c:v>
                </c:pt>
                <c:pt idx="236">
                  <c:v>1.763295742567986</c:v>
                </c:pt>
                <c:pt idx="237">
                  <c:v>0.6945800292323667</c:v>
                </c:pt>
                <c:pt idx="238">
                  <c:v>1.3001423713740667</c:v>
                </c:pt>
                <c:pt idx="239">
                  <c:v>3.618933504739822</c:v>
                </c:pt>
                <c:pt idx="240">
                  <c:v>1.2824632737036383</c:v>
                </c:pt>
                <c:pt idx="241">
                  <c:v>1.6336041490018014</c:v>
                </c:pt>
                <c:pt idx="242">
                  <c:v>1.0558109073227422</c:v>
                </c:pt>
                <c:pt idx="243">
                  <c:v>0.9245830761507398</c:v>
                </c:pt>
                <c:pt idx="244">
                  <c:v>2.551075856845775</c:v>
                </c:pt>
                <c:pt idx="245">
                  <c:v>2.486408065458781</c:v>
                </c:pt>
                <c:pt idx="246">
                  <c:v>2.1896708112302705</c:v>
                </c:pt>
                <c:pt idx="247">
                  <c:v>0.6054565612811993</c:v>
                </c:pt>
                <c:pt idx="248">
                  <c:v>6.256346313364368</c:v>
                </c:pt>
                <c:pt idx="249">
                  <c:v>1.1395627440008633</c:v>
                </c:pt>
                <c:pt idx="250">
                  <c:v>3.5529252591071137</c:v>
                </c:pt>
                <c:pt idx="251">
                  <c:v>1.0054089151326109</c:v>
                </c:pt>
                <c:pt idx="252">
                  <c:v>2.7748039014531516</c:v>
                </c:pt>
                <c:pt idx="253">
                  <c:v>4.281390509290394</c:v>
                </c:pt>
                <c:pt idx="254">
                  <c:v>1.5408987054737506</c:v>
                </c:pt>
                <c:pt idx="255">
                  <c:v>0.7512648014311181</c:v>
                </c:pt>
                <c:pt idx="256">
                  <c:v>3.426911755228483</c:v>
                </c:pt>
                <c:pt idx="257">
                  <c:v>1.3518354776848844</c:v>
                </c:pt>
                <c:pt idx="258">
                  <c:v>1.3480906064981015</c:v>
                </c:pt>
                <c:pt idx="259">
                  <c:v>0.957242404524109</c:v>
                </c:pt>
                <c:pt idx="260">
                  <c:v>1.5437198932290424</c:v>
                </c:pt>
                <c:pt idx="261">
                  <c:v>2.197392697490022</c:v>
                </c:pt>
                <c:pt idx="262">
                  <c:v>1.304977724945007</c:v>
                </c:pt>
                <c:pt idx="263">
                  <c:v>2.2702307917031845</c:v>
                </c:pt>
                <c:pt idx="264">
                  <c:v>2.5544204274974236</c:v>
                </c:pt>
                <c:pt idx="265">
                  <c:v>2.04425469672365</c:v>
                </c:pt>
                <c:pt idx="266">
                  <c:v>2.8230276772819987</c:v>
                </c:pt>
                <c:pt idx="267">
                  <c:v>1.6749057222495491</c:v>
                </c:pt>
                <c:pt idx="268">
                  <c:v>0.7022223093874026</c:v>
                </c:pt>
                <c:pt idx="269">
                  <c:v>5.181098450686669</c:v>
                </c:pt>
                <c:pt idx="270">
                  <c:v>1.121853224269687</c:v>
                </c:pt>
                <c:pt idx="271">
                  <c:v>0.6788508167196337</c:v>
                </c:pt>
                <c:pt idx="272">
                  <c:v>3.0580826964730496</c:v>
                </c:pt>
                <c:pt idx="273">
                  <c:v>2.5750063198274638</c:v>
                </c:pt>
                <c:pt idx="274">
                  <c:v>4.870838313170262</c:v>
                </c:pt>
                <c:pt idx="275">
                  <c:v>0.594127472678165</c:v>
                </c:pt>
                <c:pt idx="276">
                  <c:v>1.0502653702141767</c:v>
                </c:pt>
                <c:pt idx="277">
                  <c:v>4.00105131328236</c:v>
                </c:pt>
                <c:pt idx="278">
                  <c:v>1.44992870135776</c:v>
                </c:pt>
                <c:pt idx="279">
                  <c:v>1.6104623567186351</c:v>
                </c:pt>
                <c:pt idx="280">
                  <c:v>1.6158887604052754</c:v>
                </c:pt>
                <c:pt idx="281">
                  <c:v>2.4056611122400597</c:v>
                </c:pt>
                <c:pt idx="282">
                  <c:v>1.656734429946384</c:v>
                </c:pt>
                <c:pt idx="283">
                  <c:v>4.079612392643554</c:v>
                </c:pt>
                <c:pt idx="284">
                  <c:v>1.0594422211780972</c:v>
                </c:pt>
                <c:pt idx="285">
                  <c:v>1.9593464103461617</c:v>
                </c:pt>
                <c:pt idx="286">
                  <c:v>2.0327315599496587</c:v>
                </c:pt>
                <c:pt idx="287">
                  <c:v>2.3233688626629547</c:v>
                </c:pt>
                <c:pt idx="288">
                  <c:v>0.6729061732690976</c:v>
                </c:pt>
                <c:pt idx="289">
                  <c:v>5.922086551820179</c:v>
                </c:pt>
                <c:pt idx="290">
                  <c:v>1.2735692822849123</c:v>
                </c:pt>
                <c:pt idx="291">
                  <c:v>0.7104655120748979</c:v>
                </c:pt>
                <c:pt idx="292">
                  <c:v>2.8525966369975033</c:v>
                </c:pt>
                <c:pt idx="293">
                  <c:v>2.405198749979357</c:v>
                </c:pt>
                <c:pt idx="294">
                  <c:v>5.027034491208144</c:v>
                </c:pt>
                <c:pt idx="295">
                  <c:v>0.9302837185524933</c:v>
                </c:pt>
                <c:pt idx="296">
                  <c:v>0.6547992441121029</c:v>
                </c:pt>
                <c:pt idx="297">
                  <c:v>1.44097949082082</c:v>
                </c:pt>
                <c:pt idx="298">
                  <c:v>3.245343911109273</c:v>
                </c:pt>
                <c:pt idx="299">
                  <c:v>2.4188878326182093</c:v>
                </c:pt>
                <c:pt idx="300">
                  <c:v>1.280161728923331</c:v>
                </c:pt>
                <c:pt idx="301">
                  <c:v>1.2246017090613852</c:v>
                </c:pt>
                <c:pt idx="302">
                  <c:v>1.8834847168618296</c:v>
                </c:pt>
                <c:pt idx="303">
                  <c:v>1.013224532096772</c:v>
                </c:pt>
                <c:pt idx="304">
                  <c:v>2.3543394362696968</c:v>
                </c:pt>
                <c:pt idx="305">
                  <c:v>1.6303370382360345</c:v>
                </c:pt>
                <c:pt idx="306">
                  <c:v>1.8464165973437987</c:v>
                </c:pt>
                <c:pt idx="307">
                  <c:v>2.461434263649078</c:v>
                </c:pt>
                <c:pt idx="308">
                  <c:v>1.9922850078937178</c:v>
                </c:pt>
                <c:pt idx="309">
                  <c:v>1.5887972143599522</c:v>
                </c:pt>
                <c:pt idx="310">
                  <c:v>0.6898975419769199</c:v>
                </c:pt>
                <c:pt idx="311">
                  <c:v>6.315119728756093</c:v>
                </c:pt>
                <c:pt idx="312">
                  <c:v>1.4009552652574773</c:v>
                </c:pt>
                <c:pt idx="313">
                  <c:v>0.5884802542248292</c:v>
                </c:pt>
                <c:pt idx="314">
                  <c:v>2.3220141734662603</c:v>
                </c:pt>
                <c:pt idx="315">
                  <c:v>4.912541887129411</c:v>
                </c:pt>
                <c:pt idx="316">
                  <c:v>1.9261945795677082</c:v>
                </c:pt>
                <c:pt idx="317">
                  <c:v>1.1047231269630542</c:v>
                </c:pt>
                <c:pt idx="318">
                  <c:v>0.7673256135543244</c:v>
                </c:pt>
                <c:pt idx="319">
                  <c:v>3.090166841471462</c:v>
                </c:pt>
                <c:pt idx="320">
                  <c:v>1.6892529415636917</c:v>
                </c:pt>
                <c:pt idx="321">
                  <c:v>1.672845973976688</c:v>
                </c:pt>
                <c:pt idx="322">
                  <c:v>1.585548004959799</c:v>
                </c:pt>
                <c:pt idx="323">
                  <c:v>1.9783354159313984</c:v>
                </c:pt>
                <c:pt idx="324">
                  <c:v>1.5649413548904747</c:v>
                </c:pt>
                <c:pt idx="325">
                  <c:v>1.0500923372596331</c:v>
                </c:pt>
                <c:pt idx="326">
                  <c:v>1.7341081040314505</c:v>
                </c:pt>
                <c:pt idx="327">
                  <c:v>2.2156828655964587</c:v>
                </c:pt>
                <c:pt idx="328">
                  <c:v>3.986031828403391</c:v>
                </c:pt>
                <c:pt idx="329">
                  <c:v>2.5427035499939508</c:v>
                </c:pt>
                <c:pt idx="330">
                  <c:v>1.3291973299713646</c:v>
                </c:pt>
              </c:numCache>
            </c:numRef>
          </c:yVal>
          <c:bubbleSize>
            <c:numRef>
              <c:f>Sheet1!$C$2:$C$332</c:f>
              <c:numCache>
                <c:formatCode>General</c:formatCode>
                <c:ptCount val="331"/>
                <c:pt idx="0">
                  <c:v>4206050.0</c:v>
                </c:pt>
                <c:pt idx="1">
                  <c:v>173863.0</c:v>
                </c:pt>
                <c:pt idx="2">
                  <c:v>1033960.0</c:v>
                </c:pt>
                <c:pt idx="3">
                  <c:v>1439100.0</c:v>
                </c:pt>
                <c:pt idx="4">
                  <c:v>2063603.0</c:v>
                </c:pt>
                <c:pt idx="5">
                  <c:v>1491080.0</c:v>
                </c:pt>
                <c:pt idx="6">
                  <c:v>1870931.0</c:v>
                </c:pt>
                <c:pt idx="7">
                  <c:v>674636.0</c:v>
                </c:pt>
                <c:pt idx="8">
                  <c:v>930295.0</c:v>
                </c:pt>
                <c:pt idx="9">
                  <c:v>975358.0</c:v>
                </c:pt>
                <c:pt idx="10">
                  <c:v>1204674.0</c:v>
                </c:pt>
                <c:pt idx="11">
                  <c:v>1106151.0</c:v>
                </c:pt>
                <c:pt idx="12">
                  <c:v>625704.0</c:v>
                </c:pt>
                <c:pt idx="13">
                  <c:v>675780.0</c:v>
                </c:pt>
                <c:pt idx="14">
                  <c:v>950313.0</c:v>
                </c:pt>
                <c:pt idx="15">
                  <c:v>301257.0</c:v>
                </c:pt>
                <c:pt idx="16">
                  <c:v>614981.0</c:v>
                </c:pt>
                <c:pt idx="17">
                  <c:v>393092.0</c:v>
                </c:pt>
                <c:pt idx="18">
                  <c:v>571539.0</c:v>
                </c:pt>
                <c:pt idx="19">
                  <c:v>527798.0</c:v>
                </c:pt>
                <c:pt idx="20">
                  <c:v>1608053.0</c:v>
                </c:pt>
                <c:pt idx="21">
                  <c:v>80048.0</c:v>
                </c:pt>
                <c:pt idx="22">
                  <c:v>443546.0</c:v>
                </c:pt>
                <c:pt idx="23">
                  <c:v>995351.0</c:v>
                </c:pt>
                <c:pt idx="24">
                  <c:v>626226.0</c:v>
                </c:pt>
                <c:pt idx="25">
                  <c:v>691798.0</c:v>
                </c:pt>
                <c:pt idx="26">
                  <c:v>914210.0</c:v>
                </c:pt>
                <c:pt idx="27">
                  <c:v>449790.0</c:v>
                </c:pt>
                <c:pt idx="28">
                  <c:v>272601.0</c:v>
                </c:pt>
                <c:pt idx="29">
                  <c:v>537495.0</c:v>
                </c:pt>
                <c:pt idx="30">
                  <c:v>439783.0</c:v>
                </c:pt>
                <c:pt idx="31">
                  <c:v>492729.0</c:v>
                </c:pt>
                <c:pt idx="32">
                  <c:v>296952.0</c:v>
                </c:pt>
                <c:pt idx="33">
                  <c:v>293749.0</c:v>
                </c:pt>
                <c:pt idx="34">
                  <c:v>422030.0</c:v>
                </c:pt>
                <c:pt idx="35">
                  <c:v>188259.0</c:v>
                </c:pt>
                <c:pt idx="36">
                  <c:v>245896.0</c:v>
                </c:pt>
                <c:pt idx="37">
                  <c:v>105440.0</c:v>
                </c:pt>
                <c:pt idx="38">
                  <c:v>255637.0</c:v>
                </c:pt>
                <c:pt idx="39">
                  <c:v>234085.0</c:v>
                </c:pt>
                <c:pt idx="40">
                  <c:v>213034.0</c:v>
                </c:pt>
                <c:pt idx="41">
                  <c:v>882536.0</c:v>
                </c:pt>
                <c:pt idx="42">
                  <c:v>47113.0</c:v>
                </c:pt>
                <c:pt idx="43">
                  <c:v>184656.0</c:v>
                </c:pt>
                <c:pt idx="44">
                  <c:v>409868.0</c:v>
                </c:pt>
                <c:pt idx="45">
                  <c:v>247937.0</c:v>
                </c:pt>
                <c:pt idx="46">
                  <c:v>288147.0</c:v>
                </c:pt>
                <c:pt idx="47">
                  <c:v>223775.0</c:v>
                </c:pt>
                <c:pt idx="48">
                  <c:v>287357.0</c:v>
                </c:pt>
                <c:pt idx="49">
                  <c:v>329537.0</c:v>
                </c:pt>
                <c:pt idx="50">
                  <c:v>170259.0</c:v>
                </c:pt>
                <c:pt idx="51">
                  <c:v>247671.0</c:v>
                </c:pt>
                <c:pt idx="52">
                  <c:v>133569.0</c:v>
                </c:pt>
                <c:pt idx="53">
                  <c:v>205701.0</c:v>
                </c:pt>
                <c:pt idx="54">
                  <c:v>125600.0</c:v>
                </c:pt>
                <c:pt idx="55">
                  <c:v>112696.0</c:v>
                </c:pt>
                <c:pt idx="56">
                  <c:v>61680.0</c:v>
                </c:pt>
                <c:pt idx="57">
                  <c:v>96756.0</c:v>
                </c:pt>
                <c:pt idx="58">
                  <c:v>119301.0</c:v>
                </c:pt>
                <c:pt idx="59">
                  <c:v>109199.0</c:v>
                </c:pt>
                <c:pt idx="60">
                  <c:v>69820.0</c:v>
                </c:pt>
                <c:pt idx="61">
                  <c:v>86282.0</c:v>
                </c:pt>
                <c:pt idx="62">
                  <c:v>480223.0</c:v>
                </c:pt>
                <c:pt idx="63">
                  <c:v>12864.0</c:v>
                </c:pt>
                <c:pt idx="64">
                  <c:v>134995.0</c:v>
                </c:pt>
                <c:pt idx="65">
                  <c:v>210519.0</c:v>
                </c:pt>
                <c:pt idx="66">
                  <c:v>233097.0</c:v>
                </c:pt>
                <c:pt idx="67">
                  <c:v>95312.0</c:v>
                </c:pt>
                <c:pt idx="68">
                  <c:v>181471.0</c:v>
                </c:pt>
                <c:pt idx="69">
                  <c:v>136566.0</c:v>
                </c:pt>
                <c:pt idx="70">
                  <c:v>92254.0</c:v>
                </c:pt>
                <c:pt idx="71">
                  <c:v>109088.0</c:v>
                </c:pt>
                <c:pt idx="72">
                  <c:v>178124.0</c:v>
                </c:pt>
                <c:pt idx="73">
                  <c:v>39120.0</c:v>
                </c:pt>
                <c:pt idx="74">
                  <c:v>99936.0</c:v>
                </c:pt>
                <c:pt idx="75">
                  <c:v>117350.0</c:v>
                </c:pt>
                <c:pt idx="76">
                  <c:v>57971.0</c:v>
                </c:pt>
                <c:pt idx="77">
                  <c:v>81024.0</c:v>
                </c:pt>
                <c:pt idx="78">
                  <c:v>45453.0</c:v>
                </c:pt>
                <c:pt idx="79">
                  <c:v>75876.0</c:v>
                </c:pt>
                <c:pt idx="80">
                  <c:v>77387.0</c:v>
                </c:pt>
                <c:pt idx="81">
                  <c:v>60938.0</c:v>
                </c:pt>
                <c:pt idx="82">
                  <c:v>54352.0</c:v>
                </c:pt>
                <c:pt idx="83">
                  <c:v>340666.0</c:v>
                </c:pt>
                <c:pt idx="84">
                  <c:v>80742.0</c:v>
                </c:pt>
                <c:pt idx="85">
                  <c:v>148422.0</c:v>
                </c:pt>
                <c:pt idx="86">
                  <c:v>6905.0</c:v>
                </c:pt>
                <c:pt idx="87">
                  <c:v>61662.0</c:v>
                </c:pt>
                <c:pt idx="88">
                  <c:v>137210.0</c:v>
                </c:pt>
                <c:pt idx="89">
                  <c:v>132662.0</c:v>
                </c:pt>
                <c:pt idx="90">
                  <c:v>29280.0</c:v>
                </c:pt>
                <c:pt idx="91">
                  <c:v>86605.0</c:v>
                </c:pt>
                <c:pt idx="92">
                  <c:v>68022.0</c:v>
                </c:pt>
                <c:pt idx="93">
                  <c:v>73347.0</c:v>
                </c:pt>
                <c:pt idx="94">
                  <c:v>89284.0</c:v>
                </c:pt>
                <c:pt idx="95">
                  <c:v>116675.0</c:v>
                </c:pt>
                <c:pt idx="96">
                  <c:v>46540.0</c:v>
                </c:pt>
                <c:pt idx="97">
                  <c:v>35129.0</c:v>
                </c:pt>
                <c:pt idx="98">
                  <c:v>51790.0</c:v>
                </c:pt>
                <c:pt idx="99">
                  <c:v>44262.0</c:v>
                </c:pt>
                <c:pt idx="100">
                  <c:v>37826.0</c:v>
                </c:pt>
                <c:pt idx="101">
                  <c:v>44011.0</c:v>
                </c:pt>
                <c:pt idx="102">
                  <c:v>36551.0</c:v>
                </c:pt>
                <c:pt idx="103">
                  <c:v>297518.0</c:v>
                </c:pt>
                <c:pt idx="104">
                  <c:v>6499.0</c:v>
                </c:pt>
                <c:pt idx="105">
                  <c:v>60606.0</c:v>
                </c:pt>
                <c:pt idx="106">
                  <c:v>82855.0</c:v>
                </c:pt>
                <c:pt idx="107">
                  <c:v>59364.0</c:v>
                </c:pt>
                <c:pt idx="108">
                  <c:v>69431.0</c:v>
                </c:pt>
                <c:pt idx="109">
                  <c:v>66511.0</c:v>
                </c:pt>
                <c:pt idx="110">
                  <c:v>38648.0</c:v>
                </c:pt>
                <c:pt idx="111">
                  <c:v>64428.0</c:v>
                </c:pt>
                <c:pt idx="112">
                  <c:v>74929.0</c:v>
                </c:pt>
                <c:pt idx="113">
                  <c:v>46117.0</c:v>
                </c:pt>
                <c:pt idx="114">
                  <c:v>24457.0</c:v>
                </c:pt>
                <c:pt idx="115">
                  <c:v>48827.0</c:v>
                </c:pt>
                <c:pt idx="116">
                  <c:v>32121.0</c:v>
                </c:pt>
                <c:pt idx="117">
                  <c:v>26465.0</c:v>
                </c:pt>
                <c:pt idx="118">
                  <c:v>28586.0</c:v>
                </c:pt>
                <c:pt idx="119">
                  <c:v>32763.0</c:v>
                </c:pt>
                <c:pt idx="120">
                  <c:v>16121.0</c:v>
                </c:pt>
                <c:pt idx="121">
                  <c:v>23597.0</c:v>
                </c:pt>
                <c:pt idx="122">
                  <c:v>19775.0</c:v>
                </c:pt>
                <c:pt idx="123">
                  <c:v>22018.0</c:v>
                </c:pt>
                <c:pt idx="124">
                  <c:v>2724290.0</c:v>
                </c:pt>
                <c:pt idx="125">
                  <c:v>118399.0</c:v>
                </c:pt>
                <c:pt idx="126">
                  <c:v>665739.0</c:v>
                </c:pt>
                <c:pt idx="127">
                  <c:v>1039873.0</c:v>
                </c:pt>
                <c:pt idx="128">
                  <c:v>1514373.0</c:v>
                </c:pt>
                <c:pt idx="129">
                  <c:v>1107830.0</c:v>
                </c:pt>
                <c:pt idx="130">
                  <c:v>436237.0</c:v>
                </c:pt>
                <c:pt idx="131">
                  <c:v>1232130.0</c:v>
                </c:pt>
                <c:pt idx="132">
                  <c:v>643429.0</c:v>
                </c:pt>
                <c:pt idx="133">
                  <c:v>776195.0</c:v>
                </c:pt>
                <c:pt idx="134">
                  <c:v>639321.0</c:v>
                </c:pt>
                <c:pt idx="135">
                  <c:v>793919.0</c:v>
                </c:pt>
                <c:pt idx="136">
                  <c:v>448724.0</c:v>
                </c:pt>
                <c:pt idx="137">
                  <c:v>461534.0</c:v>
                </c:pt>
                <c:pt idx="138">
                  <c:v>647453.0</c:v>
                </c:pt>
                <c:pt idx="139">
                  <c:v>209335.0</c:v>
                </c:pt>
                <c:pt idx="140">
                  <c:v>448585.0</c:v>
                </c:pt>
                <c:pt idx="141">
                  <c:v>287287.0</c:v>
                </c:pt>
                <c:pt idx="142">
                  <c:v>386814.0</c:v>
                </c:pt>
                <c:pt idx="143">
                  <c:v>377881.0</c:v>
                </c:pt>
                <c:pt idx="144">
                  <c:v>309283.0</c:v>
                </c:pt>
                <c:pt idx="145">
                  <c:v>569067.0</c:v>
                </c:pt>
                <c:pt idx="146">
                  <c:v>12678.0</c:v>
                </c:pt>
                <c:pt idx="147">
                  <c:v>120710.0</c:v>
                </c:pt>
                <c:pt idx="148">
                  <c:v>153527.0</c:v>
                </c:pt>
                <c:pt idx="149">
                  <c:v>87820.0</c:v>
                </c:pt>
                <c:pt idx="150">
                  <c:v>201280.0</c:v>
                </c:pt>
                <c:pt idx="151">
                  <c:v>136396.0</c:v>
                </c:pt>
                <c:pt idx="152">
                  <c:v>35041.0</c:v>
                </c:pt>
                <c:pt idx="153">
                  <c:v>112157.0</c:v>
                </c:pt>
                <c:pt idx="154">
                  <c:v>116093.0</c:v>
                </c:pt>
                <c:pt idx="155">
                  <c:v>89330.0</c:v>
                </c:pt>
                <c:pt idx="156">
                  <c:v>64425.0</c:v>
                </c:pt>
                <c:pt idx="157">
                  <c:v>95763.0</c:v>
                </c:pt>
                <c:pt idx="158">
                  <c:v>63717.0</c:v>
                </c:pt>
                <c:pt idx="159">
                  <c:v>90408.0</c:v>
                </c:pt>
                <c:pt idx="160">
                  <c:v>69489.0</c:v>
                </c:pt>
                <c:pt idx="161">
                  <c:v>37195.0</c:v>
                </c:pt>
                <c:pt idx="162">
                  <c:v>71767.0</c:v>
                </c:pt>
                <c:pt idx="163">
                  <c:v>34000.0</c:v>
                </c:pt>
                <c:pt idx="164">
                  <c:v>255835.0</c:v>
                </c:pt>
                <c:pt idx="165">
                  <c:v>86076.0</c:v>
                </c:pt>
                <c:pt idx="166">
                  <c:v>9686.0</c:v>
                </c:pt>
                <c:pt idx="167">
                  <c:v>106908.0</c:v>
                </c:pt>
                <c:pt idx="168">
                  <c:v>75296.0</c:v>
                </c:pt>
                <c:pt idx="169">
                  <c:v>114383.0</c:v>
                </c:pt>
                <c:pt idx="170">
                  <c:v>76993.0</c:v>
                </c:pt>
                <c:pt idx="171">
                  <c:v>68577.0</c:v>
                </c:pt>
                <c:pt idx="172">
                  <c:v>80841.0</c:v>
                </c:pt>
                <c:pt idx="173">
                  <c:v>60853.0</c:v>
                </c:pt>
                <c:pt idx="174">
                  <c:v>37363.0</c:v>
                </c:pt>
                <c:pt idx="175">
                  <c:v>57328.0</c:v>
                </c:pt>
                <c:pt idx="176">
                  <c:v>43728.0</c:v>
                </c:pt>
                <c:pt idx="177">
                  <c:v>19920.0</c:v>
                </c:pt>
                <c:pt idx="178">
                  <c:v>33679.0</c:v>
                </c:pt>
                <c:pt idx="179">
                  <c:v>50443.0</c:v>
                </c:pt>
                <c:pt idx="180">
                  <c:v>25624.0</c:v>
                </c:pt>
                <c:pt idx="181">
                  <c:v>28799.0</c:v>
                </c:pt>
                <c:pt idx="182">
                  <c:v>19392.0</c:v>
                </c:pt>
                <c:pt idx="183">
                  <c:v>26596.0</c:v>
                </c:pt>
                <c:pt idx="184">
                  <c:v>26442.0</c:v>
                </c:pt>
                <c:pt idx="185">
                  <c:v>133807.0</c:v>
                </c:pt>
                <c:pt idx="186">
                  <c:v>6983.0</c:v>
                </c:pt>
                <c:pt idx="187">
                  <c:v>37225.0</c:v>
                </c:pt>
                <c:pt idx="188">
                  <c:v>60527.0</c:v>
                </c:pt>
                <c:pt idx="189">
                  <c:v>84431.0</c:v>
                </c:pt>
                <c:pt idx="190">
                  <c:v>35015.0</c:v>
                </c:pt>
                <c:pt idx="191">
                  <c:v>42187.0</c:v>
                </c:pt>
                <c:pt idx="192">
                  <c:v>27215.0</c:v>
                </c:pt>
                <c:pt idx="193">
                  <c:v>20873.0</c:v>
                </c:pt>
                <c:pt idx="194">
                  <c:v>20952.0</c:v>
                </c:pt>
                <c:pt idx="195">
                  <c:v>39979.0</c:v>
                </c:pt>
                <c:pt idx="196">
                  <c:v>29806.0</c:v>
                </c:pt>
                <c:pt idx="197">
                  <c:v>26082.0</c:v>
                </c:pt>
                <c:pt idx="198">
                  <c:v>20629.0</c:v>
                </c:pt>
                <c:pt idx="199">
                  <c:v>27531.0</c:v>
                </c:pt>
                <c:pt idx="200">
                  <c:v>21479.0</c:v>
                </c:pt>
                <c:pt idx="201">
                  <c:v>8640.0</c:v>
                </c:pt>
                <c:pt idx="202">
                  <c:v>18046.0</c:v>
                </c:pt>
                <c:pt idx="203">
                  <c:v>8799.0</c:v>
                </c:pt>
                <c:pt idx="204">
                  <c:v>10189.0</c:v>
                </c:pt>
                <c:pt idx="205">
                  <c:v>14188.0</c:v>
                </c:pt>
                <c:pt idx="206">
                  <c:v>97339.0</c:v>
                </c:pt>
                <c:pt idx="207">
                  <c:v>2605.0</c:v>
                </c:pt>
                <c:pt idx="208">
                  <c:v>23916.0</c:v>
                </c:pt>
                <c:pt idx="209">
                  <c:v>37544.0</c:v>
                </c:pt>
                <c:pt idx="210">
                  <c:v>29580.0</c:v>
                </c:pt>
                <c:pt idx="211">
                  <c:v>22559.0</c:v>
                </c:pt>
                <c:pt idx="212">
                  <c:v>34093.0</c:v>
                </c:pt>
                <c:pt idx="213">
                  <c:v>21769.0</c:v>
                </c:pt>
                <c:pt idx="214">
                  <c:v>31781.0</c:v>
                </c:pt>
                <c:pt idx="215">
                  <c:v>16362.0</c:v>
                </c:pt>
                <c:pt idx="216">
                  <c:v>20474.0</c:v>
                </c:pt>
                <c:pt idx="217">
                  <c:v>22376.0</c:v>
                </c:pt>
                <c:pt idx="218">
                  <c:v>20049.0</c:v>
                </c:pt>
                <c:pt idx="219">
                  <c:v>17239.0</c:v>
                </c:pt>
                <c:pt idx="220">
                  <c:v>23951.0</c:v>
                </c:pt>
                <c:pt idx="221">
                  <c:v>8074.0</c:v>
                </c:pt>
                <c:pt idx="222">
                  <c:v>6000.0</c:v>
                </c:pt>
                <c:pt idx="223">
                  <c:v>8017.0</c:v>
                </c:pt>
                <c:pt idx="224">
                  <c:v>12070.0</c:v>
                </c:pt>
                <c:pt idx="225">
                  <c:v>11253.0</c:v>
                </c:pt>
                <c:pt idx="226">
                  <c:v>11690.0</c:v>
                </c:pt>
                <c:pt idx="227">
                  <c:v>1218365.0</c:v>
                </c:pt>
                <c:pt idx="228">
                  <c:v>44913.0</c:v>
                </c:pt>
                <c:pt idx="229">
                  <c:v>278999.0</c:v>
                </c:pt>
                <c:pt idx="230">
                  <c:v>476589.0</c:v>
                </c:pt>
                <c:pt idx="231">
                  <c:v>546953.0</c:v>
                </c:pt>
                <c:pt idx="232">
                  <c:v>235726.0</c:v>
                </c:pt>
                <c:pt idx="233">
                  <c:v>414013.0</c:v>
                </c:pt>
                <c:pt idx="234">
                  <c:v>101119.0</c:v>
                </c:pt>
                <c:pt idx="235">
                  <c:v>489014.0</c:v>
                </c:pt>
                <c:pt idx="236">
                  <c:v>340123.0</c:v>
                </c:pt>
                <c:pt idx="237">
                  <c:v>249317.0</c:v>
                </c:pt>
                <c:pt idx="238">
                  <c:v>213991.0</c:v>
                </c:pt>
                <c:pt idx="239">
                  <c:v>298527.0</c:v>
                </c:pt>
                <c:pt idx="240">
                  <c:v>127553.0</c:v>
                </c:pt>
                <c:pt idx="241">
                  <c:v>156798.0</c:v>
                </c:pt>
                <c:pt idx="242">
                  <c:v>212581.0</c:v>
                </c:pt>
                <c:pt idx="243">
                  <c:v>210744.0</c:v>
                </c:pt>
                <c:pt idx="244">
                  <c:v>235017.0</c:v>
                </c:pt>
                <c:pt idx="245">
                  <c:v>167571.0</c:v>
                </c:pt>
                <c:pt idx="246">
                  <c:v>134899.0</c:v>
                </c:pt>
                <c:pt idx="247">
                  <c:v>596532.0</c:v>
                </c:pt>
                <c:pt idx="248">
                  <c:v>23988.0</c:v>
                </c:pt>
                <c:pt idx="249">
                  <c:v>146382.0</c:v>
                </c:pt>
                <c:pt idx="250">
                  <c:v>243035.0</c:v>
                </c:pt>
                <c:pt idx="251">
                  <c:v>305120.0</c:v>
                </c:pt>
                <c:pt idx="252">
                  <c:v>219579.0</c:v>
                </c:pt>
                <c:pt idx="253">
                  <c:v>269723.0</c:v>
                </c:pt>
                <c:pt idx="254">
                  <c:v>92616.0</c:v>
                </c:pt>
                <c:pt idx="255">
                  <c:v>134684.0</c:v>
                </c:pt>
                <c:pt idx="256">
                  <c:v>178838.0</c:v>
                </c:pt>
                <c:pt idx="257">
                  <c:v>145919.0</c:v>
                </c:pt>
                <c:pt idx="258">
                  <c:v>90120.0</c:v>
                </c:pt>
                <c:pt idx="259">
                  <c:v>119986.0</c:v>
                </c:pt>
                <c:pt idx="260">
                  <c:v>91777.0</c:v>
                </c:pt>
                <c:pt idx="261">
                  <c:v>137140.0</c:v>
                </c:pt>
                <c:pt idx="262">
                  <c:v>90841.0</c:v>
                </c:pt>
                <c:pt idx="263">
                  <c:v>43920.0</c:v>
                </c:pt>
                <c:pt idx="264">
                  <c:v>86722.0</c:v>
                </c:pt>
                <c:pt idx="265">
                  <c:v>86643.0</c:v>
                </c:pt>
                <c:pt idx="266">
                  <c:v>56975.0</c:v>
                </c:pt>
                <c:pt idx="267">
                  <c:v>61882.0</c:v>
                </c:pt>
                <c:pt idx="268">
                  <c:v>951102.0</c:v>
                </c:pt>
                <c:pt idx="269">
                  <c:v>41469.0</c:v>
                </c:pt>
                <c:pt idx="270">
                  <c:v>225994.0</c:v>
                </c:pt>
                <c:pt idx="271">
                  <c:v>464766.0</c:v>
                </c:pt>
                <c:pt idx="272">
                  <c:v>299397.0</c:v>
                </c:pt>
                <c:pt idx="273">
                  <c:v>345385.0</c:v>
                </c:pt>
                <c:pt idx="274">
                  <c:v>422493.0</c:v>
                </c:pt>
                <c:pt idx="275">
                  <c:v>222238.0</c:v>
                </c:pt>
                <c:pt idx="276">
                  <c:v>244395.0</c:v>
                </c:pt>
                <c:pt idx="277">
                  <c:v>290940.0</c:v>
                </c:pt>
                <c:pt idx="278">
                  <c:v>128867.0</c:v>
                </c:pt>
                <c:pt idx="279">
                  <c:v>239620.0</c:v>
                </c:pt>
                <c:pt idx="280">
                  <c:v>140514.0</c:v>
                </c:pt>
                <c:pt idx="281">
                  <c:v>233333.0</c:v>
                </c:pt>
                <c:pt idx="282">
                  <c:v>152009.0</c:v>
                </c:pt>
                <c:pt idx="283">
                  <c:v>72456.0</c:v>
                </c:pt>
                <c:pt idx="284">
                  <c:v>120297.0</c:v>
                </c:pt>
                <c:pt idx="285">
                  <c:v>79266.0</c:v>
                </c:pt>
                <c:pt idx="286">
                  <c:v>117848.0</c:v>
                </c:pt>
                <c:pt idx="287">
                  <c:v>121145.0</c:v>
                </c:pt>
                <c:pt idx="288">
                  <c:v>742936.0</c:v>
                </c:pt>
                <c:pt idx="289">
                  <c:v>32835.0</c:v>
                </c:pt>
                <c:pt idx="290">
                  <c:v>199338.0</c:v>
                </c:pt>
                <c:pt idx="291">
                  <c:v>393557.0</c:v>
                </c:pt>
                <c:pt idx="292">
                  <c:v>230925.0</c:v>
                </c:pt>
                <c:pt idx="293">
                  <c:v>287778.0</c:v>
                </c:pt>
                <c:pt idx="294">
                  <c:v>358883.0</c:v>
                </c:pt>
                <c:pt idx="295">
                  <c:v>207105.0</c:v>
                </c:pt>
                <c:pt idx="296">
                  <c:v>158478.0</c:v>
                </c:pt>
                <c:pt idx="297">
                  <c:v>136383.0</c:v>
                </c:pt>
                <c:pt idx="298">
                  <c:v>216331.0</c:v>
                </c:pt>
                <c:pt idx="299">
                  <c:v>121888.0</c:v>
                </c:pt>
                <c:pt idx="300">
                  <c:v>190062.0</c:v>
                </c:pt>
                <c:pt idx="301">
                  <c:v>107108.0</c:v>
                </c:pt>
                <c:pt idx="302">
                  <c:v>171697.0</c:v>
                </c:pt>
                <c:pt idx="303">
                  <c:v>107779.0</c:v>
                </c:pt>
                <c:pt idx="304">
                  <c:v>104254.0</c:v>
                </c:pt>
                <c:pt idx="305">
                  <c:v>47040.0</c:v>
                </c:pt>
                <c:pt idx="306">
                  <c:v>101351.0</c:v>
                </c:pt>
                <c:pt idx="307">
                  <c:v>67514.0</c:v>
                </c:pt>
                <c:pt idx="308">
                  <c:v>95451.0</c:v>
                </c:pt>
                <c:pt idx="309">
                  <c:v>76803.0</c:v>
                </c:pt>
                <c:pt idx="310">
                  <c:v>697254.0</c:v>
                </c:pt>
                <c:pt idx="311">
                  <c:v>30685.0</c:v>
                </c:pt>
                <c:pt idx="312">
                  <c:v>183347.0</c:v>
                </c:pt>
                <c:pt idx="313">
                  <c:v>353512.0</c:v>
                </c:pt>
                <c:pt idx="314">
                  <c:v>189201.0</c:v>
                </c:pt>
                <c:pt idx="315">
                  <c:v>331366.0</c:v>
                </c:pt>
                <c:pt idx="316">
                  <c:v>224454.0</c:v>
                </c:pt>
                <c:pt idx="317">
                  <c:v>191380.0</c:v>
                </c:pt>
                <c:pt idx="318">
                  <c:v>165654.0</c:v>
                </c:pt>
                <c:pt idx="319">
                  <c:v>220125.0</c:v>
                </c:pt>
                <c:pt idx="320">
                  <c:v>190536.0</c:v>
                </c:pt>
                <c:pt idx="321">
                  <c:v>95631.0</c:v>
                </c:pt>
                <c:pt idx="322">
                  <c:v>101934.0</c:v>
                </c:pt>
                <c:pt idx="323">
                  <c:v>173142.0</c:v>
                </c:pt>
                <c:pt idx="324">
                  <c:v>110929.0</c:v>
                </c:pt>
                <c:pt idx="325">
                  <c:v>85391.0</c:v>
                </c:pt>
                <c:pt idx="326">
                  <c:v>94879.0</c:v>
                </c:pt>
                <c:pt idx="327">
                  <c:v>84119.0</c:v>
                </c:pt>
                <c:pt idx="328">
                  <c:v>36720.0</c:v>
                </c:pt>
                <c:pt idx="329">
                  <c:v>61838.0</c:v>
                </c:pt>
                <c:pt idx="330">
                  <c:v>75104.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2E2BA06-3566-4B17-8A1F-D01959EDD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DB8DDDC-3607-442A-8168-0299D94B1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C38AB51-FBA1-4AE5-83BD-0070FDAB7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6F079EF-3ED3-4D94-8A34-9293B2934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3D9EF14-3E22-4F52-BEBD-8311E41AD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871FE3E-C6E3-4788-9318-43D200CD2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8C701B2-4055-4138-BC0B-2997F65C9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2981EF6-F4DD-4D7D-A477-2ED366F1C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35122AF4-ED37-4D0C-B84B-C64286863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5FE95674-9B22-4048-83C4-0DA168669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245E2F41-5D16-476B-873C-C80B8E506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3E4438E7-73DD-4813-9434-D55468D2B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5181AE6A-F8C8-442A-BCFE-E1544C599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C0ED3EC1-09D7-4EF9-B2C3-C384838B2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790ABE88-F28C-4E98-80AD-9EEF35D27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BDE4576F-C241-4FCC-BC40-609C3D6AC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239D6D0E-83CF-4883-A336-CACF8A8D3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6C9B2F9D-B574-47C7-B6DC-B7BBA84C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2B80CA2D-CD18-4B0E-8E96-C53E94031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03D9DF01-1813-413E-AD91-A17CC950E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B2F741F6-8DAA-4D67-803D-DB5D0FF33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A1C1F8F3-C559-4DBF-A8CD-37F51574C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95240C72-78B6-4E5C-A571-A41D6BAFF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67FE0053-D9D3-40CB-B085-345524355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4D507C0D-3183-4330-B47B-672A39FEB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9A1C4470-6D98-43DB-B399-B994892E8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FFDC4947-99A8-4A71-9D75-6DE795B8A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581C502B-7C97-4B20-B02D-1E901C96B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7C1C8E98-013F-4095-A127-1B2A6A2D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ABB1B179-D07F-43B4-84B7-A4BEAA792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99E6BC29-C92F-48BA-81B0-427D8B53B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D369E63-B164-4D20-8D64-EA83F8669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80C64826-8762-45C2-83BD-004DB95E2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D5E288E-9959-496A-8842-6191C0A50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4A19E7D5-CBC3-4BB5-A620-293E2F0EA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DCB5A74-C795-4F1A-A407-0318A6F36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406BC5D1-155D-43A7-9FF9-EABEBB574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407706F8-84CD-47F4-BE7F-086136BA6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14A2DA9D-A78F-4A5F-83F4-9C4F1C9EB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2A2DACC3-4619-489A-8B62-71571A671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276AC0C-F3D1-4D55-A492-0C0DC7B24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C8FF728B-8184-4BBB-8093-1B9AF6213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D536574C-2884-4F51-88C2-33EEC5537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6A283EFD-5946-4E54-8D05-171DB9639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3A9ADEDD-20BE-4323-966F-23B2DC9A5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7CFCA40-2F56-4EF8-A7B8-EF2FEEEEF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59EF47E8-F69E-42CD-86C3-A5F454247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426EF680-1250-418B-AAF4-0E7013AED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FA603459-7B60-409F-85A1-B1695BEBA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8DE44897-E910-45ED-8965-3F2D0580D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9A8523A3-3FF4-475B-8D3F-041D2CD13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7FC4B645-C47A-4066-8962-03EC4C43C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2FDA76E9-970E-4B60-BF34-6CB356F9E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FE2E41E7-5AD7-483F-AE36-E610FDD53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49420B84-9695-4690-BD97-3A7FC9DB2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6CFF6CB-81FC-480E-B6D1-EBB31F784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DCA50C2A-FAEF-4716-B6FA-08667BE2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6CF9C27A-4A1D-4664-AA77-5F127C3F3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C2BCA495-0335-49AE-933D-0BC2FD1D4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18059701-403D-4C27-BEB3-DE8A2618B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4D4E8458-41EB-4541-B870-3D17C24BF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7F955244-59E9-415A-8D27-B7EC15760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3391A2C4-260B-4576-9028-493C456F5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01991072-A706-4AB2-B096-64F036CAE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BF724E5F-16BA-4062-A4B2-3142578A2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240B49A7-4E16-409C-8A5F-68595DE28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B3611F2E-8501-4A11-9391-EB0ABDBF8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CD248E17-CFF3-4E6B-91FD-376033CDB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F2695AC8-04E8-4561-B86F-1EBBBBB07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7BB396E7-379A-4B06-91C4-623EA36EB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A0B2FF72-0B49-490E-926F-7EA99FACE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1A3C8677-1D44-4655-872C-72860D904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56A8DEA-2340-47D9-B147-449B49148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6F5EBD5C-CDC9-417A-AC4D-8AC803C2E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0A7019A6-EEB4-4C74-94DB-A066C43D0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E86154AA-3773-4AFC-992E-3C571355C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34CAA668-E793-47C1-B1EC-54D557F0F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B279B528-AC76-4B63-8D4A-D72B418B8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D2BA995-523B-4BDB-B0E8-53FE4B78A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FDE1B37A-5EC2-4860-8A3E-BF8580003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38CF5C31-3555-48E4-BAEF-07748F1F5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155573D7-32D0-45A5-B67C-89F62B7C3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6DB78C94-29E4-406F-AE99-FCA4E4142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22E78EF6-AD48-42B6-8FE7-F2F96707B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C4315151-5F5F-4265-8861-56C5AB004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C7443B2B-EB0A-4D74-B7F9-2867796D3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F2B64F90-3FD2-4542-AF2C-F036ECC70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F9798108-D4B5-4EAB-827C-1FD1B8AF4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CD6B724F-E90B-48AB-8267-986A90C07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D5F1C71A-31D8-4994-B506-6C8EAC487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FD7D915B-F9E5-4B4D-92B5-C87D7F3FC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B5CB2DFB-8B4F-4FF8-8113-52B419FF8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B2767517-BDD0-436F-B2D2-79C8055D0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C3B6F05E-F374-4DF8-A44A-FBC85E43B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CA841D69-061C-482B-9B09-C5423EE32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09B0847F-F7E6-4B2B-9245-ABFA34A4B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F028AFEE-B725-4B11-A9F0-28ADFE3FD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16D9E4EA-090F-40E6-930C-ED6757EEC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A24C8B89-118E-46CF-8E00-ABDE5FEB4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D4BD886F-FD3E-4C17-8437-9E4575134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BFCFCA78-A850-4473-BF76-1718AE544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DAADEA96-AEA9-44E5-9A6E-5D87F42F6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FE7E5935-B9D1-4931-B1F7-771118FC8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61AD9B78-4417-4C67-8B21-86E8251D1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47799802-B3BC-481D-A978-6CBE9DBB3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F76AC639-A8D2-4D47-BDDB-162473CFA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2D392D7-3E32-476B-96EC-6CB9DE403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FF3CDDBB-B959-453E-A274-138D16406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0EF9F71B-CA44-4DD0-B840-55A5C4DCA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64D9A34D-0F86-4627-8CB8-54D6843C4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5353FA21-EBD0-4C71-9071-0916A2CD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E36BCB7-8EEC-4010-A6F5-EF8E25B07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DCEAAE30-ECF8-44C3-86D2-C9FB12E43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278A980F-D125-4972-8C1F-43EEEE46C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4EC75DF5-DBB9-4477-A136-A2198C5AA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AE035BA-A92E-4369-B95D-8B1C12A2F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c:f>
              <c:numCache>
                <c:formatCode>General</c:formatCode>
                <c:ptCount val="0"/>
              </c:numCache>
            </c:numRef>
          </c:xVal>
          <c:yVal>
            <c:numRef>
              <c:f>Sheet1!$B$2:$B$1</c:f>
              <c:numCache>
                <c:formatCode>General</c:formatCode>
                <c:ptCount val="0"/>
              </c:numCache>
            </c:numRef>
          </c:yVal>
          <c:bubbleSize>
            <c:numRef>
              <c:f>Sheet1!$C$2:$C$1</c:f>
              <c:numCache>
                <c:formatCode>General</c:formatCode>
                <c:ptCount val="0"/>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c:spPr>
            <c:extLst>
              <c:ext xmlns:c16="http://schemas.microsoft.com/office/drawing/2014/chart" uri="{C3380CC4-5D6E-409C-BE32-E72D297353CC}">
                <c16:uniqueId val="{00000007-26FB-4B52-8D72-D56D618E8EAF}"/>
              </c:ext>
            </c:extLst>
          </c:dPt>
          <c:dPt>
            <c:idx val="4"/>
            <c:invertIfNegative val="0"/>
            <c:bubble3D val="0"/>
            <c:spPr>
              <a:solidFill>
                <a:srgbClr val="E6E5E5"/>
              </a:solidFill>
            </c:spPr>
            <c:extLst>
              <c:ext xmlns:c16="http://schemas.microsoft.com/office/drawing/2014/chart" uri="{C3380CC4-5D6E-409C-BE32-E72D297353CC}">
                <c16:uniqueId val="{00000009-26FB-4B52-8D72-D56D618E8EAF}"/>
              </c:ext>
            </c:extLst>
          </c:dPt>
          <c:dPt>
            <c:idx val="5"/>
            <c:invertIfNegative val="0"/>
            <c:bubble3D val="0"/>
            <c:spPr>
              <a:solidFill>
                <a:srgbClr val="E6E5E5"/>
              </a:solidFill>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rgbClr val="E6E5E5"/>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rgbClr val="E6E5E5"/>
              </a:solidFill>
              <a:ln>
                <a:noFill/>
              </a:ln>
              <a:effectLst/>
            </c:spPr>
            <c:extLst>
              <c:ext xmlns:c16="http://schemas.microsoft.com/office/drawing/2014/chart" uri="{C3380CC4-5D6E-409C-BE32-E72D297353CC}">
                <c16:uniqueId val="{00000002-7B2D-4A32-96D2-9C641BCDE5CC}"/>
              </c:ext>
            </c:extLst>
          </c:dPt>
          <c:dPt>
            <c:idx val="13"/>
            <c:invertIfNegative val="0"/>
            <c:bubble3D val="0"/>
            <c:spPr>
              <a:solidFill>
                <a:srgbClr val="E6E5E5"/>
              </a:solidFill>
            </c:spPr>
            <c:extLst>
              <c:ext xmlns:c16="http://schemas.microsoft.com/office/drawing/2014/chart" uri="{C3380CC4-5D6E-409C-BE32-E72D297353CC}">
                <c16:uniqueId val="{00000017-26FB-4B52-8D72-D56D618E8EAF}"/>
              </c:ext>
            </c:extLst>
          </c:dPt>
          <c:dPt>
            <c:idx val="14"/>
            <c:invertIfNegative val="0"/>
            <c:bubble3D val="0"/>
            <c:spPr>
              <a:solidFill>
                <a:srgbClr val="E6E5E5"/>
              </a:solidFill>
              <a:ln>
                <a:noFill/>
              </a:ln>
              <a:effectLst/>
            </c:spPr>
            <c:extLst>
              <c:ext xmlns:c16="http://schemas.microsoft.com/office/drawing/2014/chart" uri="{C3380CC4-5D6E-409C-BE32-E72D297353CC}">
                <c16:uniqueId val="{00000019-26FB-4B52-8D72-D56D618E8EAF}"/>
              </c:ext>
            </c:extLst>
          </c:dPt>
          <c:dPt>
            <c:idx val="15"/>
            <c:invertIfNegative val="0"/>
            <c:bubble3D val="0"/>
            <c:spPr>
              <a:solidFill>
                <a:srgbClr val="E6E5E5"/>
              </a:solidFill>
            </c:spPr>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Pt>
            <c:idx val="9"/>
            <c:spPr>
              <a:solidFill>
                <a:srgbClr val="E6E5E5"/>
              </a:solidFill>
            </c:spPr>
          </c:dPt>
          <c:dPt>
            <c:idx val="10"/>
            <c:spPr>
              <a:solidFill>
                <a:srgbClr val="E6E5E5"/>
              </a:solidFill>
            </c:spPr>
          </c:dPt>
          <c:dLbls>
            <c:dLbl>
              <c:idx val="0"/>
              <c:tx>
                <c:rich>
                  <a:bodyPr/>
                  <a:lstStyle/>
                  <a:p>
                    <a:fld id="{CE6917CA-F3D0-4430-B1DD-24D910DB3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27E5B15-5D07-4EFE-AA79-7613CE59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3D34B3F-7620-4CA7-B9DD-AEB4AD9C4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FB62437-47C8-461A-B345-36B44A578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DB7ED7E4-55CB-4BC4-A51E-6621838C2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C505E129-D226-4D36-B677-6FB3EB8AD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616B02F-0381-413B-A11D-6B785C7C6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C1CD2918-8C6F-46FD-A33A-0222ED93A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BA4527FE-F8B1-450C-8510-A433736A6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B283B1F-11A8-4E75-B403-F868B38F7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A8E2B28B-C839-453A-8944-6C8F64F0B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FF7121F8-87CA-4EA2-8ECE-47FFA66D9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9D94D35F-8A0D-47D7-9F40-A3EF58FF5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E1B04ED6-054B-455F-B095-364C3E288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12C96ACA-A058-4ADE-B932-0240BCE50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F4E8F7B6-19BE-4FCC-9E49-76744D69F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0563B280-F47B-4703-B460-B0B003E5A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04E59675-B960-4310-8366-C206F0CDB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025FD65A-BDD4-4B48-826F-C9CF0CAC5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8F50712A-6191-4CC6-AE1C-A243FE954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E40F8C54-041E-428F-AC05-69E0034FE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87B4E661-E274-4448-BFE3-E21D757B1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A03992E7-044A-42BA-882B-0B0CD7AF9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C44B4EB3-5FC7-4584-BB93-9F4C0E6A7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AAD8CBDA-A989-4E4B-99A5-51185AA58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C26BC912-B284-45C9-853D-5A8FDF204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0613E641-E084-4890-A5FD-064D7D326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FCB8D660-19C9-46C9-96FA-4CA27B4A2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5937902B-1F53-48D1-85B6-1F8EF6323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69316910-25FE-4B8D-B0B8-FED83191C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7A6BA47B-E50E-419C-9EE6-9769A3E8C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391BE327-006D-4CB8-9CF7-16BA8ECF9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C821ACC-FFD1-43A3-94E8-52124046E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EC20E4D3-6D48-40E7-936E-98A3B38D8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D4841101-81E0-47F7-B233-91A5EFFDB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3D27A1C3-73BA-4A94-AF1A-2B773ED77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BCF5CB29-F774-406C-9688-41100F421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0D565865-5031-4F93-8958-8986A6EDA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A9C42D74-801B-4A94-8C1A-BB96FEE88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138931DB-7487-4EDF-BF9A-8E93FD3C1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B644A1D2-A8A4-4BD5-82FB-6DDC24109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E836F8AF-5DA9-4711-8327-4088DC3F5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4B70832F-EDD9-4765-869F-8AFA7F551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B8536992-2F22-4D5B-8673-D92269263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E3A117DE-0585-49B2-B63C-7ED8A8772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68C81AB1-E322-4197-BD72-0B0D7EA67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2C432E38-D52A-4EA2-99AC-27446AB63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C06F27AE-04EF-4869-80DE-C2EC7F462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3C071BDF-0A33-4766-B74A-F18D2EA54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46DB47B0-EC6F-4EF8-8BDA-9B7805BC0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94D188A4-952A-4467-B6CD-6A98DC63C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37CB6B65-61C2-4D73-9298-DB0BA0E43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C1C6D9F2-CB14-4D51-B033-5C0E35FC0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68EA4C6-4D62-4D59-B861-22F390E2B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731DCA88-701C-44E0-8A25-1C5E3EA6F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9A61F1F7-C55A-4134-AB8F-7EBC03502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76966703-ED82-4737-B94F-7A1A16E0F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0627F752-6F18-4C48-B1DF-5318C561E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9244F2C4-1755-4B85-ACC0-250A5E515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DA5D1607-63B1-43A2-8C76-4FF2EB64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597F6848-C11F-42ED-BE79-B3ED4D215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8ECD7083-2F30-429C-B5E4-E239F9C92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7EB107C3-B7CD-4045-89F5-C367B4023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06D7F35F-642C-40EB-8AD5-BA7B197D0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D7927ADB-0125-41A5-946D-064E0D1B9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0B42694F-5445-471B-BCDB-7AA488830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B1B0D806-FFE5-498C-9DFE-CF5447C95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C0FD0632-F00D-4366-A11F-1B7893C97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81E1D42C-97F7-4327-BB54-11F949108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F15D3A7B-8584-4A6B-87C6-5025D4167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14760577-A763-4EC9-8610-D4545D275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0A4FA285-C976-43BF-9985-65AFDCF1E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4FFE886E-9BE8-4DDB-BBDE-909CF8A58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F43E3414-365E-4B15-92CD-C21C00229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E147A4AC-A65E-4CEC-BD96-6F5B0E3E4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80FFE994-083A-42BE-AE2C-9485CA3FF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FC722D64-3062-443D-B5C7-ACD3D3128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4E4DA2F0-E8F8-4325-B1E7-0F70681C6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FBC73C1B-F007-46D4-B7A7-59E3ABD6B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3677525F-AB91-4E4B-B162-B9E3E44D8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C088E5D1-7975-4165-909B-3E609C899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3B7F950B-6999-4DC6-9871-078CD059F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693DFF75-B247-4426-BEC8-9CBE98172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BD000C5A-602A-47DA-A067-D636139D7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EF1C1225-3914-4669-A7D0-0157059B3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79075F50-6CAB-4E09-9903-4CA5D7ECA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68750980-2E88-45C4-991C-71B45714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27690D93-C03B-4F9E-9367-FB319164C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31964969-2F7F-44F3-BF90-821E4C942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648F4D1-7D00-4924-A933-08AF08099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153FA1CD-A0C3-461E-B65C-DEEEEB53E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4F72604B-7F2D-4303-A016-37B67C7B8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C6CE7AEE-4FBB-4AF4-B4BA-0CD82DA6A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CD97A61E-099A-4A60-8F0D-A7F754393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DA9A08EC-E1D5-4F58-8D0D-8EBBC7DAA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1AA93257-751D-4138-8C67-0568F60F7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379BCDFA-E708-4441-841D-9E165931F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A898D40-6BA7-4BA9-B2E2-85CB6D10A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6903621D-E237-4162-BDA9-7E9BC8B6A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BA173E19-ACB9-4665-9437-37DE43BFF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84625F1B-D46C-477F-B6F8-35C80CD01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8EA50683-699A-4E52-BF24-58A43E4A2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1DECBC3B-8A1D-4274-97D0-12B5EAFDF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011B542E-8F68-44FC-8F12-1F56E0D36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D6BA395E-1B87-4B61-BFBA-EA31C1852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FEDAA691-14F7-4D63-A0EC-0BDBF19C9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C314B8DC-B76F-4203-95C5-3404AF613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8C9F6A72-FA82-497D-92D3-280355F51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3FD2CDD1-0C2B-4E0B-8E95-081A74611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01FDAEB3-7EF3-4EB6-809F-6C43AB3CF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4E73CA04-32C4-42C7-A730-D71E67348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E7AE5F36-1EB6-4523-84D9-C328123C1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234A2CE6-F950-4E03-8F6C-26EAF61C1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2E90D05B-A5FB-4B54-971E-011FD531D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059973D6-897D-456F-9302-16F888B84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E44BB31A-D202-43C4-8B4B-81712A515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1</c:v>
                </c:pt>
                <c:pt idx="1">
                  <c:v>3</c:v>
                </c:pt>
                <c:pt idx="2">
                  <c:v>5</c:v>
                </c:pt>
                <c:pt idx="3">
                  <c:v>7</c:v>
                </c:pt>
                <c:pt idx="4">
                  <c:v>9</c:v>
                </c:pt>
                <c:pt idx="5">
                  <c:v>11</c:v>
                </c:pt>
                <c:pt idx="6">
                  <c:v>13</c:v>
                </c:pt>
                <c:pt idx="7">
                  <c:v>15</c:v>
                </c:pt>
                <c:pt idx="8">
                  <c:v>17</c:v>
                </c:pt>
                <c:pt idx="9">
                  <c:v>19</c:v>
                </c:pt>
                <c:pt idx="10">
                  <c:v>21</c:v>
                </c:pt>
                <c:pt idx="11">
                  <c:v>23</c:v>
                </c:pt>
                <c:pt idx="12">
                  <c:v>25</c:v>
                </c:pt>
                <c:pt idx="13">
                  <c:v>27</c:v>
                </c:pt>
                <c:pt idx="14">
                  <c:v>29</c:v>
                </c:pt>
                <c:pt idx="15">
                  <c:v>31</c:v>
                </c:pt>
              </c:numCache>
            </c:numRef>
          </c:xVal>
          <c:yVal>
            <c:numRef>
              <c:f>Sheet1!$B$2:$B$17</c:f>
              <c:numCache>
                <c:formatCode>General</c:formatCode>
                <c:ptCount val="16"/>
                <c:pt idx="0">
                  <c:v>1.1241445438727333</c:v>
                </c:pt>
                <c:pt idx="1">
                  <c:v>1.0989170505200803</c:v>
                </c:pt>
                <c:pt idx="2">
                  <c:v>1.2031244249474369</c:v>
                </c:pt>
                <c:pt idx="3">
                  <c:v>0.6207538906444028</c:v>
                </c:pt>
                <c:pt idx="4">
                  <c:v>1.1693896272603659</c:v>
                </c:pt>
                <c:pt idx="5">
                  <c:v>1.918935299937236</c:v>
                </c:pt>
                <c:pt idx="6">
                  <c:v>1.0490150069331683</c:v>
                </c:pt>
                <c:pt idx="7">
                  <c:v>0.9106216523589026</c:v>
                </c:pt>
                <c:pt idx="8">
                  <c:v>1.216849609308858</c:v>
                </c:pt>
                <c:pt idx="9">
                  <c:v>1.4550546628512728</c:v>
                </c:pt>
                <c:pt idx="10">
                  <c:v>1.422410745846589</c:v>
                </c:pt>
                <c:pt idx="11">
                  <c:v>0.989707497713311</c:v>
                </c:pt>
                <c:pt idx="12">
                  <c:v>1.149026378360892</c:v>
                </c:pt>
                <c:pt idx="13">
                  <c:v>1.3299081699976978</c:v>
                </c:pt>
                <c:pt idx="14">
                  <c:v>1.1777586247946938</c:v>
                </c:pt>
                <c:pt idx="15">
                  <c:v>1.0636155766527284</c:v>
                </c:pt>
              </c:numCache>
            </c:numRef>
          </c:yVal>
          <c:bubbleSize>
            <c:numRef>
              <c:f>Sheet1!$C$2:$C$17</c:f>
              <c:numCache>
                <c:formatCode>General</c:formatCode>
                <c:ptCount val="16"/>
                <c:pt idx="0">
                  <c:v>228688.0</c:v>
                </c:pt>
                <c:pt idx="1">
                  <c:v>104572.0</c:v>
                </c:pt>
                <c:pt idx="2">
                  <c:v>51809.0</c:v>
                </c:pt>
                <c:pt idx="3">
                  <c:v>21478.0</c:v>
                </c:pt>
                <c:pt idx="4">
                  <c:v>10378.0</c:v>
                </c:pt>
                <c:pt idx="5">
                  <c:v>11287.0</c:v>
                </c:pt>
                <c:pt idx="6">
                  <c:v>156049.0</c:v>
                </c:pt>
                <c:pt idx="7">
                  <c:v>17174.0</c:v>
                </c:pt>
                <c:pt idx="8">
                  <c:v>16721.0</c:v>
                </c:pt>
                <c:pt idx="9">
                  <c:v>7352.0</c:v>
                </c:pt>
                <c:pt idx="10">
                  <c:v>2000.0</c:v>
                </c:pt>
                <c:pt idx="11">
                  <c:v>54838.0</c:v>
                </c:pt>
                <c:pt idx="12">
                  <c:v>33023.0</c:v>
                </c:pt>
                <c:pt idx="13">
                  <c:v>52349.0</c:v>
                </c:pt>
                <c:pt idx="14">
                  <c:v>44870.0</c:v>
                </c:pt>
                <c:pt idx="15">
                  <c:v>43693.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B$2:$B$10</c:f>
              <c:numCache>
                <c:formatCode>General</c:formatCode>
                <c:ptCount val="9"/>
                <c:pt idx="0">
                  <c:v>0.22460352094922031</c:v>
                </c:pt>
                <c:pt idx="1">
                  <c:v>0.07511269878010604</c:v>
                </c:pt>
                <c:pt idx="2">
                  <c:v>0.07202254319607991</c:v>
                </c:pt>
                <c:pt idx="3">
                  <c:v>0.0623269834764152</c:v>
                </c:pt>
                <c:pt idx="4">
                  <c:v>0.04367412520535922</c:v>
                </c:pt>
                <c:pt idx="5">
                  <c:v>0.035323505577072305</c:v>
                </c:pt>
                <c:pt idx="6">
                  <c:v>0.035252738655300715</c:v>
                </c:pt>
                <c:pt idx="7">
                  <c:v>0.02938362994010858</c:v>
                </c:pt>
                <c:pt idx="8">
                  <c:v>0.02841058476574920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C$2:$C$10</c:f>
              <c:numCache>
                <c:formatCode>General</c:formatCode>
                <c:ptCount val="9"/>
                <c:pt idx="0">
                  <c:v>0.163520639831543</c:v>
                </c:pt>
                <c:pt idx="1">
                  <c:v>0.0043803181246899235</c:v>
                </c:pt>
                <c:pt idx="2">
                  <c:v>0.04596712105430008</c:v>
                </c:pt>
                <c:pt idx="3">
                  <c:v>0.07168378352702098</c:v>
                </c:pt>
                <c:pt idx="4">
                  <c:v>0.07937181389232331</c:v>
                </c:pt>
                <c:pt idx="5">
                  <c:v>0.03245467048355457</c:v>
                </c:pt>
                <c:pt idx="6">
                  <c:v>0.061792654726803876</c:v>
                </c:pt>
                <c:pt idx="7">
                  <c:v>0.04650206195712096</c:v>
                </c:pt>
                <c:pt idx="8">
                  <c:v>0.031413391501488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Taittinger</c:v>
                </c:pt>
                <c:pt idx="8">
                  <c:v>Bollinger</c:v>
                </c:pt>
              </c:strCache>
            </c:strRef>
          </c:cat>
          <c:val>
            <c:numRef>
              <c:f>Sheet1!$D$2:$D$10</c:f>
              <c:numCache>
                <c:formatCode>General</c:formatCode>
                <c:ptCount val="9"/>
                <c:pt idx="0">
                  <c:v>0.31</c:v>
                </c:pt>
                <c:pt idx="1">
                  <c:v>0.02</c:v>
                </c:pt>
                <c:pt idx="2">
                  <c:v>0.24</c:v>
                </c:pt>
                <c:pt idx="3">
                  <c:v>0.47</c:v>
                </c:pt>
                <c:pt idx="4">
                  <c:v>0.67</c:v>
                </c:pt>
                <c:pt idx="5">
                  <c:v>0.39</c:v>
                </c:pt>
                <c:pt idx="6">
                  <c:v>0.67</c:v>
                </c:pt>
                <c:pt idx="7">
                  <c:v>0.65</c:v>
                </c:pt>
                <c:pt idx="8">
                  <c:v>0.4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Malard</c:v>
                </c:pt>
                <c:pt idx="4">
                  <c:v>Laurent Perrier</c:v>
                </c:pt>
                <c:pt idx="5">
                  <c:v>Heidsieck &amp; Co Monopole</c:v>
                </c:pt>
                <c:pt idx="6">
                  <c:v>Taittinger</c:v>
                </c:pt>
                <c:pt idx="7">
                  <c:v>Nicolas Feuillatte</c:v>
                </c:pt>
                <c:pt idx="8">
                  <c:v>Canard Duchêne</c:v>
                </c:pt>
              </c:strCache>
            </c:strRef>
          </c:cat>
          <c:val>
            <c:numRef>
              <c:f>Sheet1!$B$2:$B$10</c:f>
              <c:numCache>
                <c:formatCode>General</c:formatCode>
                <c:ptCount val="9"/>
                <c:pt idx="0">
                  <c:v>0.22937739659942372</c:v>
                </c:pt>
                <c:pt idx="1">
                  <c:v>0.08479793819009333</c:v>
                </c:pt>
                <c:pt idx="2">
                  <c:v>0.07293182527362196</c:v>
                </c:pt>
                <c:pt idx="3">
                  <c:v>0.04613508562804124</c:v>
                </c:pt>
                <c:pt idx="4">
                  <c:v>0.042004676673686465</c:v>
                </c:pt>
                <c:pt idx="5">
                  <c:v>0.032871976384234045</c:v>
                </c:pt>
                <c:pt idx="6">
                  <c:v>0.03210767577673648</c:v>
                </c:pt>
                <c:pt idx="7">
                  <c:v>0.031556188628449895</c:v>
                </c:pt>
                <c:pt idx="8">
                  <c:v>0.0313480753437981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Malard</c:v>
                </c:pt>
                <c:pt idx="4">
                  <c:v>Laurent Perrier</c:v>
                </c:pt>
                <c:pt idx="5">
                  <c:v>Heidsieck &amp; Co Monopole</c:v>
                </c:pt>
                <c:pt idx="6">
                  <c:v>Taittinger</c:v>
                </c:pt>
                <c:pt idx="7">
                  <c:v>Nicolas Feuillatte</c:v>
                </c:pt>
                <c:pt idx="8">
                  <c:v>Canard Duchêne</c:v>
                </c:pt>
              </c:strCache>
            </c:strRef>
          </c:cat>
          <c:val>
            <c:numRef>
              <c:f>Sheet1!$C$2:$C$10</c:f>
              <c:numCache>
                <c:formatCode>General</c:formatCode>
                <c:ptCount val="9"/>
                <c:pt idx="0">
                  <c:v>0.1727895686660147</c:v>
                </c:pt>
                <c:pt idx="1">
                  <c:v>0.05813526262042285</c:v>
                </c:pt>
                <c:pt idx="2">
                  <c:v>0.006541871761483058</c:v>
                </c:pt>
                <c:pt idx="3">
                  <c:v>0.07220508220902651</c:v>
                </c:pt>
                <c:pt idx="4">
                  <c:v>0.050854509204277136</c:v>
                </c:pt>
                <c:pt idx="5">
                  <c:v>0.07725365658617764</c:v>
                </c:pt>
                <c:pt idx="6">
                  <c:v>0.05200065378193941</c:v>
                </c:pt>
                <c:pt idx="7">
                  <c:v>0.04631653311864791</c:v>
                </c:pt>
                <c:pt idx="8">
                  <c:v>0.05459957207000329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Malard</c:v>
                </c:pt>
                <c:pt idx="4">
                  <c:v>Laurent Perrier</c:v>
                </c:pt>
                <c:pt idx="5">
                  <c:v>Heidsieck &amp; Co Monopole</c:v>
                </c:pt>
                <c:pt idx="6">
                  <c:v>Taittinger</c:v>
                </c:pt>
                <c:pt idx="7">
                  <c:v>Nicolas Feuillatte</c:v>
                </c:pt>
                <c:pt idx="8">
                  <c:v>Canard Duchêne</c:v>
                </c:pt>
              </c:strCache>
            </c:strRef>
          </c:cat>
          <c:val>
            <c:numRef>
              <c:f>Sheet1!$D$2:$D$10</c:f>
              <c:numCache>
                <c:formatCode>General</c:formatCode>
                <c:ptCount val="9"/>
                <c:pt idx="0">
                  <c:v>0.33</c:v>
                </c:pt>
                <c:pt idx="1">
                  <c:v>0.27</c:v>
                </c:pt>
                <c:pt idx="2">
                  <c:v>0.03</c:v>
                </c:pt>
                <c:pt idx="3">
                  <c:v>0.61</c:v>
                </c:pt>
                <c:pt idx="4">
                  <c:v>0.51</c:v>
                </c:pt>
                <c:pt idx="5">
                  <c:v>0.92</c:v>
                </c:pt>
                <c:pt idx="6">
                  <c:v>0.67</c:v>
                </c:pt>
                <c:pt idx="7">
                  <c:v>0.61</c:v>
                </c:pt>
                <c:pt idx="8">
                  <c:v>0.7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Heidsieck &amp; Co Monopole</c:v>
                </c:pt>
                <c:pt idx="5">
                  <c:v>Ayala</c:v>
                </c:pt>
                <c:pt idx="6">
                  <c:v>De Bligny</c:v>
                </c:pt>
                <c:pt idx="7">
                  <c:v>Laurent Perrier</c:v>
                </c:pt>
                <c:pt idx="8">
                  <c:v>Roederer</c:v>
                </c:pt>
              </c:strCache>
            </c:strRef>
          </c:cat>
          <c:val>
            <c:numRef>
              <c:f>Sheet1!$B$2:$B$10</c:f>
              <c:numCache>
                <c:formatCode>General</c:formatCode>
                <c:ptCount val="9"/>
                <c:pt idx="0">
                  <c:v>0.1980694734868443</c:v>
                </c:pt>
                <c:pt idx="1">
                  <c:v>0.10860389765021013</c:v>
                </c:pt>
                <c:pt idx="2">
                  <c:v>0.0851621480842377</c:v>
                </c:pt>
                <c:pt idx="3">
                  <c:v>0.04787011910127343</c:v>
                </c:pt>
                <c:pt idx="4">
                  <c:v>0.045642202869720545</c:v>
                </c:pt>
                <c:pt idx="5">
                  <c:v>0.036766633796045396</c:v>
                </c:pt>
                <c:pt idx="6">
                  <c:v>0.03573990732389861</c:v>
                </c:pt>
                <c:pt idx="7">
                  <c:v>0.035045062162572714</c:v>
                </c:pt>
                <c:pt idx="8">
                  <c:v>0.02935394941266533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Heidsieck &amp; Co Monopole</c:v>
                </c:pt>
                <c:pt idx="5">
                  <c:v>Ayala</c:v>
                </c:pt>
                <c:pt idx="6">
                  <c:v>De Bligny</c:v>
                </c:pt>
                <c:pt idx="7">
                  <c:v>Laurent Perrier</c:v>
                </c:pt>
                <c:pt idx="8">
                  <c:v>Roederer</c:v>
                </c:pt>
              </c:strCache>
            </c:strRef>
          </c:cat>
          <c:val>
            <c:numRef>
              <c:f>Sheet1!$C$2:$C$10</c:f>
              <c:numCache>
                <c:formatCode>General</c:formatCode>
                <c:ptCount val="9"/>
                <c:pt idx="0">
                  <c:v>0.1673081058912379</c:v>
                </c:pt>
                <c:pt idx="1">
                  <c:v>0.008731325741093622</c:v>
                </c:pt>
                <c:pt idx="2">
                  <c:v>0.04654498076932695</c:v>
                </c:pt>
                <c:pt idx="3">
                  <c:v>0.07568107591739563</c:v>
                </c:pt>
                <c:pt idx="4">
                  <c:v>0.10556989311846995</c:v>
                </c:pt>
                <c:pt idx="5">
                  <c:v>0.043781665591349446</c:v>
                </c:pt>
                <c:pt idx="6">
                  <c:v>0.05274931104675879</c:v>
                </c:pt>
                <c:pt idx="7">
                  <c:v>0.03402878849260532</c:v>
                </c:pt>
                <c:pt idx="8">
                  <c:v>0.02609894919001105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Heidsieck &amp; Co Monopole</c:v>
                </c:pt>
                <c:pt idx="5">
                  <c:v>Ayala</c:v>
                </c:pt>
                <c:pt idx="6">
                  <c:v>De Bligny</c:v>
                </c:pt>
                <c:pt idx="7">
                  <c:v>Laurent Perrier</c:v>
                </c:pt>
                <c:pt idx="8">
                  <c:v>Roederer</c:v>
                </c:pt>
              </c:strCache>
            </c:strRef>
          </c:cat>
          <c:val>
            <c:numRef>
              <c:f>Sheet1!$D$2:$D$10</c:f>
              <c:numCache>
                <c:formatCode>General</c:formatCode>
                <c:ptCount val="9"/>
                <c:pt idx="0">
                  <c:v>0.37</c:v>
                </c:pt>
                <c:pt idx="1">
                  <c:v>0.03</c:v>
                </c:pt>
                <c:pt idx="2">
                  <c:v>0.22</c:v>
                </c:pt>
                <c:pt idx="3">
                  <c:v>0.64</c:v>
                </c:pt>
                <c:pt idx="4">
                  <c:v>0.94</c:v>
                </c:pt>
                <c:pt idx="5">
                  <c:v>0.51</c:v>
                </c:pt>
                <c:pt idx="6">
                  <c:v>0.6</c:v>
                </c:pt>
                <c:pt idx="7">
                  <c:v>0.42</c:v>
                </c:pt>
                <c:pt idx="8">
                  <c:v>0.4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Dom Perignon</c:v>
                </c:pt>
                <c:pt idx="8">
                  <c:v>Heidsieck &amp; Co Monopole</c:v>
                </c:pt>
              </c:strCache>
            </c:strRef>
          </c:cat>
          <c:val>
            <c:numRef>
              <c:f>Sheet1!$B$2:$B$10</c:f>
              <c:numCache>
                <c:formatCode>General</c:formatCode>
                <c:ptCount val="9"/>
                <c:pt idx="0">
                  <c:v>0.24486268364950756</c:v>
                </c:pt>
                <c:pt idx="1">
                  <c:v>0.07300804360281675</c:v>
                </c:pt>
                <c:pt idx="2">
                  <c:v>0.07081785368772946</c:v>
                </c:pt>
                <c:pt idx="3">
                  <c:v>0.055862491499573314</c:v>
                </c:pt>
                <c:pt idx="4">
                  <c:v>0.041359587271321746</c:v>
                </c:pt>
                <c:pt idx="5">
                  <c:v>0.039481248067461144</c:v>
                </c:pt>
                <c:pt idx="6">
                  <c:v>0.03167744597361064</c:v>
                </c:pt>
                <c:pt idx="7">
                  <c:v>0.02922545114943432</c:v>
                </c:pt>
                <c:pt idx="8">
                  <c:v>0.02727047151478264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Dom Perignon</c:v>
                </c:pt>
                <c:pt idx="8">
                  <c:v>Heidsieck &amp; Co Monopole</c:v>
                </c:pt>
              </c:strCache>
            </c:strRef>
          </c:cat>
          <c:val>
            <c:numRef>
              <c:f>Sheet1!$C$2:$C$10</c:f>
              <c:numCache>
                <c:formatCode>General</c:formatCode>
                <c:ptCount val="9"/>
                <c:pt idx="0">
                  <c:v>0.17110639952666318</c:v>
                </c:pt>
                <c:pt idx="1">
                  <c:v>0.006307552927030097</c:v>
                </c:pt>
                <c:pt idx="2">
                  <c:v>0.039182440698427405</c:v>
                </c:pt>
                <c:pt idx="3">
                  <c:v>0.0669318536267973</c:v>
                </c:pt>
                <c:pt idx="4">
                  <c:v>0.07681372867761878</c:v>
                </c:pt>
                <c:pt idx="5">
                  <c:v>0.033105208320020854</c:v>
                </c:pt>
                <c:pt idx="6">
                  <c:v>0.05814372030321981</c:v>
                </c:pt>
                <c:pt idx="7">
                  <c:v>0.01420108753430758</c:v>
                </c:pt>
                <c:pt idx="8">
                  <c:v>0.06867681266133849</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Malard</c:v>
                </c:pt>
                <c:pt idx="5">
                  <c:v>Roederer</c:v>
                </c:pt>
                <c:pt idx="6">
                  <c:v>Nicolas Feuillatte</c:v>
                </c:pt>
                <c:pt idx="7">
                  <c:v>Dom Perignon</c:v>
                </c:pt>
                <c:pt idx="8">
                  <c:v>Heidsieck &amp; Co Monopole</c:v>
                </c:pt>
              </c:strCache>
            </c:strRef>
          </c:cat>
          <c:val>
            <c:numRef>
              <c:f>Sheet1!$D$2:$D$10</c:f>
              <c:numCache>
                <c:formatCode>General</c:formatCode>
                <c:ptCount val="9"/>
                <c:pt idx="0">
                  <c:v>0.29</c:v>
                </c:pt>
                <c:pt idx="1">
                  <c:v>0.03</c:v>
                </c:pt>
                <c:pt idx="2">
                  <c:v>0.2</c:v>
                </c:pt>
                <c:pt idx="3">
                  <c:v>0.48</c:v>
                </c:pt>
                <c:pt idx="4">
                  <c:v>0.67</c:v>
                </c:pt>
                <c:pt idx="5">
                  <c:v>0.42</c:v>
                </c:pt>
                <c:pt idx="6">
                  <c:v>0.69</c:v>
                </c:pt>
                <c:pt idx="7">
                  <c:v>0.21</c:v>
                </c:pt>
                <c:pt idx="8">
                  <c:v>0.9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1910000000000000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B$2:$B$10</c:f>
              <c:numCache>
                <c:formatCode>General</c:formatCode>
                <c:ptCount val="9"/>
                <c:pt idx="0">
                  <c:v>0.13975913703038115</c:v>
                </c:pt>
                <c:pt idx="1">
                  <c:v>0.11670434751403025</c:v>
                </c:pt>
                <c:pt idx="2">
                  <c:v>0.08933259351889425</c:v>
                </c:pt>
                <c:pt idx="3">
                  <c:v>0.0744815547881361</c:v>
                </c:pt>
                <c:pt idx="4">
                  <c:v>0.07021657975687341</c:v>
                </c:pt>
                <c:pt idx="5">
                  <c:v>0.06497622748005767</c:v>
                </c:pt>
                <c:pt idx="6">
                  <c:v>0.0363560366189744</c:v>
                </c:pt>
                <c:pt idx="7">
                  <c:v>0.023172800961390704</c:v>
                </c:pt>
                <c:pt idx="8">
                  <c:v>0.0209119501195757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C$2:$C$10</c:f>
              <c:numCache>
                <c:formatCode>General</c:formatCode>
                <c:ptCount val="9"/>
                <c:pt idx="0">
                  <c:v>0.10966428957975081</c:v>
                </c:pt>
                <c:pt idx="1">
                  <c:v>0.23891499528831145</c:v>
                </c:pt>
                <c:pt idx="2">
                  <c:v>0.04068767668832023</c:v>
                </c:pt>
                <c:pt idx="3">
                  <c:v>0.08476233657962753</c:v>
                </c:pt>
                <c:pt idx="4">
                  <c:v>0.14361247563189908</c:v>
                </c:pt>
                <c:pt idx="5">
                  <c:v>0.0324364757823388</c:v>
                </c:pt>
                <c:pt idx="6">
                  <c:v>0.05136053924282852</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Kriter</c:v>
                </c:pt>
                <c:pt idx="8">
                  <c:v>Contarini</c:v>
                </c:pt>
              </c:strCache>
            </c:strRef>
          </c:cat>
          <c:val>
            <c:numRef>
              <c:f>Sheet1!$D$2:$D$10</c:f>
              <c:numCache>
                <c:formatCode>General</c:formatCode>
                <c:ptCount val="9"/>
                <c:pt idx="0">
                  <c:v>0.19</c:v>
                </c:pt>
                <c:pt idx="1">
                  <c:v>0.52</c:v>
                </c:pt>
                <c:pt idx="2">
                  <c:v>0.11</c:v>
                </c:pt>
                <c:pt idx="3">
                  <c:v>0.28</c:v>
                </c:pt>
                <c:pt idx="4">
                  <c:v>0.49</c:v>
                </c:pt>
                <c:pt idx="5">
                  <c:v>0.13</c:v>
                </c:pt>
                <c:pt idx="6">
                  <c:v>0.36</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B$2:$B$3</c:f>
              <c:numCache>
                <c:formatCode>General</c:formatCode>
                <c:ptCount val="2"/>
                <c:pt idx="0">
                  <c:v>0.4046841342576274</c:v>
                </c:pt>
                <c:pt idx="1">
                  <c:v>0.3702110993616104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 Chanceny</c:v>
                </c:pt>
                <c:pt idx="1">
                  <c:v>Lyre's</c:v>
                </c:pt>
              </c:strCache>
            </c:strRef>
          </c:cat>
          <c:val>
            <c:numRef>
              <c:f>Sheet1!$D$2:$D$3</c:f>
              <c:numCache>
                <c:formatCode>General</c:formatCode>
                <c:ptCount val="2"/>
                <c:pt idx="0">
                  <c:v>0.0</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2.43390419113377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Mure</c:v>
                </c:pt>
                <c:pt idx="2">
                  <c:v>Patriarche</c:v>
                </c:pt>
                <c:pt idx="3">
                  <c:v>Bouvet-Ladubay</c:v>
                </c:pt>
                <c:pt idx="4">
                  <c:v>Savian</c:v>
                </c:pt>
                <c:pt idx="5">
                  <c:v>Chateau Moncontour</c:v>
                </c:pt>
                <c:pt idx="6">
                  <c:v>Contarini</c:v>
                </c:pt>
                <c:pt idx="7">
                  <c:v>De Chanceny</c:v>
                </c:pt>
                <c:pt idx="8">
                  <c:v>Kriter</c:v>
                </c:pt>
              </c:strCache>
            </c:strRef>
          </c:cat>
          <c:val>
            <c:numRef>
              <c:f>Sheet1!$B$2:$B$10</c:f>
              <c:numCache>
                <c:formatCode>General</c:formatCode>
                <c:ptCount val="9"/>
                <c:pt idx="0">
                  <c:v>0.12708249601327612</c:v>
                </c:pt>
                <c:pt idx="1">
                  <c:v>0.09299762741310239</c:v>
                </c:pt>
                <c:pt idx="2">
                  <c:v>0.0890519592208926</c:v>
                </c:pt>
                <c:pt idx="3">
                  <c:v>0.06628117531645296</c:v>
                </c:pt>
                <c:pt idx="4">
                  <c:v>0.05341993923757417</c:v>
                </c:pt>
                <c:pt idx="5">
                  <c:v>0.03588699744590372</c:v>
                </c:pt>
                <c:pt idx="6">
                  <c:v>0.02364807924180939</c:v>
                </c:pt>
                <c:pt idx="7">
                  <c:v>0.02039819700682389</c:v>
                </c:pt>
                <c:pt idx="8">
                  <c:v>0.01846209695193891</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Mure</c:v>
                </c:pt>
                <c:pt idx="2">
                  <c:v>Patriarche</c:v>
                </c:pt>
                <c:pt idx="3">
                  <c:v>Bouvet-Ladubay</c:v>
                </c:pt>
                <c:pt idx="4">
                  <c:v>Savian</c:v>
                </c:pt>
                <c:pt idx="5">
                  <c:v>Chateau Moncontour</c:v>
                </c:pt>
                <c:pt idx="6">
                  <c:v>Contarini</c:v>
                </c:pt>
                <c:pt idx="7">
                  <c:v>De Chanceny</c:v>
                </c:pt>
                <c:pt idx="8">
                  <c:v>Kriter</c:v>
                </c:pt>
              </c:strCache>
            </c:strRef>
          </c:cat>
          <c:val>
            <c:numRef>
              <c:f>Sheet1!$C$2:$C$10</c:f>
              <c:numCache>
                <c:formatCode>General</c:formatCode>
                <c:ptCount val="9"/>
                <c:pt idx="0">
                  <c:v>0.08266881574482525</c:v>
                </c:pt>
                <c:pt idx="1">
                  <c:v>0.03043349168646081</c:v>
                </c:pt>
                <c:pt idx="2">
                  <c:v>0.23937478791991856</c:v>
                </c:pt>
                <c:pt idx="3">
                  <c:v>0.1513403461146929</c:v>
                </c:pt>
                <c:pt idx="4">
                  <c:v>0.05412283678316932</c:v>
                </c:pt>
                <c:pt idx="5">
                  <c:v>0.015481845945028843</c:v>
                </c:pt>
                <c:pt idx="6">
                  <c:v>0.0</c:v>
                </c:pt>
                <c:pt idx="7">
                  <c:v>0.03475992534781133</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Mure</c:v>
                </c:pt>
                <c:pt idx="2">
                  <c:v>Patriarche</c:v>
                </c:pt>
                <c:pt idx="3">
                  <c:v>Bouvet-Ladubay</c:v>
                </c:pt>
                <c:pt idx="4">
                  <c:v>Savian</c:v>
                </c:pt>
                <c:pt idx="5">
                  <c:v>Chateau Moncontour</c:v>
                </c:pt>
                <c:pt idx="6">
                  <c:v>Contarini</c:v>
                </c:pt>
                <c:pt idx="7">
                  <c:v>De Chanceny</c:v>
                </c:pt>
                <c:pt idx="8">
                  <c:v>Kriter</c:v>
                </c:pt>
              </c:strCache>
            </c:strRef>
          </c:cat>
          <c:val>
            <c:numRef>
              <c:f>Sheet1!$D$2:$D$10</c:f>
              <c:numCache>
                <c:formatCode>General</c:formatCode>
                <c:ptCount val="9"/>
                <c:pt idx="0">
                  <c:v>0.15</c:v>
                </c:pt>
                <c:pt idx="1">
                  <c:v>0.07</c:v>
                </c:pt>
                <c:pt idx="2">
                  <c:v>0.61</c:v>
                </c:pt>
                <c:pt idx="3">
                  <c:v>0.5</c:v>
                </c:pt>
                <c:pt idx="4">
                  <c:v>0.23</c:v>
                </c:pt>
                <c:pt idx="5">
                  <c:v>0.11</c:v>
                </c:pt>
                <c:pt idx="6">
                  <c:v>0.0</c:v>
                </c:pt>
                <c:pt idx="7">
                  <c:v>0.4</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Vilaveroni</c:v>
                </c:pt>
              </c:strCache>
            </c:strRef>
          </c:cat>
          <c:val>
            <c:numRef>
              <c:f>Sheet1!$B$2:$B$4</c:f>
              <c:numCache>
                <c:formatCode>General</c:formatCode>
                <c:ptCount val="3"/>
                <c:pt idx="0">
                  <c:v>-0.062000000000000055</c:v>
                </c:pt>
                <c:pt idx="1">
                  <c:v>0.09499999999999997</c:v>
                </c:pt>
                <c:pt idx="2">
                  <c:v>-0.294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Roederer</c:v>
                </c:pt>
                <c:pt idx="5">
                  <c:v>Heidsieck &amp; Co Monopole</c:v>
                </c:pt>
                <c:pt idx="6">
                  <c:v>Malard</c:v>
                </c:pt>
                <c:pt idx="7">
                  <c:v>Dom Perignon</c:v>
                </c:pt>
                <c:pt idx="8">
                  <c:v>Taittinger</c:v>
                </c:pt>
              </c:strCache>
            </c:strRef>
          </c:cat>
          <c:val>
            <c:numRef>
              <c:f>Sheet1!$B$2:$B$10</c:f>
              <c:numCache>
                <c:formatCode>General</c:formatCode>
                <c:ptCount val="9"/>
                <c:pt idx="0">
                  <c:v>0.30397630931245645</c:v>
                </c:pt>
                <c:pt idx="1">
                  <c:v>0.10062943343015697</c:v>
                </c:pt>
                <c:pt idx="2">
                  <c:v>0.07837738250762068</c:v>
                </c:pt>
                <c:pt idx="3">
                  <c:v>0.05498354636129734</c:v>
                </c:pt>
                <c:pt idx="4">
                  <c:v>0.03747457781223232</c:v>
                </c:pt>
                <c:pt idx="5">
                  <c:v>0.03473145396570178</c:v>
                </c:pt>
                <c:pt idx="6">
                  <c:v>0.03370659086667528</c:v>
                </c:pt>
                <c:pt idx="7">
                  <c:v>0.029971622856760027</c:v>
                </c:pt>
                <c:pt idx="8">
                  <c:v>0.02883589908009564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Roederer</c:v>
                </c:pt>
                <c:pt idx="5">
                  <c:v>Heidsieck &amp; Co Monopole</c:v>
                </c:pt>
                <c:pt idx="6">
                  <c:v>Malard</c:v>
                </c:pt>
                <c:pt idx="7">
                  <c:v>Dom Perignon</c:v>
                </c:pt>
                <c:pt idx="8">
                  <c:v>Taittinger</c:v>
                </c:pt>
              </c:strCache>
            </c:strRef>
          </c:cat>
          <c:val>
            <c:numRef>
              <c:f>Sheet1!$C$2:$C$10</c:f>
              <c:numCache>
                <c:formatCode>General</c:formatCode>
                <c:ptCount val="9"/>
                <c:pt idx="0">
                  <c:v>0.24185945497502426</c:v>
                </c:pt>
                <c:pt idx="1">
                  <c:v>0.005388283225302746</c:v>
                </c:pt>
                <c:pt idx="2">
                  <c:v>0.0513030184671316</c:v>
                </c:pt>
                <c:pt idx="3">
                  <c:v>0.06525058832079624</c:v>
                </c:pt>
                <c:pt idx="4">
                  <c:v>0.03732442284635488</c:v>
                </c:pt>
                <c:pt idx="5">
                  <c:v>0.08554611512769653</c:v>
                </c:pt>
                <c:pt idx="6">
                  <c:v>0.05796973330165588</c:v>
                </c:pt>
                <c:pt idx="7">
                  <c:v>0.014892793224312471</c:v>
                </c:pt>
                <c:pt idx="8">
                  <c:v>0.0476679035889162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Roederer</c:v>
                </c:pt>
                <c:pt idx="5">
                  <c:v>Heidsieck &amp; Co Monopole</c:v>
                </c:pt>
                <c:pt idx="6">
                  <c:v>Malard</c:v>
                </c:pt>
                <c:pt idx="7">
                  <c:v>Dom Perignon</c:v>
                </c:pt>
                <c:pt idx="8">
                  <c:v>Taittinger</c:v>
                </c:pt>
              </c:strCache>
            </c:strRef>
          </c:cat>
          <c:val>
            <c:numRef>
              <c:f>Sheet1!$D$2:$D$10</c:f>
              <c:numCache>
                <c:formatCode>General</c:formatCode>
                <c:ptCount val="9"/>
                <c:pt idx="0">
                  <c:v>0.35</c:v>
                </c:pt>
                <c:pt idx="1">
                  <c:v>0.02</c:v>
                </c:pt>
                <c:pt idx="2">
                  <c:v>0.25</c:v>
                </c:pt>
                <c:pt idx="3">
                  <c:v>0.5</c:v>
                </c:pt>
                <c:pt idx="4">
                  <c:v>0.44</c:v>
                </c:pt>
                <c:pt idx="5">
                  <c:v>0.94</c:v>
                </c:pt>
                <c:pt idx="6">
                  <c:v>0.66</c:v>
                </c:pt>
                <c:pt idx="7">
                  <c:v>0.2</c:v>
                </c:pt>
                <c:pt idx="8">
                  <c:v>0.6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B$2:$B$10</c:f>
              <c:numCache>
                <c:formatCode>General</c:formatCode>
                <c:ptCount val="9"/>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C$2:$C$10</c:f>
              <c:numCache>
                <c:formatCode>General</c:formatCode>
                <c:ptCount val="9"/>
                <c:pt idx="0">
                  <c:v>0.13863158149321594</c:v>
                </c:pt>
                <c:pt idx="1">
                  <c:v>0.2076813311727574</c:v>
                </c:pt>
                <c:pt idx="2">
                  <c:v>0.08509686313396377</c:v>
                </c:pt>
                <c:pt idx="3">
                  <c:v>0.023363242798752026</c:v>
                </c:pt>
                <c:pt idx="4">
                  <c:v>0.08760006771954434</c:v>
                </c:pt>
                <c:pt idx="5">
                  <c:v>0.016240597866834353</c:v>
                </c:pt>
                <c:pt idx="6">
                  <c:v>0.03319466950443805</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Savian</c:v>
                </c:pt>
                <c:pt idx="3">
                  <c:v>Mure</c:v>
                </c:pt>
                <c:pt idx="4">
                  <c:v>Bouvet-Ladubay</c:v>
                </c:pt>
                <c:pt idx="5">
                  <c:v>Chateau Moncontour</c:v>
                </c:pt>
                <c:pt idx="6">
                  <c:v>De Chanceny</c:v>
                </c:pt>
                <c:pt idx="7">
                  <c:v>Contarini</c:v>
                </c:pt>
                <c:pt idx="8">
                  <c:v>Kriter</c:v>
                </c:pt>
              </c:strCache>
            </c:strRef>
          </c:cat>
          <c:val>
            <c:numRef>
              <c:f>Sheet1!$D$2:$D$10</c:f>
              <c:numCache>
                <c:formatCode>General</c:formatCode>
                <c:ptCount val="9"/>
                <c:pt idx="0">
                  <c:v>0.16</c:v>
                </c:pt>
                <c:pt idx="1">
                  <c:v>0.5</c:v>
                </c:pt>
                <c:pt idx="2">
                  <c:v>0.25</c:v>
                </c:pt>
                <c:pt idx="3">
                  <c:v>0.1</c:v>
                </c:pt>
                <c:pt idx="4">
                  <c:v>0.47</c:v>
                </c:pt>
                <c:pt idx="5">
                  <c:v>0.14</c:v>
                </c:pt>
                <c:pt idx="6">
                  <c:v>0.36</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B$2:$B$10</c:f>
              <c:numCache>
                <c:formatCode>General</c:formatCode>
                <c:ptCount val="9"/>
                <c:pt idx="0">
                  <c:v>0.18714796645788564</c:v>
                </c:pt>
                <c:pt idx="1">
                  <c:v>0.0947818459633695</c:v>
                </c:pt>
                <c:pt idx="2">
                  <c:v>0.0634621990395699</c:v>
                </c:pt>
                <c:pt idx="3">
                  <c:v>0.04441443749754531</c:v>
                </c:pt>
                <c:pt idx="4">
                  <c:v>0.0413310366797521</c:v>
                </c:pt>
                <c:pt idx="5">
                  <c:v>0.03134520685779263</c:v>
                </c:pt>
                <c:pt idx="6">
                  <c:v>0.03096991221721206</c:v>
                </c:pt>
                <c:pt idx="7">
                  <c:v>0.030812812135108565</c:v>
                </c:pt>
                <c:pt idx="8">
                  <c:v>0.03021371221883293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C$2:$C$10</c:f>
              <c:numCache>
                <c:formatCode>General</c:formatCode>
                <c:ptCount val="9"/>
                <c:pt idx="0">
                  <c:v>0.1813714986314081</c:v>
                </c:pt>
                <c:pt idx="1">
                  <c:v>0.004853889540007789</c:v>
                </c:pt>
                <c:pt idx="2">
                  <c:v>0.04456261890166076</c:v>
                </c:pt>
                <c:pt idx="3">
                  <c:v>0.06995563489061513</c:v>
                </c:pt>
                <c:pt idx="4">
                  <c:v>0.055116334968687286</c:v>
                </c:pt>
                <c:pt idx="5">
                  <c:v>0.04203412442726898</c:v>
                </c:pt>
                <c:pt idx="6">
                  <c:v>0.06352539581093494</c:v>
                </c:pt>
                <c:pt idx="7">
                  <c:v>0.040562119537976796</c:v>
                </c:pt>
                <c:pt idx="8">
                  <c:v>0.0592174523880950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Bollinger</c:v>
                </c:pt>
                <c:pt idx="6">
                  <c:v>Canard Duchêne</c:v>
                </c:pt>
                <c:pt idx="7">
                  <c:v>Ayala</c:v>
                </c:pt>
                <c:pt idx="8">
                  <c:v>Nicolas Feuillatte</c:v>
                </c:pt>
              </c:strCache>
            </c:strRef>
          </c:cat>
          <c:val>
            <c:numRef>
              <c:f>Sheet1!$D$2:$D$10</c:f>
              <c:numCache>
                <c:formatCode>General</c:formatCode>
                <c:ptCount val="9"/>
                <c:pt idx="0">
                  <c:v>0.36</c:v>
                </c:pt>
                <c:pt idx="1">
                  <c:v>0.01</c:v>
                </c:pt>
                <c:pt idx="2">
                  <c:v>0.25</c:v>
                </c:pt>
                <c:pt idx="3">
                  <c:v>0.53</c:v>
                </c:pt>
                <c:pt idx="4">
                  <c:v>0.49</c:v>
                </c:pt>
                <c:pt idx="5">
                  <c:v>0.51</c:v>
                </c:pt>
                <c:pt idx="6">
                  <c:v>0.71</c:v>
                </c:pt>
                <c:pt idx="7">
                  <c:v>0.48</c:v>
                </c:pt>
                <c:pt idx="8">
                  <c:v>0.6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ttega</c:v>
                </c:pt>
                <c:pt idx="1">
                  <c:v>Savian</c:v>
                </c:pt>
                <c:pt idx="2">
                  <c:v>Vilaveroni</c:v>
                </c:pt>
              </c:strCache>
            </c:strRef>
          </c:cat>
          <c:val>
            <c:numRef>
              <c:f>Sheet1!$B$2:$B$4</c:f>
              <c:numCache>
                <c:formatCode>General</c:formatCode>
                <c:ptCount val="3"/>
                <c:pt idx="0">
                  <c:v>-0.4757648452449522</c:v>
                </c:pt>
                <c:pt idx="1">
                  <c:v>0.5933165738889956</c:v>
                </c:pt>
                <c:pt idx="2">
                  <c:v>0.1118016541143140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Bouvet-Ladubay</c:v>
                </c:pt>
                <c:pt idx="4">
                  <c:v>Chateau Moncontour</c:v>
                </c:pt>
                <c:pt idx="5">
                  <c:v>Savian</c:v>
                </c:pt>
                <c:pt idx="6">
                  <c:v>De Chanceny</c:v>
                </c:pt>
                <c:pt idx="7">
                  <c:v>Kriter</c:v>
                </c:pt>
                <c:pt idx="8">
                  <c:v>Contarini</c:v>
                </c:pt>
              </c:strCache>
            </c:strRef>
          </c:cat>
          <c:val>
            <c:numRef>
              <c:f>Sheet1!$B$2:$B$10</c:f>
              <c:numCache>
                <c:formatCode>General</c:formatCode>
                <c:ptCount val="9"/>
                <c:pt idx="0">
                  <c:v>0.1239369411353069</c:v>
                </c:pt>
                <c:pt idx="1">
                  <c:v>0.11269517376176924</c:v>
                </c:pt>
                <c:pt idx="2">
                  <c:v>0.10622670847264891</c:v>
                </c:pt>
                <c:pt idx="3">
                  <c:v>0.07653118934399898</c:v>
                </c:pt>
                <c:pt idx="4">
                  <c:v>0.06564685406967362</c:v>
                </c:pt>
                <c:pt idx="5">
                  <c:v>0.05962932632344136</c:v>
                </c:pt>
                <c:pt idx="6">
                  <c:v>0.03482022070301012</c:v>
                </c:pt>
                <c:pt idx="7">
                  <c:v>0.032176429690693044</c:v>
                </c:pt>
                <c:pt idx="8">
                  <c:v>0.01841001533790906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Bouvet-Ladubay</c:v>
                </c:pt>
                <c:pt idx="4">
                  <c:v>Chateau Moncontour</c:v>
                </c:pt>
                <c:pt idx="5">
                  <c:v>Savian</c:v>
                </c:pt>
                <c:pt idx="6">
                  <c:v>De Chanceny</c:v>
                </c:pt>
                <c:pt idx="7">
                  <c:v>Kriter</c:v>
                </c:pt>
                <c:pt idx="8">
                  <c:v>Contarini</c:v>
                </c:pt>
              </c:strCache>
            </c:strRef>
          </c:cat>
          <c:val>
            <c:numRef>
              <c:f>Sheet1!$C$2:$C$10</c:f>
              <c:numCache>
                <c:formatCode>General</c:formatCode>
                <c:ptCount val="9"/>
                <c:pt idx="0">
                  <c:v>0.09524177406327913</c:v>
                </c:pt>
                <c:pt idx="1">
                  <c:v>0.23192752045510412</c:v>
                </c:pt>
                <c:pt idx="2">
                  <c:v>0.04964708361133546</c:v>
                </c:pt>
                <c:pt idx="3">
                  <c:v>0.16420268989008674</c:v>
                </c:pt>
                <c:pt idx="4">
                  <c:v>0.03446289988411701</c:v>
                </c:pt>
                <c:pt idx="5">
                  <c:v>0.07832285704252555</c:v>
                </c:pt>
                <c:pt idx="6">
                  <c:v>0.04874108930013695</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Bouvet-Ladubay</c:v>
                </c:pt>
                <c:pt idx="4">
                  <c:v>Chateau Moncontour</c:v>
                </c:pt>
                <c:pt idx="5">
                  <c:v>Savian</c:v>
                </c:pt>
                <c:pt idx="6">
                  <c:v>De Chanceny</c:v>
                </c:pt>
                <c:pt idx="7">
                  <c:v>Kriter</c:v>
                </c:pt>
                <c:pt idx="8">
                  <c:v>Contarini</c:v>
                </c:pt>
              </c:strCache>
            </c:strRef>
          </c:cat>
          <c:val>
            <c:numRef>
              <c:f>Sheet1!$D$2:$D$10</c:f>
              <c:numCache>
                <c:formatCode>General</c:formatCode>
                <c:ptCount val="9"/>
                <c:pt idx="0">
                  <c:v>0.18</c:v>
                </c:pt>
                <c:pt idx="1">
                  <c:v>0.51</c:v>
                </c:pt>
                <c:pt idx="2">
                  <c:v>0.11</c:v>
                </c:pt>
                <c:pt idx="3">
                  <c:v>0.5</c:v>
                </c:pt>
                <c:pt idx="4">
                  <c:v>0.14</c:v>
                </c:pt>
                <c:pt idx="5">
                  <c:v>0.32</c:v>
                </c:pt>
                <c:pt idx="6">
                  <c:v>0.34</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Heidsieck &amp; Co Monopole</c:v>
                </c:pt>
                <c:pt idx="7">
                  <c:v>Ayala</c:v>
                </c:pt>
                <c:pt idx="8">
                  <c:v>De Bligny</c:v>
                </c:pt>
              </c:strCache>
            </c:strRef>
          </c:cat>
          <c:val>
            <c:numRef>
              <c:f>Sheet1!$B$2:$B$10</c:f>
              <c:numCache>
                <c:formatCode>General</c:formatCode>
                <c:ptCount val="9"/>
                <c:pt idx="0">
                  <c:v>0.24825358350667073</c:v>
                </c:pt>
                <c:pt idx="1">
                  <c:v>0.09471911431455116</c:v>
                </c:pt>
                <c:pt idx="2">
                  <c:v>0.07970233006745116</c:v>
                </c:pt>
                <c:pt idx="3">
                  <c:v>0.05250295673493931</c:v>
                </c:pt>
                <c:pt idx="4">
                  <c:v>0.04909391378102684</c:v>
                </c:pt>
                <c:pt idx="5">
                  <c:v>0.0374543243672846</c:v>
                </c:pt>
                <c:pt idx="6">
                  <c:v>0.0336893445175114</c:v>
                </c:pt>
                <c:pt idx="7">
                  <c:v>0.033634203414880576</c:v>
                </c:pt>
                <c:pt idx="8">
                  <c:v>0.0316915399529639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Heidsieck &amp; Co Monopole</c:v>
                </c:pt>
                <c:pt idx="7">
                  <c:v>Ayala</c:v>
                </c:pt>
                <c:pt idx="8">
                  <c:v>De Bligny</c:v>
                </c:pt>
              </c:strCache>
            </c:strRef>
          </c:cat>
          <c:val>
            <c:numRef>
              <c:f>Sheet1!$C$2:$C$10</c:f>
              <c:numCache>
                <c:formatCode>General</c:formatCode>
                <c:ptCount val="9"/>
                <c:pt idx="0">
                  <c:v>0.17304700733560568</c:v>
                </c:pt>
                <c:pt idx="1">
                  <c:v>0.007545022875780129</c:v>
                </c:pt>
                <c:pt idx="2">
                  <c:v>0.041118182251538606</c:v>
                </c:pt>
                <c:pt idx="3">
                  <c:v>0.08456124097240897</c:v>
                </c:pt>
                <c:pt idx="4">
                  <c:v>0.0544733949200594</c:v>
                </c:pt>
                <c:pt idx="5">
                  <c:v>0.0628406213304232</c:v>
                </c:pt>
                <c:pt idx="6">
                  <c:v>0.07686993536996248</c:v>
                </c:pt>
                <c:pt idx="7">
                  <c:v>0.04043480175233607</c:v>
                </c:pt>
                <c:pt idx="8">
                  <c:v>0.044466128089085455</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Nicolas Feuillatte</c:v>
                </c:pt>
                <c:pt idx="6">
                  <c:v>Heidsieck &amp; Co Monopole</c:v>
                </c:pt>
                <c:pt idx="7">
                  <c:v>Ayala</c:v>
                </c:pt>
                <c:pt idx="8">
                  <c:v>De Bligny</c:v>
                </c:pt>
              </c:strCache>
            </c:strRef>
          </c:cat>
          <c:val>
            <c:numRef>
              <c:f>Sheet1!$D$2:$D$10</c:f>
              <c:numCache>
                <c:formatCode>General</c:formatCode>
                <c:ptCount val="9"/>
                <c:pt idx="0">
                  <c:v>0.31</c:v>
                </c:pt>
                <c:pt idx="1">
                  <c:v>0.03</c:v>
                </c:pt>
                <c:pt idx="2">
                  <c:v>0.21</c:v>
                </c:pt>
                <c:pt idx="3">
                  <c:v>0.64</c:v>
                </c:pt>
                <c:pt idx="4">
                  <c:v>0.48</c:v>
                </c:pt>
                <c:pt idx="5">
                  <c:v>0.7</c:v>
                </c:pt>
                <c:pt idx="6">
                  <c:v>0.92</c:v>
                </c:pt>
                <c:pt idx="7">
                  <c:v>0.5</c:v>
                </c:pt>
                <c:pt idx="8">
                  <c:v>0.57</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Contarini</c:v>
                </c:pt>
                <c:pt idx="8">
                  <c:v>Kriter</c:v>
                </c:pt>
              </c:strCache>
            </c:strRef>
          </c:cat>
          <c:val>
            <c:numRef>
              <c:f>Sheet1!$B$2:$B$10</c:f>
              <c:numCache>
                <c:formatCode>General</c:formatCode>
                <c:ptCount val="9"/>
                <c:pt idx="0">
                  <c:v>0.12053980876038334</c:v>
                </c:pt>
                <c:pt idx="1">
                  <c:v>0.11762933115967049</c:v>
                </c:pt>
                <c:pt idx="2">
                  <c:v>0.09758227468121787</c:v>
                </c:pt>
                <c:pt idx="3">
                  <c:v>0.06703827758576299</c:v>
                </c:pt>
                <c:pt idx="4">
                  <c:v>0.06573075768523891</c:v>
                </c:pt>
                <c:pt idx="5">
                  <c:v>0.06315843178293745</c:v>
                </c:pt>
                <c:pt idx="6">
                  <c:v>0.03306886311026</c:v>
                </c:pt>
                <c:pt idx="7">
                  <c:v>0.02035317275280399</c:v>
                </c:pt>
                <c:pt idx="8">
                  <c:v>0.0192449843797645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Contarini</c:v>
                </c:pt>
                <c:pt idx="8">
                  <c:v>Kriter</c:v>
                </c:pt>
              </c:strCache>
            </c:strRef>
          </c:cat>
          <c:val>
            <c:numRef>
              <c:f>Sheet1!$C$2:$C$10</c:f>
              <c:numCache>
                <c:formatCode>General</c:formatCode>
                <c:ptCount val="9"/>
                <c:pt idx="0">
                  <c:v>0.10848464347756291</c:v>
                </c:pt>
                <c:pt idx="1">
                  <c:v>0.2572511337510965</c:v>
                </c:pt>
                <c:pt idx="2">
                  <c:v>0.0422770193956003</c:v>
                </c:pt>
                <c:pt idx="3">
                  <c:v>0.08127461716192431</c:v>
                </c:pt>
                <c:pt idx="4">
                  <c:v>0.14005194328664552</c:v>
                </c:pt>
                <c:pt idx="5">
                  <c:v>0.02939439631695725</c:v>
                </c:pt>
                <c:pt idx="6">
                  <c:v>0.049512386696556034</c:v>
                </c:pt>
                <c:pt idx="7">
                  <c:v>0.0</c:v>
                </c:pt>
                <c:pt idx="8">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ttega</c:v>
                </c:pt>
                <c:pt idx="1">
                  <c:v>Patriarche</c:v>
                </c:pt>
                <c:pt idx="2">
                  <c:v>Mure</c:v>
                </c:pt>
                <c:pt idx="3">
                  <c:v>Savian</c:v>
                </c:pt>
                <c:pt idx="4">
                  <c:v>Bouvet-Ladubay</c:v>
                </c:pt>
                <c:pt idx="5">
                  <c:v>Chateau Moncontour</c:v>
                </c:pt>
                <c:pt idx="6">
                  <c:v>De Chanceny</c:v>
                </c:pt>
                <c:pt idx="7">
                  <c:v>Contarini</c:v>
                </c:pt>
                <c:pt idx="8">
                  <c:v>Kriter</c:v>
                </c:pt>
              </c:strCache>
            </c:strRef>
          </c:cat>
          <c:val>
            <c:numRef>
              <c:f>Sheet1!$D$2:$D$10</c:f>
              <c:numCache>
                <c:formatCode>General</c:formatCode>
                <c:ptCount val="9"/>
                <c:pt idx="0">
                  <c:v>0.2</c:v>
                </c:pt>
                <c:pt idx="1">
                  <c:v>0.52</c:v>
                </c:pt>
                <c:pt idx="2">
                  <c:v>0.1</c:v>
                </c:pt>
                <c:pt idx="3">
                  <c:v>0.29</c:v>
                </c:pt>
                <c:pt idx="4">
                  <c:v>0.48</c:v>
                </c:pt>
                <c:pt idx="5">
                  <c:v>0.12</c:v>
                </c:pt>
                <c:pt idx="6">
                  <c:v>0.35</c:v>
                </c:pt>
                <c:pt idx="7">
                  <c:v>0.0</c:v>
                </c:pt>
                <c:pt idx="8">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Heidsieck &amp; Co Monopole</c:v>
                </c:pt>
                <c:pt idx="6">
                  <c:v>Nicolas Feuillatte</c:v>
                </c:pt>
                <c:pt idx="7">
                  <c:v>De Bligny</c:v>
                </c:pt>
                <c:pt idx="8">
                  <c:v>Ayala</c:v>
                </c:pt>
              </c:strCache>
            </c:strRef>
          </c:cat>
          <c:val>
            <c:numRef>
              <c:f>Sheet1!$B$2:$B$10</c:f>
              <c:numCache>
                <c:formatCode>General</c:formatCode>
                <c:ptCount val="9"/>
                <c:pt idx="0">
                  <c:v>0.24281085373478956</c:v>
                </c:pt>
                <c:pt idx="1">
                  <c:v>0.10418419011115826</c:v>
                </c:pt>
                <c:pt idx="2">
                  <c:v>0.0793056928689503</c:v>
                </c:pt>
                <c:pt idx="3">
                  <c:v>0.057896552970350706</c:v>
                </c:pt>
                <c:pt idx="4">
                  <c:v>0.04473440192721172</c:v>
                </c:pt>
                <c:pt idx="5">
                  <c:v>0.036394537784548146</c:v>
                </c:pt>
                <c:pt idx="6">
                  <c:v>0.035710745957870466</c:v>
                </c:pt>
                <c:pt idx="7">
                  <c:v>0.034754863204504355</c:v>
                </c:pt>
                <c:pt idx="8">
                  <c:v>0.03337183334133697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Heidsieck &amp; Co Monopole</c:v>
                </c:pt>
                <c:pt idx="6">
                  <c:v>Nicolas Feuillatte</c:v>
                </c:pt>
                <c:pt idx="7">
                  <c:v>De Bligny</c:v>
                </c:pt>
                <c:pt idx="8">
                  <c:v>Ayala</c:v>
                </c:pt>
              </c:strCache>
            </c:strRef>
          </c:cat>
          <c:val>
            <c:numRef>
              <c:f>Sheet1!$C$2:$C$10</c:f>
              <c:numCache>
                <c:formatCode>General</c:formatCode>
                <c:ptCount val="9"/>
                <c:pt idx="0">
                  <c:v>0.17308270885731564</c:v>
                </c:pt>
                <c:pt idx="1">
                  <c:v>0.007617084909210603</c:v>
                </c:pt>
                <c:pt idx="2">
                  <c:v>0.045513106301092926</c:v>
                </c:pt>
                <c:pt idx="3">
                  <c:v>0.08775398143799443</c:v>
                </c:pt>
                <c:pt idx="4">
                  <c:v>0.04696627283387829</c:v>
                </c:pt>
                <c:pt idx="5">
                  <c:v>0.08225657350580025</c:v>
                </c:pt>
                <c:pt idx="6">
                  <c:v>0.055717294320089844</c:v>
                </c:pt>
                <c:pt idx="7">
                  <c:v>0.04750717646813509</c:v>
                </c:pt>
                <c:pt idx="8">
                  <c:v>0.041121087943632825</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Malard</c:v>
                </c:pt>
                <c:pt idx="4">
                  <c:v>Laurent Perrier</c:v>
                </c:pt>
                <c:pt idx="5">
                  <c:v>Heidsieck &amp; Co Monopole</c:v>
                </c:pt>
                <c:pt idx="6">
                  <c:v>Nicolas Feuillatte</c:v>
                </c:pt>
                <c:pt idx="7">
                  <c:v>De Bligny</c:v>
                </c:pt>
                <c:pt idx="8">
                  <c:v>Ayala</c:v>
                </c:pt>
              </c:strCache>
            </c:strRef>
          </c:cat>
          <c:val>
            <c:numRef>
              <c:f>Sheet1!$D$2:$D$10</c:f>
              <c:numCache>
                <c:formatCode>General</c:formatCode>
                <c:ptCount val="9"/>
                <c:pt idx="0">
                  <c:v>0.32</c:v>
                </c:pt>
                <c:pt idx="1">
                  <c:v>0.03</c:v>
                </c:pt>
                <c:pt idx="2">
                  <c:v>0.23</c:v>
                </c:pt>
                <c:pt idx="3">
                  <c:v>0.61</c:v>
                </c:pt>
                <c:pt idx="4">
                  <c:v>0.46</c:v>
                </c:pt>
                <c:pt idx="5">
                  <c:v>0.92</c:v>
                </c:pt>
                <c:pt idx="6">
                  <c:v>0.66</c:v>
                </c:pt>
                <c:pt idx="7">
                  <c:v>0.56</c:v>
                </c:pt>
                <c:pt idx="8">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0.949411434453073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Ayala</c:v>
                </c:pt>
                <c:pt idx="6">
                  <c:v>Canard Duchêne</c:v>
                </c:pt>
                <c:pt idx="7">
                  <c:v>Taittinger</c:v>
                </c:pt>
                <c:pt idx="8">
                  <c:v>De Bligny</c:v>
                </c:pt>
              </c:strCache>
            </c:strRef>
          </c:cat>
          <c:val>
            <c:numRef>
              <c:f>Sheet1!$B$2:$B$10</c:f>
              <c:numCache>
                <c:formatCode>General</c:formatCode>
                <c:ptCount val="9"/>
                <c:pt idx="0">
                  <c:v>0.197508242124816</c:v>
                </c:pt>
                <c:pt idx="1">
                  <c:v>0.10954622229600854</c:v>
                </c:pt>
                <c:pt idx="2">
                  <c:v>0.10391541262165646</c:v>
                </c:pt>
                <c:pt idx="3">
                  <c:v>0.06359537143951868</c:v>
                </c:pt>
                <c:pt idx="4">
                  <c:v>0.05483133501496569</c:v>
                </c:pt>
                <c:pt idx="5">
                  <c:v>0.04616990251509002</c:v>
                </c:pt>
                <c:pt idx="6">
                  <c:v>0.04109263222887778</c:v>
                </c:pt>
                <c:pt idx="7">
                  <c:v>0.03866655790402172</c:v>
                </c:pt>
                <c:pt idx="8">
                  <c:v>0.0378934344030799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Ayala</c:v>
                </c:pt>
                <c:pt idx="6">
                  <c:v>Canard Duchêne</c:v>
                </c:pt>
                <c:pt idx="7">
                  <c:v>Taittinger</c:v>
                </c:pt>
                <c:pt idx="8">
                  <c:v>De Bligny</c:v>
                </c:pt>
              </c:strCache>
            </c:strRef>
          </c:cat>
          <c:val>
            <c:numRef>
              <c:f>Sheet1!$C$2:$C$10</c:f>
              <c:numCache>
                <c:formatCode>General</c:formatCode>
                <c:ptCount val="9"/>
                <c:pt idx="0">
                  <c:v>0.1771634869571583</c:v>
                </c:pt>
                <c:pt idx="1">
                  <c:v>0.007435222993143052</c:v>
                </c:pt>
                <c:pt idx="2">
                  <c:v>0.04353574580489829</c:v>
                </c:pt>
                <c:pt idx="3">
                  <c:v>0.070774294173628</c:v>
                </c:pt>
                <c:pt idx="4">
                  <c:v>0.11619013388535965</c:v>
                </c:pt>
                <c:pt idx="5">
                  <c:v>0.057165378108198245</c:v>
                </c:pt>
                <c:pt idx="6">
                  <c:v>0.06807660788508309</c:v>
                </c:pt>
                <c:pt idx="7">
                  <c:v>0.06262264521193092</c:v>
                </c:pt>
                <c:pt idx="8">
                  <c:v>0.05191336698090954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Heidsieck &amp; Co Monopole</c:v>
                </c:pt>
                <c:pt idx="5">
                  <c:v>Ayala</c:v>
                </c:pt>
                <c:pt idx="6">
                  <c:v>Canard Duchêne</c:v>
                </c:pt>
                <c:pt idx="7">
                  <c:v>Taittinger</c:v>
                </c:pt>
                <c:pt idx="8">
                  <c:v>De Bligny</c:v>
                </c:pt>
              </c:strCache>
            </c:strRef>
          </c:cat>
          <c:val>
            <c:numRef>
              <c:f>Sheet1!$D$2:$D$10</c:f>
              <c:numCache>
                <c:formatCode>General</c:formatCode>
                <c:ptCount val="9"/>
                <c:pt idx="0">
                  <c:v>0.37</c:v>
                </c:pt>
                <c:pt idx="1">
                  <c:v>0.02</c:v>
                </c:pt>
                <c:pt idx="2">
                  <c:v>0.18</c:v>
                </c:pt>
                <c:pt idx="3">
                  <c:v>0.5</c:v>
                </c:pt>
                <c:pt idx="4">
                  <c:v>0.9</c:v>
                </c:pt>
                <c:pt idx="5">
                  <c:v>0.53</c:v>
                </c:pt>
                <c:pt idx="6">
                  <c:v>0.73</c:v>
                </c:pt>
                <c:pt idx="7">
                  <c:v>0.7</c:v>
                </c:pt>
                <c:pt idx="8">
                  <c:v>0.5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7809821100627239</c:v>
                </c:pt>
                <c:pt idx="1">
                  <c:v>0.19922914736938513</c:v>
                </c:pt>
                <c:pt idx="2">
                  <c:v>0.01641791467556489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8666449754975412</c:v>
                </c:pt>
                <c:pt idx="1">
                  <c:v>0.13078205227000939</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0.77</c:v>
                </c:pt>
                <c:pt idx="1">
                  <c:v>0.45</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0.843808171784216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0.1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727912163321324</c:v>
                </c:pt>
                <c:pt idx="1">
                  <c:v>0.1177446102819237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9</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B$2:$B$10</c:f>
              <c:numCache>
                <c:formatCode>General</c:formatCode>
                <c:ptCount val="9"/>
                <c:pt idx="0">
                  <c:v>0.3125537137157155</c:v>
                </c:pt>
                <c:pt idx="1">
                  <c:v>0.14916522041371166</c:v>
                </c:pt>
                <c:pt idx="2">
                  <c:v>0.13021037921585712</c:v>
                </c:pt>
                <c:pt idx="3">
                  <c:v>0.11394925854241508</c:v>
                </c:pt>
                <c:pt idx="4">
                  <c:v>0.0814198752056298</c:v>
                </c:pt>
                <c:pt idx="5">
                  <c:v>0.050304605869287304</c:v>
                </c:pt>
                <c:pt idx="6">
                  <c:v>0.048395313902359474</c:v>
                </c:pt>
                <c:pt idx="7">
                  <c:v>0.045164753803704785</c:v>
                </c:pt>
                <c:pt idx="8">
                  <c:v>0.0433078364293859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0.3567731423373214</c:v>
                </c:pt>
                <c:pt idx="1">
                  <c:v>0.1260262773050217</c:v>
                </c:pt>
                <c:pt idx="2">
                  <c:v>0.20798164503759659</c:v>
                </c:pt>
                <c:pt idx="3">
                  <c:v>0.015548173140034314</c:v>
                </c:pt>
                <c:pt idx="4">
                  <c:v>0.10203182755086766</c:v>
                </c:pt>
                <c:pt idx="5">
                  <c:v>0.035941296362401114</c:v>
                </c:pt>
                <c:pt idx="6">
                  <c:v>0.024455051069170803</c:v>
                </c:pt>
                <c:pt idx="7">
                  <c:v>0.04577801319622767</c:v>
                </c:pt>
                <c:pt idx="8">
                  <c:v>0.08546457400135878</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0.5</c:v>
                </c:pt>
                <c:pt idx="1">
                  <c:v>0.37</c:v>
                </c:pt>
                <c:pt idx="2">
                  <c:v>0.68</c:v>
                </c:pt>
                <c:pt idx="3">
                  <c:v>0.05</c:v>
                </c:pt>
                <c:pt idx="4">
                  <c:v>0.53</c:v>
                </c:pt>
                <c:pt idx="5">
                  <c:v>0.32</c:v>
                </c:pt>
                <c:pt idx="6">
                  <c:v>0.23</c:v>
                </c:pt>
                <c:pt idx="7">
                  <c:v>0.44</c:v>
                </c:pt>
                <c:pt idx="8">
                  <c:v>0.8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B$2:$B$4</c:f>
              <c:numCache>
                <c:formatCode>General</c:formatCode>
                <c:ptCount val="3"/>
                <c:pt idx="0">
                  <c:v>0.3606890740691595</c:v>
                </c:pt>
                <c:pt idx="1">
                  <c:v>0.18290385074706086</c:v>
                </c:pt>
                <c:pt idx="2">
                  <c:v>0.05734654069690294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C$2:$C$4</c:f>
              <c:numCache>
                <c:formatCode>General</c:formatCode>
                <c:ptCount val="3"/>
                <c:pt idx="0">
                  <c:v>0.2525921168189385</c:v>
                </c:pt>
                <c:pt idx="1">
                  <c:v>0.19022401656857477</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D$2:$D$4</c:f>
              <c:numCache>
                <c:formatCode>General</c:formatCode>
                <c:ptCount val="3"/>
                <c:pt idx="0">
                  <c:v>0.19</c:v>
                </c:pt>
                <c:pt idx="1">
                  <c:v>0.3</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373080846686539</c:v>
                </c:pt>
                <c:pt idx="1">
                  <c:v>0.22033854958469848</c:v>
                </c:pt>
                <c:pt idx="2">
                  <c:v>0.11927379778524806</c:v>
                </c:pt>
                <c:pt idx="3">
                  <c:v>0.0207238720933867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6656615010380188</c:v>
                </c:pt>
                <c:pt idx="1">
                  <c:v>0.2279531109107304</c:v>
                </c:pt>
                <c:pt idx="2">
                  <c:v>0.0996875458720406</c:v>
                </c:pt>
                <c:pt idx="3">
                  <c:v>0.006697842179210267</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71</c:v>
                </c:pt>
                <c:pt idx="1">
                  <c:v>0.72</c:v>
                </c:pt>
                <c:pt idx="2">
                  <c:v>0.59</c:v>
                </c:pt>
                <c:pt idx="3">
                  <c:v>0.2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Taittinger</c:v>
                </c:pt>
                <c:pt idx="5">
                  <c:v>Canard Duchêne</c:v>
                </c:pt>
                <c:pt idx="6">
                  <c:v>Heidsieck &amp; Co Monopole</c:v>
                </c:pt>
                <c:pt idx="7">
                  <c:v>De Bligny</c:v>
                </c:pt>
                <c:pt idx="8">
                  <c:v>Roederer</c:v>
                </c:pt>
              </c:strCache>
            </c:strRef>
          </c:cat>
          <c:val>
            <c:numRef>
              <c:f>Sheet1!$B$2:$B$10</c:f>
              <c:numCache>
                <c:formatCode>General</c:formatCode>
                <c:ptCount val="9"/>
                <c:pt idx="0">
                  <c:v>0.2833218709813944</c:v>
                </c:pt>
                <c:pt idx="1">
                  <c:v>0.09925803314179675</c:v>
                </c:pt>
                <c:pt idx="2">
                  <c:v>0.09606654810932234</c:v>
                </c:pt>
                <c:pt idx="3">
                  <c:v>0.048399272378037865</c:v>
                </c:pt>
                <c:pt idx="4">
                  <c:v>0.04714841778848502</c:v>
                </c:pt>
                <c:pt idx="5">
                  <c:v>0.0462978977097</c:v>
                </c:pt>
                <c:pt idx="6">
                  <c:v>0.04243901893119333</c:v>
                </c:pt>
                <c:pt idx="7">
                  <c:v>0.0379127464066544</c:v>
                </c:pt>
                <c:pt idx="8">
                  <c:v>0.0359319299073787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Taittinger</c:v>
                </c:pt>
                <c:pt idx="5">
                  <c:v>Canard Duchêne</c:v>
                </c:pt>
                <c:pt idx="6">
                  <c:v>Heidsieck &amp; Co Monopole</c:v>
                </c:pt>
                <c:pt idx="7">
                  <c:v>De Bligny</c:v>
                </c:pt>
                <c:pt idx="8">
                  <c:v>Roederer</c:v>
                </c:pt>
              </c:strCache>
            </c:strRef>
          </c:cat>
          <c:val>
            <c:numRef>
              <c:f>Sheet1!$C$2:$C$10</c:f>
              <c:numCache>
                <c:formatCode>General</c:formatCode>
                <c:ptCount val="9"/>
                <c:pt idx="0">
                  <c:v>0.2817265326304822</c:v>
                </c:pt>
                <c:pt idx="1">
                  <c:v>0.005371822379981104</c:v>
                </c:pt>
                <c:pt idx="2">
                  <c:v>0.04793250509920267</c:v>
                </c:pt>
                <c:pt idx="3">
                  <c:v>0.05606915490097392</c:v>
                </c:pt>
                <c:pt idx="4">
                  <c:v>0.07340975514997396</c:v>
                </c:pt>
                <c:pt idx="5">
                  <c:v>0.07097162989059892</c:v>
                </c:pt>
                <c:pt idx="6">
                  <c:v>0.08270089975541486</c:v>
                </c:pt>
                <c:pt idx="7">
                  <c:v>0.04728682683902413</c:v>
                </c:pt>
                <c:pt idx="8">
                  <c:v>0.0360807219234810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Taittinger</c:v>
                </c:pt>
                <c:pt idx="5">
                  <c:v>Canard Duchêne</c:v>
                </c:pt>
                <c:pt idx="6">
                  <c:v>Heidsieck &amp; Co Monopole</c:v>
                </c:pt>
                <c:pt idx="7">
                  <c:v>De Bligny</c:v>
                </c:pt>
                <c:pt idx="8">
                  <c:v>Roederer</c:v>
                </c:pt>
              </c:strCache>
            </c:strRef>
          </c:cat>
          <c:val>
            <c:numRef>
              <c:f>Sheet1!$D$2:$D$10</c:f>
              <c:numCache>
                <c:formatCode>General</c:formatCode>
                <c:ptCount val="9"/>
                <c:pt idx="0">
                  <c:v>0.45</c:v>
                </c:pt>
                <c:pt idx="1">
                  <c:v>0.02</c:v>
                </c:pt>
                <c:pt idx="2">
                  <c:v>0.24</c:v>
                </c:pt>
                <c:pt idx="3">
                  <c:v>0.58</c:v>
                </c:pt>
                <c:pt idx="4">
                  <c:v>0.74</c:v>
                </c:pt>
                <c:pt idx="5">
                  <c:v>0.74</c:v>
                </c:pt>
                <c:pt idx="6">
                  <c:v>0.91</c:v>
                </c:pt>
                <c:pt idx="7">
                  <c:v>0.58</c:v>
                </c:pt>
                <c:pt idx="8">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0.7596925197679539</c:v>
                </c:pt>
                <c:pt idx="1">
                  <c:v>0.2233252283126878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8082360831656606</c:v>
                </c:pt>
                <c:pt idx="1">
                  <c:v>0.1852716297786720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D$2:$D$3</c:f>
              <c:numCache>
                <c:formatCode>General</c:formatCode>
                <c:ptCount val="2"/>
                <c:pt idx="0">
                  <c:v>0.79</c:v>
                </c:pt>
                <c:pt idx="1">
                  <c:v>0.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Vilaveroni</c:v>
                </c:pt>
              </c:strCache>
            </c:strRef>
          </c:cat>
          <c:val>
            <c:numRef>
              <c:f>Sheet1!$B$2:$B$5</c:f>
              <c:numCache>
                <c:formatCode>General</c:formatCode>
                <c:ptCount val="4"/>
                <c:pt idx="0">
                  <c:v>0.33717836994908956</c:v>
                </c:pt>
                <c:pt idx="1">
                  <c:v>0.14173508232812</c:v>
                </c:pt>
                <c:pt idx="2">
                  <c:v>0.06274365912947759</c:v>
                </c:pt>
                <c:pt idx="3">
                  <c:v>0.02895243773792597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Vilaveroni</c:v>
                </c:pt>
              </c:strCache>
            </c:strRef>
          </c:cat>
          <c:val>
            <c:numRef>
              <c:f>Sheet1!$C$2:$C$5</c:f>
              <c:numCache>
                <c:formatCode>General</c:formatCode>
                <c:ptCount val="4"/>
                <c:pt idx="0">
                  <c:v>0.16970699638643388</c:v>
                </c:pt>
                <c:pt idx="1">
                  <c:v>0.11110627367321171</c:v>
                </c:pt>
                <c:pt idx="2">
                  <c:v>0.0</c:v>
                </c:pt>
                <c:pt idx="3">
                  <c:v>0.00661761504636684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Vilaveroni</c:v>
                </c:pt>
              </c:strCache>
            </c:strRef>
          </c:cat>
          <c:val>
            <c:numRef>
              <c:f>Sheet1!$D$2:$D$5</c:f>
              <c:numCache>
                <c:formatCode>General</c:formatCode>
                <c:ptCount val="4"/>
                <c:pt idx="0">
                  <c:v>0.15</c:v>
                </c:pt>
                <c:pt idx="1">
                  <c:v>0.23</c:v>
                </c:pt>
                <c:pt idx="2">
                  <c:v>0.0</c:v>
                </c:pt>
                <c:pt idx="3">
                  <c:v>0.07</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0.592695623433497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0.07</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B$2:$B$10</c:f>
              <c:numCache>
                <c:formatCode>General</c:formatCode>
                <c:ptCount val="9"/>
                <c:pt idx="0">
                  <c:v>0.2853843460302257</c:v>
                </c:pt>
                <c:pt idx="1">
                  <c:v>0.13809509205451992</c:v>
                </c:pt>
                <c:pt idx="2">
                  <c:v>0.10078932761392945</c:v>
                </c:pt>
                <c:pt idx="3">
                  <c:v>0.09047593209645832</c:v>
                </c:pt>
                <c:pt idx="4">
                  <c:v>0.08719776732950055</c:v>
                </c:pt>
                <c:pt idx="5">
                  <c:v>0.05515115382839564</c:v>
                </c:pt>
                <c:pt idx="6">
                  <c:v>0.04730674516018252</c:v>
                </c:pt>
                <c:pt idx="7">
                  <c:v>0.04397971292214333</c:v>
                </c:pt>
                <c:pt idx="8">
                  <c:v>0.03488699313058163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0.3273530714791492</c:v>
                </c:pt>
                <c:pt idx="1">
                  <c:v>0.15246733133654689</c:v>
                </c:pt>
                <c:pt idx="2">
                  <c:v>0.1726365154435403</c:v>
                </c:pt>
                <c:pt idx="3">
                  <c:v>0.01671677565687585</c:v>
                </c:pt>
                <c:pt idx="4">
                  <c:v>0.11480891056491892</c:v>
                </c:pt>
                <c:pt idx="5">
                  <c:v>0.05004998277109027</c:v>
                </c:pt>
                <c:pt idx="6">
                  <c:v>0.03080661590133704</c:v>
                </c:pt>
                <c:pt idx="7">
                  <c:v>0.059293955492614285</c:v>
                </c:pt>
                <c:pt idx="8">
                  <c:v>0.0758668413539272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Demoiselle</c:v>
                </c:pt>
                <c:pt idx="3">
                  <c:v>Nicolas</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0.43</c:v>
                </c:pt>
                <c:pt idx="1">
                  <c:v>0.41</c:v>
                </c:pt>
                <c:pt idx="2">
                  <c:v>0.63</c:v>
                </c:pt>
                <c:pt idx="3">
                  <c:v>0.06</c:v>
                </c:pt>
                <c:pt idx="4">
                  <c:v>0.49</c:v>
                </c:pt>
                <c:pt idx="5">
                  <c:v>0.35</c:v>
                </c:pt>
                <c:pt idx="6">
                  <c:v>0.25</c:v>
                </c:pt>
                <c:pt idx="7">
                  <c:v>0.51</c:v>
                </c:pt>
                <c:pt idx="8">
                  <c:v>0.7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106142519492515</c:v>
                </c:pt>
                <c:pt idx="1">
                  <c:v>0.1593305984949333</c:v>
                </c:pt>
                <c:pt idx="2">
                  <c:v>0.07932842511342335</c:v>
                </c:pt>
                <c:pt idx="3">
                  <c:v>0.0374093292401314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7270844617198203</c:v>
                </c:pt>
                <c:pt idx="1">
                  <c:v>0.18592888775607735</c:v>
                </c:pt>
                <c:pt idx="2">
                  <c:v>0.07049893267913468</c:v>
                </c:pt>
                <c:pt idx="3">
                  <c:v>0.0164877178449676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7</c:v>
                </c:pt>
                <c:pt idx="1">
                  <c:v>0.81</c:v>
                </c:pt>
                <c:pt idx="2">
                  <c:v>0.63</c:v>
                </c:pt>
                <c:pt idx="3">
                  <c:v>0.3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B$2:$B$4</c:f>
              <c:numCache>
                <c:formatCode>General</c:formatCode>
                <c:ptCount val="3"/>
                <c:pt idx="0">
                  <c:v>0.4020676266973438</c:v>
                </c:pt>
                <c:pt idx="1">
                  <c:v>0.16465519012305102</c:v>
                </c:pt>
                <c:pt idx="2">
                  <c:v>0.04237967090531851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C$2:$C$4</c:f>
              <c:numCache>
                <c:formatCode>General</c:formatCode>
                <c:ptCount val="3"/>
                <c:pt idx="0">
                  <c:v>0.23228577796689157</c:v>
                </c:pt>
                <c:pt idx="1">
                  <c:v>0.14258505055417098</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D$2:$D$4</c:f>
              <c:numCache>
                <c:formatCode>General</c:formatCode>
                <c:ptCount val="3"/>
                <c:pt idx="0">
                  <c:v>0.16</c:v>
                </c:pt>
                <c:pt idx="1">
                  <c:v>0.25</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B$2:$B$4</c:f>
              <c:numCache>
                <c:formatCode>General</c:formatCode>
                <c:ptCount val="3"/>
                <c:pt idx="0">
                  <c:v>0.35108226938361375</c:v>
                </c:pt>
                <c:pt idx="1">
                  <c:v>0.25517882810518305</c:v>
                </c:pt>
                <c:pt idx="2">
                  <c:v>0.1815549167159888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C$2:$C$4</c:f>
              <c:numCache>
                <c:formatCode>General</c:formatCode>
                <c:ptCount val="3"/>
                <c:pt idx="0">
                  <c:v>0.6198870443265446</c:v>
                </c:pt>
                <c:pt idx="1">
                  <c:v>0.11492384049289749</c:v>
                </c:pt>
                <c:pt idx="2">
                  <c:v>0.2348964572993325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D$2:$D$4</c:f>
              <c:numCache>
                <c:formatCode>General</c:formatCode>
                <c:ptCount val="3"/>
                <c:pt idx="0">
                  <c:v>0.47</c:v>
                </c:pt>
                <c:pt idx="1">
                  <c:v>0.14</c:v>
                </c:pt>
                <c:pt idx="2">
                  <c:v>0.3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706199460916442</c:v>
                </c:pt>
                <c:pt idx="1">
                  <c:v>0.129380053908355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8</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Louis Martin</c:v>
                </c:pt>
                <c:pt idx="2">
                  <c:v>Vesselle</c:v>
                </c:pt>
                <c:pt idx="3">
                  <c:v>Nicolas</c:v>
                </c:pt>
              </c:strCache>
            </c:strRef>
          </c:cat>
          <c:val>
            <c:numRef>
              <c:f>Sheet1!$B$2:$B$5</c:f>
              <c:numCache>
                <c:formatCode>General</c:formatCode>
                <c:ptCount val="4"/>
                <c:pt idx="0">
                  <c:v>-0.128</c:v>
                </c:pt>
                <c:pt idx="1">
                  <c:v>1.2730000000000001</c:v>
                </c:pt>
                <c:pt idx="2">
                  <c:v>-0.07099999999999995</c:v>
                </c:pt>
                <c:pt idx="3">
                  <c:v>0.04000000000000003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B$2:$B$10</c:f>
              <c:numCache>
                <c:formatCode>General</c:formatCode>
                <c:ptCount val="9"/>
                <c:pt idx="0">
                  <c:v>0.3241496840161897</c:v>
                </c:pt>
                <c:pt idx="1">
                  <c:v>0.16874329082623604</c:v>
                </c:pt>
                <c:pt idx="2">
                  <c:v>0.11071755266048762</c:v>
                </c:pt>
                <c:pt idx="3">
                  <c:v>0.09203837751815915</c:v>
                </c:pt>
                <c:pt idx="4">
                  <c:v>0.0849585023244546</c:v>
                </c:pt>
                <c:pt idx="5">
                  <c:v>0.0699842530209556</c:v>
                </c:pt>
                <c:pt idx="6">
                  <c:v>0.04671046860837639</c:v>
                </c:pt>
                <c:pt idx="7">
                  <c:v>0.03395833942467138</c:v>
                </c:pt>
                <c:pt idx="8">
                  <c:v>0.0332190250239128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C$2:$C$10</c:f>
              <c:numCache>
                <c:formatCode>General</c:formatCode>
                <c:ptCount val="9"/>
                <c:pt idx="0">
                  <c:v>0.3739810890120639</c:v>
                </c:pt>
                <c:pt idx="1">
                  <c:v>0.18481862069690883</c:v>
                </c:pt>
                <c:pt idx="2">
                  <c:v>0.02515855569696141</c:v>
                </c:pt>
                <c:pt idx="3">
                  <c:v>0.12240604983329302</c:v>
                </c:pt>
                <c:pt idx="4">
                  <c:v>0.13648937177235293</c:v>
                </c:pt>
                <c:pt idx="5">
                  <c:v>0.03718039063075192</c:v>
                </c:pt>
                <c:pt idx="6">
                  <c:v>0.017385908263828267</c:v>
                </c:pt>
                <c:pt idx="7">
                  <c:v>0.070037969224944</c:v>
                </c:pt>
                <c:pt idx="8">
                  <c:v>0.0325420448688957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utz</c:v>
                </c:pt>
                <c:pt idx="2">
                  <c:v>Nicolas</c:v>
                </c:pt>
                <c:pt idx="3">
                  <c:v>Laurent Perrier</c:v>
                </c:pt>
                <c:pt idx="4">
                  <c:v>Demoiselle</c:v>
                </c:pt>
                <c:pt idx="5">
                  <c:v>Nicolas Feuillatte</c:v>
                </c:pt>
                <c:pt idx="6">
                  <c:v>Besserat De Bellefon</c:v>
                </c:pt>
                <c:pt idx="7">
                  <c:v>Pommery</c:v>
                </c:pt>
                <c:pt idx="8">
                  <c:v>Malard</c:v>
                </c:pt>
              </c:strCache>
            </c:strRef>
          </c:cat>
          <c:val>
            <c:numRef>
              <c:f>Sheet1!$D$2:$D$10</c:f>
              <c:numCache>
                <c:formatCode>General</c:formatCode>
                <c:ptCount val="9"/>
                <c:pt idx="0">
                  <c:v>0.48</c:v>
                </c:pt>
                <c:pt idx="1">
                  <c:v>0.47</c:v>
                </c:pt>
                <c:pt idx="2">
                  <c:v>0.08</c:v>
                </c:pt>
                <c:pt idx="3">
                  <c:v>0.53</c:v>
                </c:pt>
                <c:pt idx="4">
                  <c:v>0.66</c:v>
                </c:pt>
                <c:pt idx="5">
                  <c:v>0.23</c:v>
                </c:pt>
                <c:pt idx="6">
                  <c:v>0.16</c:v>
                </c:pt>
                <c:pt idx="7">
                  <c:v>0.8</c:v>
                </c:pt>
                <c:pt idx="8">
                  <c:v>0.39</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Heidsieck &amp; Co Monopole</c:v>
                </c:pt>
                <c:pt idx="4">
                  <c:v>Ayala</c:v>
                </c:pt>
                <c:pt idx="5">
                  <c:v>De Bligny</c:v>
                </c:pt>
                <c:pt idx="6">
                  <c:v>Canard Duchêne</c:v>
                </c:pt>
                <c:pt idx="7">
                  <c:v>Laurent Perrier</c:v>
                </c:pt>
                <c:pt idx="8">
                  <c:v>Roederer</c:v>
                </c:pt>
              </c:strCache>
            </c:strRef>
          </c:cat>
          <c:val>
            <c:numRef>
              <c:f>Sheet1!$B$2:$B$10</c:f>
              <c:numCache>
                <c:formatCode>General</c:formatCode>
                <c:ptCount val="9"/>
                <c:pt idx="0">
                  <c:v>0.1812204226462097</c:v>
                </c:pt>
                <c:pt idx="1">
                  <c:v>0.1428039811935123</c:v>
                </c:pt>
                <c:pt idx="2">
                  <c:v>0.11082987663528408</c:v>
                </c:pt>
                <c:pt idx="3">
                  <c:v>0.06999919268961222</c:v>
                </c:pt>
                <c:pt idx="4">
                  <c:v>0.050912068521430244</c:v>
                </c:pt>
                <c:pt idx="5">
                  <c:v>0.050060163845565366</c:v>
                </c:pt>
                <c:pt idx="6">
                  <c:v>0.04205010706473476</c:v>
                </c:pt>
                <c:pt idx="7">
                  <c:v>0.03919222829200032</c:v>
                </c:pt>
                <c:pt idx="8">
                  <c:v>0.0349204030401002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Heidsieck &amp; Co Monopole</c:v>
                </c:pt>
                <c:pt idx="4">
                  <c:v>Ayala</c:v>
                </c:pt>
                <c:pt idx="5">
                  <c:v>De Bligny</c:v>
                </c:pt>
                <c:pt idx="6">
                  <c:v>Canard Duchêne</c:v>
                </c:pt>
                <c:pt idx="7">
                  <c:v>Laurent Perrier</c:v>
                </c:pt>
                <c:pt idx="8">
                  <c:v>Roederer</c:v>
                </c:pt>
              </c:strCache>
            </c:strRef>
          </c:cat>
          <c:val>
            <c:numRef>
              <c:f>Sheet1!$C$2:$C$10</c:f>
              <c:numCache>
                <c:formatCode>General</c:formatCode>
                <c:ptCount val="9"/>
                <c:pt idx="0">
                  <c:v>0.19581088897883037</c:v>
                </c:pt>
                <c:pt idx="1">
                  <c:v>0.009600769868139236</c:v>
                </c:pt>
                <c:pt idx="2">
                  <c:v>0.047345500909354625</c:v>
                </c:pt>
                <c:pt idx="3">
                  <c:v>0.14666231241846642</c:v>
                </c:pt>
                <c:pt idx="4">
                  <c:v>0.060823404547294256</c:v>
                </c:pt>
                <c:pt idx="5">
                  <c:v>0.06745900087374475</c:v>
                </c:pt>
                <c:pt idx="6">
                  <c:v>0.06937324881922864</c:v>
                </c:pt>
                <c:pt idx="7">
                  <c:v>0.036841456148609564</c:v>
                </c:pt>
                <c:pt idx="8">
                  <c:v>0.0315607721610678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Heidsieck &amp; Co Monopole</c:v>
                </c:pt>
                <c:pt idx="4">
                  <c:v>Ayala</c:v>
                </c:pt>
                <c:pt idx="5">
                  <c:v>De Bligny</c:v>
                </c:pt>
                <c:pt idx="6">
                  <c:v>Canard Duchêne</c:v>
                </c:pt>
                <c:pt idx="7">
                  <c:v>Laurent Perrier</c:v>
                </c:pt>
                <c:pt idx="8">
                  <c:v>Roederer</c:v>
                </c:pt>
              </c:strCache>
            </c:strRef>
          </c:cat>
          <c:val>
            <c:numRef>
              <c:f>Sheet1!$D$2:$D$10</c:f>
              <c:numCache>
                <c:formatCode>General</c:formatCode>
                <c:ptCount val="9"/>
                <c:pt idx="0">
                  <c:v>0.47</c:v>
                </c:pt>
                <c:pt idx="1">
                  <c:v>0.02</c:v>
                </c:pt>
                <c:pt idx="2">
                  <c:v>0.19</c:v>
                </c:pt>
                <c:pt idx="3">
                  <c:v>0.94</c:v>
                </c:pt>
                <c:pt idx="4">
                  <c:v>0.54</c:v>
                </c:pt>
                <c:pt idx="5">
                  <c:v>0.61</c:v>
                </c:pt>
                <c:pt idx="6">
                  <c:v>0.76</c:v>
                </c:pt>
                <c:pt idx="7">
                  <c:v>0.45</c:v>
                </c:pt>
                <c:pt idx="8">
                  <c:v>0.4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8489193628281669</c:v>
                </c:pt>
                <c:pt idx="1">
                  <c:v>0.13264853872826343</c:v>
                </c:pt>
                <c:pt idx="2">
                  <c:v>0.010871548869828194</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9046090261633271</c:v>
                </c:pt>
                <c:pt idx="1">
                  <c:v>0.09413631499317318</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0.78</c:v>
                </c:pt>
                <c:pt idx="1">
                  <c:v>0.49</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Louis Martin</c:v>
                </c:pt>
                <c:pt idx="2">
                  <c:v>Vesselle</c:v>
                </c:pt>
                <c:pt idx="3">
                  <c:v>Nicolas</c:v>
                </c:pt>
              </c:strCache>
            </c:strRef>
          </c:cat>
          <c:val>
            <c:numRef>
              <c:f>Sheet1!$B$2:$B$5</c:f>
              <c:numCache>
                <c:formatCode>General</c:formatCode>
                <c:ptCount val="4"/>
                <c:pt idx="0">
                  <c:v>-0.13335819621212375</c:v>
                </c:pt>
                <c:pt idx="1">
                  <c:v>0.29436968736647784</c:v>
                </c:pt>
                <c:pt idx="2">
                  <c:v>-0.6198209559365029</c:v>
                </c:pt>
                <c:pt idx="3">
                  <c:v>0.739093959731543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3586566677535051</c:v>
                </c:pt>
                <c:pt idx="1">
                  <c:v>0.06455820019563091</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7</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Canard Duchêne</c:v>
                </c:pt>
                <c:pt idx="5">
                  <c:v>Bollinger</c:v>
                </c:pt>
                <c:pt idx="6">
                  <c:v>Ayala</c:v>
                </c:pt>
                <c:pt idx="7">
                  <c:v>Taittinger</c:v>
                </c:pt>
                <c:pt idx="8">
                  <c:v>De Bligny</c:v>
                </c:pt>
              </c:strCache>
            </c:strRef>
          </c:cat>
          <c:val>
            <c:numRef>
              <c:f>Sheet1!$B$2:$B$10</c:f>
              <c:numCache>
                <c:formatCode>General</c:formatCode>
                <c:ptCount val="9"/>
                <c:pt idx="0">
                  <c:v>0.17758169589492231</c:v>
                </c:pt>
                <c:pt idx="1">
                  <c:v>0.11185724641507803</c:v>
                </c:pt>
                <c:pt idx="2">
                  <c:v>0.07449532651954124</c:v>
                </c:pt>
                <c:pt idx="3">
                  <c:v>0.047288805250044405</c:v>
                </c:pt>
                <c:pt idx="4">
                  <c:v>0.04571225570443056</c:v>
                </c:pt>
                <c:pt idx="5">
                  <c:v>0.040230817607043584</c:v>
                </c:pt>
                <c:pt idx="6">
                  <c:v>0.03954335751285387</c:v>
                </c:pt>
                <c:pt idx="7">
                  <c:v>0.03285598383124583</c:v>
                </c:pt>
                <c:pt idx="8">
                  <c:v>0.0318814419379461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Canard Duchêne</c:v>
                </c:pt>
                <c:pt idx="5">
                  <c:v>Bollinger</c:v>
                </c:pt>
                <c:pt idx="6">
                  <c:v>Ayala</c:v>
                </c:pt>
                <c:pt idx="7">
                  <c:v>Taittinger</c:v>
                </c:pt>
                <c:pt idx="8">
                  <c:v>De Bligny</c:v>
                </c:pt>
              </c:strCache>
            </c:strRef>
          </c:cat>
          <c:val>
            <c:numRef>
              <c:f>Sheet1!$C$2:$C$10</c:f>
              <c:numCache>
                <c:formatCode>General</c:formatCode>
                <c:ptCount val="9"/>
                <c:pt idx="0">
                  <c:v>0.21280172566573327</c:v>
                </c:pt>
                <c:pt idx="1">
                  <c:v>0.004316696119783887</c:v>
                </c:pt>
                <c:pt idx="2">
                  <c:v>0.0447392006643408</c:v>
                </c:pt>
                <c:pt idx="3">
                  <c:v>0.06410230443214558</c:v>
                </c:pt>
                <c:pt idx="4">
                  <c:v>0.08558198178126376</c:v>
                </c:pt>
                <c:pt idx="5">
                  <c:v>0.05711457346991478</c:v>
                </c:pt>
                <c:pt idx="6">
                  <c:v>0.055114462071305236</c:v>
                </c:pt>
                <c:pt idx="7">
                  <c:v>0.05665125652567991</c:v>
                </c:pt>
                <c:pt idx="8">
                  <c:v>0.04569621599177675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Laurent Perrier</c:v>
                </c:pt>
                <c:pt idx="4">
                  <c:v>Canard Duchêne</c:v>
                </c:pt>
                <c:pt idx="5">
                  <c:v>Bollinger</c:v>
                </c:pt>
                <c:pt idx="6">
                  <c:v>Ayala</c:v>
                </c:pt>
                <c:pt idx="7">
                  <c:v>Taittinger</c:v>
                </c:pt>
                <c:pt idx="8">
                  <c:v>De Bligny</c:v>
                </c:pt>
              </c:strCache>
            </c:strRef>
          </c:cat>
          <c:val>
            <c:numRef>
              <c:f>Sheet1!$D$2:$D$10</c:f>
              <c:numCache>
                <c:formatCode>General</c:formatCode>
                <c:ptCount val="9"/>
                <c:pt idx="0">
                  <c:v>0.45</c:v>
                </c:pt>
                <c:pt idx="1">
                  <c:v>0.01</c:v>
                </c:pt>
                <c:pt idx="2">
                  <c:v>0.23</c:v>
                </c:pt>
                <c:pt idx="3">
                  <c:v>0.56</c:v>
                </c:pt>
                <c:pt idx="4">
                  <c:v>0.74</c:v>
                </c:pt>
                <c:pt idx="5">
                  <c:v>0.57</c:v>
                </c:pt>
                <c:pt idx="6">
                  <c:v>0.54</c:v>
                </c:pt>
                <c:pt idx="7">
                  <c:v>0.67</c:v>
                </c:pt>
                <c:pt idx="8">
                  <c:v>0.5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6</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vian</c:v>
                </c:pt>
                <c:pt idx="1">
                  <c:v>Bottega</c:v>
                </c:pt>
                <c:pt idx="2">
                  <c:v>Contarini</c:v>
                </c:pt>
              </c:strCache>
            </c:strRef>
          </c:cat>
          <c:val>
            <c:numRef>
              <c:f>Sheet1!$B$2:$B$4</c:f>
              <c:numCache>
                <c:formatCode>General</c:formatCode>
                <c:ptCount val="3"/>
                <c:pt idx="0">
                  <c:v>0.2261480032224652</c:v>
                </c:pt>
                <c:pt idx="1">
                  <c:v>0.1983542409943607</c:v>
                </c:pt>
                <c:pt idx="2">
                  <c:v>0.10214063758775463</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vian</c:v>
                </c:pt>
                <c:pt idx="1">
                  <c:v>Bottega</c:v>
                </c:pt>
                <c:pt idx="2">
                  <c:v>Contarini</c:v>
                </c:pt>
              </c:strCache>
            </c:strRef>
          </c:cat>
          <c:val>
            <c:numRef>
              <c:f>Sheet1!$C$2:$C$4</c:f>
              <c:numCache>
                <c:formatCode>General</c:formatCode>
                <c:ptCount val="3"/>
                <c:pt idx="0">
                  <c:v>0.25456442357850806</c:v>
                </c:pt>
                <c:pt idx="1">
                  <c:v>0.08850634672230917</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vian</c:v>
                </c:pt>
                <c:pt idx="1">
                  <c:v>Bottega</c:v>
                </c:pt>
                <c:pt idx="2">
                  <c:v>Contarini</c:v>
                </c:pt>
              </c:strCache>
            </c:strRef>
          </c:cat>
          <c:val>
            <c:numRef>
              <c:f>Sheet1!$D$2:$D$4</c:f>
              <c:numCache>
                <c:formatCode>General</c:formatCode>
                <c:ptCount val="3"/>
                <c:pt idx="0">
                  <c:v>0.41</c:v>
                </c:pt>
                <c:pt idx="1">
                  <c:v>0.16</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727878473288912</c:v>
                </c:pt>
                <c:pt idx="1">
                  <c:v>0.1821801608067882</c:v>
                </c:pt>
                <c:pt idx="2">
                  <c:v>0.13052971959448723</c:v>
                </c:pt>
                <c:pt idx="3">
                  <c:v>0.013675992330427229</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6770905098989287</c:v>
                </c:pt>
                <c:pt idx="1">
                  <c:v>0.2008498315478669</c:v>
                </c:pt>
                <c:pt idx="2">
                  <c:v>0.11664837036756634</c:v>
                </c:pt>
                <c:pt idx="3">
                  <c:v>0.00541128818563803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7</c:v>
                </c:pt>
                <c:pt idx="1">
                  <c:v>0.79</c:v>
                </c:pt>
                <c:pt idx="2">
                  <c:v>0.65</c:v>
                </c:pt>
                <c:pt idx="3">
                  <c:v>0.3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B$2:$B$10</c:f>
              <c:numCache>
                <c:formatCode>General</c:formatCode>
                <c:ptCount val="9"/>
                <c:pt idx="0">
                  <c:v>0.46920777874029573</c:v>
                </c:pt>
                <c:pt idx="1">
                  <c:v>0.26305680397260156</c:v>
                </c:pt>
                <c:pt idx="2">
                  <c:v>0.07060214713719891</c:v>
                </c:pt>
                <c:pt idx="3">
                  <c:v>0.04562884811822351</c:v>
                </c:pt>
                <c:pt idx="4">
                  <c:v>0.028593573721384356</c:v>
                </c:pt>
                <c:pt idx="5">
                  <c:v>0.026996850205798843</c:v>
                </c:pt>
                <c:pt idx="6">
                  <c:v>0.025453480149118066</c:v>
                </c:pt>
                <c:pt idx="7">
                  <c:v>0.019012262564982087</c:v>
                </c:pt>
                <c:pt idx="8">
                  <c:v>0.0122024210829588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C$2:$C$10</c:f>
              <c:numCache>
                <c:formatCode>General</c:formatCode>
                <c:ptCount val="9"/>
                <c:pt idx="0">
                  <c:v>0.4895499987896686</c:v>
                </c:pt>
                <c:pt idx="1">
                  <c:v>0.245450364309748</c:v>
                </c:pt>
                <c:pt idx="2">
                  <c:v>0.09221272784488393</c:v>
                </c:pt>
                <c:pt idx="3">
                  <c:v>0.16329791096802304</c:v>
                </c:pt>
                <c:pt idx="4">
                  <c:v>0.0</c:v>
                </c:pt>
                <c:pt idx="5">
                  <c:v>0.0</c:v>
                </c:pt>
                <c:pt idx="6">
                  <c:v>0.0</c:v>
                </c:pt>
                <c:pt idx="7">
                  <c:v>0.0</c:v>
                </c:pt>
                <c:pt idx="8">
                  <c:v>0.009488998087676406</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D$2:$D$10</c:f>
              <c:numCache>
                <c:formatCode>General</c:formatCode>
                <c:ptCount val="9"/>
                <c:pt idx="0">
                  <c:v>0.23</c:v>
                </c:pt>
                <c:pt idx="1">
                  <c:v>0.29</c:v>
                </c:pt>
                <c:pt idx="2">
                  <c:v>0.28</c:v>
                </c:pt>
                <c:pt idx="3">
                  <c:v>0.74</c:v>
                </c:pt>
                <c:pt idx="4">
                  <c:v>0.0</c:v>
                </c:pt>
                <c:pt idx="5">
                  <c:v>0.0</c:v>
                </c:pt>
                <c:pt idx="6">
                  <c:v>0.0</c:v>
                </c:pt>
                <c:pt idx="7">
                  <c:v>0.0</c:v>
                </c:pt>
                <c:pt idx="8">
                  <c:v>0.1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oederer</c:v>
                </c:pt>
                <c:pt idx="2">
                  <c:v>Malard</c:v>
                </c:pt>
                <c:pt idx="3">
                  <c:v>Ruinart</c:v>
                </c:pt>
                <c:pt idx="4">
                  <c:v>Pommery</c:v>
                </c:pt>
              </c:strCache>
            </c:strRef>
          </c:cat>
          <c:val>
            <c:numRef>
              <c:f>Sheet1!$B$2:$B$6</c:f>
              <c:numCache>
                <c:formatCode>General</c:formatCode>
                <c:ptCount val="5"/>
                <c:pt idx="0">
                  <c:v>28.0</c:v>
                </c:pt>
                <c:pt idx="1">
                  <c:v>5.6</c:v>
                </c:pt>
                <c:pt idx="2">
                  <c:v>-0.27</c:v>
                </c:pt>
                <c:pt idx="3">
                  <c:v>17.0</c:v>
                </c:pt>
                <c:pt idx="4">
                  <c:v>-0.167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B$2:$B$4</c:f>
              <c:numCache>
                <c:formatCode>General</c:formatCode>
                <c:ptCount val="3"/>
                <c:pt idx="0">
                  <c:v>0.27987204588699227</c:v>
                </c:pt>
                <c:pt idx="1">
                  <c:v>0.24006838926729723</c:v>
                </c:pt>
                <c:pt idx="2">
                  <c:v>0.127336403496677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C$2:$C$4</c:f>
              <c:numCache>
                <c:formatCode>General</c:formatCode>
                <c:ptCount val="3"/>
                <c:pt idx="0">
                  <c:v>0.6172774316189672</c:v>
                </c:pt>
                <c:pt idx="1">
                  <c:v>0.12955433519907064</c:v>
                </c:pt>
                <c:pt idx="2">
                  <c:v>0.1832294856901468</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D$2:$D$4</c:f>
              <c:numCache>
                <c:formatCode>General</c:formatCode>
                <c:ptCount val="3"/>
                <c:pt idx="0">
                  <c:v>0.5</c:v>
                </c:pt>
                <c:pt idx="1">
                  <c:v>0.14</c:v>
                </c:pt>
                <c:pt idx="2">
                  <c:v>0.3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Roederer</c:v>
                </c:pt>
                <c:pt idx="2">
                  <c:v>Malard</c:v>
                </c:pt>
                <c:pt idx="3">
                  <c:v>Ruinart</c:v>
                </c:pt>
                <c:pt idx="4">
                  <c:v>Pommery</c:v>
                </c:pt>
              </c:strCache>
            </c:strRef>
          </c:cat>
          <c:val>
            <c:numRef>
              <c:f>Sheet1!$B$2:$B$6</c:f>
              <c:numCache>
                <c:formatCode>General</c:formatCode>
                <c:ptCount val="5"/>
                <c:pt idx="0">
                  <c:v>0.0</c:v>
                </c:pt>
                <c:pt idx="1">
                  <c:v>-4.994092251760963</c:v>
                </c:pt>
                <c:pt idx="2">
                  <c:v>-0.644452096724824</c:v>
                </c:pt>
                <c:pt idx="3">
                  <c:v>-31.676012461059187</c:v>
                </c:pt>
                <c:pt idx="4">
                  <c:v>-8.54628857381150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78940357891095</c:v>
                </c:pt>
                <c:pt idx="1">
                  <c:v>0.19147750206623484</c:v>
                </c:pt>
                <c:pt idx="2">
                  <c:v>0.0140638514617410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877563152659647</c:v>
                </c:pt>
                <c:pt idx="1">
                  <c:v>0.11700822702768539</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0.77</c:v>
                </c:pt>
                <c:pt idx="1">
                  <c:v>0.41</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0.9318711227717431</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0.1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B$2:$B$10</c:f>
              <c:numCache>
                <c:formatCode>General</c:formatCode>
                <c:ptCount val="9"/>
                <c:pt idx="0">
                  <c:v>0.6617049900553386</c:v>
                </c:pt>
                <c:pt idx="1">
                  <c:v>0.06342137034384267</c:v>
                </c:pt>
                <c:pt idx="2">
                  <c:v>0.05863209692158609</c:v>
                </c:pt>
                <c:pt idx="3">
                  <c:v>0.044185823518216386</c:v>
                </c:pt>
                <c:pt idx="4">
                  <c:v>0.039989307128048594</c:v>
                </c:pt>
                <c:pt idx="5">
                  <c:v>0.028317950222937663</c:v>
                </c:pt>
                <c:pt idx="6">
                  <c:v>0.025594609397814064</c:v>
                </c:pt>
                <c:pt idx="7">
                  <c:v>0.020827854931433413</c:v>
                </c:pt>
                <c:pt idx="8">
                  <c:v>0.0180442214179968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C$2:$C$10</c:f>
              <c:numCache>
                <c:formatCode>General</c:formatCode>
                <c:ptCount val="9"/>
                <c:pt idx="0">
                  <c:v>0.0</c:v>
                </c:pt>
                <c:pt idx="1">
                  <c:v>0.0</c:v>
                </c:pt>
                <c:pt idx="2">
                  <c:v>0.415199305874547</c:v>
                </c:pt>
                <c:pt idx="3">
                  <c:v>0.05315309403504167</c:v>
                </c:pt>
                <c:pt idx="4">
                  <c:v>0.2835196243556372</c:v>
                </c:pt>
                <c:pt idx="5">
                  <c:v>0.11884711011950332</c:v>
                </c:pt>
                <c:pt idx="6">
                  <c:v>0.0</c:v>
                </c:pt>
                <c:pt idx="7">
                  <c:v>0.0</c:v>
                </c:pt>
                <c:pt idx="8">
                  <c:v>0.12928086561527077</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Malard</c:v>
                </c:pt>
                <c:pt idx="3">
                  <c:v>Besserat De Bellefon</c:v>
                </c:pt>
                <c:pt idx="4">
                  <c:v>Henriot</c:v>
                </c:pt>
                <c:pt idx="5">
                  <c:v>De Bligny</c:v>
                </c:pt>
                <c:pt idx="6">
                  <c:v>Delamotte</c:v>
                </c:pt>
                <c:pt idx="7">
                  <c:v>Ayala</c:v>
                </c:pt>
                <c:pt idx="8">
                  <c:v>De Venoge</c:v>
                </c:pt>
              </c:strCache>
            </c:strRef>
          </c:cat>
          <c:val>
            <c:numRef>
              <c:f>Sheet1!$D$2:$D$10</c:f>
              <c:numCache>
                <c:formatCode>General</c:formatCode>
                <c:ptCount val="9"/>
                <c:pt idx="0">
                  <c:v>0.0</c:v>
                </c:pt>
                <c:pt idx="1">
                  <c:v>0.0</c:v>
                </c:pt>
                <c:pt idx="2">
                  <c:v>0.73</c:v>
                </c:pt>
                <c:pt idx="3">
                  <c:v>0.14</c:v>
                </c:pt>
                <c:pt idx="4">
                  <c:v>0.73</c:v>
                </c:pt>
                <c:pt idx="5">
                  <c:v>0.45</c:v>
                </c:pt>
                <c:pt idx="6">
                  <c:v>0.0</c:v>
                </c:pt>
                <c:pt idx="7">
                  <c:v>0.0</c:v>
                </c:pt>
                <c:pt idx="8">
                  <c:v>0.74</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0.800161420500403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0.5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B$2:$B$4</c:f>
              <c:numCache>
                <c:formatCode>General</c:formatCode>
                <c:ptCount val="3"/>
                <c:pt idx="0">
                  <c:v>0.34219532076285175</c:v>
                </c:pt>
                <c:pt idx="1">
                  <c:v>0.19031210633037596</c:v>
                </c:pt>
                <c:pt idx="2">
                  <c:v>0.057779753844910166</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C$2:$C$4</c:f>
              <c:numCache>
                <c:formatCode>General</c:formatCode>
                <c:ptCount val="3"/>
                <c:pt idx="0">
                  <c:v>0.2593262615464737</c:v>
                </c:pt>
                <c:pt idx="1">
                  <c:v>0.1942822684538004</c:v>
                </c:pt>
                <c:pt idx="2">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Contarini</c:v>
                </c:pt>
              </c:strCache>
            </c:strRef>
          </c:cat>
          <c:val>
            <c:numRef>
              <c:f>Sheet1!$D$2:$D$4</c:f>
              <c:numCache>
                <c:formatCode>General</c:formatCode>
                <c:ptCount val="3"/>
                <c:pt idx="0">
                  <c:v>0.2</c:v>
                </c:pt>
                <c:pt idx="1">
                  <c:v>0.29</c:v>
                </c:pt>
                <c:pt idx="2">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017138451806753</c:v>
                </c:pt>
                <c:pt idx="1">
                  <c:v>0.1788329248043014</c:v>
                </c:pt>
                <c:pt idx="2">
                  <c:v>0.08025223373131968</c:v>
                </c:pt>
                <c:pt idx="3">
                  <c:v>0.03891041353680714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703245495809515</c:v>
                </c:pt>
                <c:pt idx="1">
                  <c:v>0.2120338956793853</c:v>
                </c:pt>
                <c:pt idx="2">
                  <c:v>0.06138712026149866</c:v>
                </c:pt>
                <c:pt idx="3">
                  <c:v>0.02333348824960109</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0.64</c:v>
                </c:pt>
                <c:pt idx="1">
                  <c:v>0.78</c:v>
                </c:pt>
                <c:pt idx="2">
                  <c:v>0.51</c:v>
                </c:pt>
                <c:pt idx="3">
                  <c:v>0.4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Malard</c:v>
                </c:pt>
                <c:pt idx="3">
                  <c:v>Ruinart</c:v>
                </c:pt>
                <c:pt idx="4">
                  <c:v>Laurent Perrier</c:v>
                </c:pt>
                <c:pt idx="5">
                  <c:v>Bollinger</c:v>
                </c:pt>
                <c:pt idx="6">
                  <c:v>Piper Heidsieck</c:v>
                </c:pt>
                <c:pt idx="7">
                  <c:v>Pommery</c:v>
                </c:pt>
              </c:strCache>
            </c:strRef>
          </c:cat>
          <c:val>
            <c:numRef>
              <c:f>Sheet1!$B$2:$B$9</c:f>
              <c:numCache>
                <c:formatCode>General</c:formatCode>
                <c:ptCount val="8"/>
                <c:pt idx="0">
                  <c:v>0.3980284058454686</c:v>
                </c:pt>
                <c:pt idx="1">
                  <c:v>0.20647827844916664</c:v>
                </c:pt>
                <c:pt idx="2">
                  <c:v>0.14550775609223876</c:v>
                </c:pt>
                <c:pt idx="3">
                  <c:v>0.1330697695314255</c:v>
                </c:pt>
                <c:pt idx="4">
                  <c:v>0.03288557437441035</c:v>
                </c:pt>
                <c:pt idx="5">
                  <c:v>0.02407693838126472</c:v>
                </c:pt>
                <c:pt idx="6">
                  <c:v>0.01471635871204585</c:v>
                </c:pt>
                <c:pt idx="7">
                  <c:v>0.012316045516099427</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Malard</c:v>
                </c:pt>
                <c:pt idx="3">
                  <c:v>Ruinart</c:v>
                </c:pt>
                <c:pt idx="4">
                  <c:v>Laurent Perrier</c:v>
                </c:pt>
                <c:pt idx="5">
                  <c:v>Bollinger</c:v>
                </c:pt>
                <c:pt idx="6">
                  <c:v>Piper Heidsieck</c:v>
                </c:pt>
                <c:pt idx="7">
                  <c:v>Pommery</c:v>
                </c:pt>
              </c:strCache>
            </c:strRef>
          </c:cat>
          <c:val>
            <c:numRef>
              <c:f>Sheet1!$C$2:$C$9</c:f>
              <c:numCache>
                <c:formatCode>General</c:formatCode>
                <c:ptCount val="8"/>
                <c:pt idx="0">
                  <c:v>0.4064374737121732</c:v>
                </c:pt>
                <c:pt idx="1">
                  <c:v>0.13975162154384257</c:v>
                </c:pt>
                <c:pt idx="2">
                  <c:v>0.26423970070617403</c:v>
                </c:pt>
                <c:pt idx="3">
                  <c:v>0.18089345405441304</c:v>
                </c:pt>
                <c:pt idx="4">
                  <c:v>0.0</c:v>
                </c:pt>
                <c:pt idx="5">
                  <c:v>0.0</c:v>
                </c:pt>
                <c:pt idx="6">
                  <c:v>0.0</c:v>
                </c:pt>
                <c:pt idx="7">
                  <c:v>0.00867774998339716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Malard</c:v>
                </c:pt>
                <c:pt idx="3">
                  <c:v>Ruinart</c:v>
                </c:pt>
                <c:pt idx="4">
                  <c:v>Laurent Perrier</c:v>
                </c:pt>
                <c:pt idx="5">
                  <c:v>Bollinger</c:v>
                </c:pt>
                <c:pt idx="6">
                  <c:v>Piper Heidsieck</c:v>
                </c:pt>
                <c:pt idx="7">
                  <c:v>Pommery</c:v>
                </c:pt>
              </c:strCache>
            </c:strRef>
          </c:cat>
          <c:val>
            <c:numRef>
              <c:f>Sheet1!$D$2:$D$9</c:f>
              <c:numCache>
                <c:formatCode>General</c:formatCode>
                <c:ptCount val="8"/>
                <c:pt idx="0">
                  <c:v>0.3</c:v>
                </c:pt>
                <c:pt idx="1">
                  <c:v>0.28</c:v>
                </c:pt>
                <c:pt idx="2">
                  <c:v>0.55</c:v>
                </c:pt>
                <c:pt idx="3">
                  <c:v>0.38</c:v>
                </c:pt>
                <c:pt idx="4">
                  <c:v>0.0</c:v>
                </c:pt>
                <c:pt idx="5">
                  <c:v>0.0</c:v>
                </c:pt>
                <c:pt idx="6">
                  <c:v>0.0</c:v>
                </c:pt>
                <c:pt idx="7">
                  <c:v>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6910027645136969</c:v>
                </c:pt>
                <c:pt idx="1">
                  <c:v>0.263508419200804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1.0</c:v>
                </c:pt>
                <c:pt idx="1">
                  <c:v>0.0</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0.13</c:v>
                </c:pt>
                <c:pt idx="1">
                  <c:v>0.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Laurent Perrier</c:v>
                </c:pt>
                <c:pt idx="6">
                  <c:v>Nicolas Feuillatte</c:v>
                </c:pt>
                <c:pt idx="7">
                  <c:v>De Bligny</c:v>
                </c:pt>
                <c:pt idx="8">
                  <c:v>Ayala</c:v>
                </c:pt>
                <c:pt idx="9">
                  <c:v>Besserat De Bellefon</c:v>
                </c:pt>
              </c:strCache>
            </c:strRef>
          </c:cat>
          <c:val>
            <c:numRef>
              <c:f>Sheet1!$B$2:$B$11</c:f>
              <c:numCache>
                <c:formatCode>General</c:formatCode>
                <c:ptCount val="10"/>
                <c:pt idx="0">
                  <c:v>0.8859672973176693</c:v>
                </c:pt>
                <c:pt idx="1">
                  <c:v>0.980447693010507</c:v>
                </c:pt>
                <c:pt idx="2">
                  <c:v>0.7729484594006161</c:v>
                </c:pt>
                <c:pt idx="3">
                  <c:v>1.0</c:v>
                </c:pt>
                <c:pt idx="4">
                  <c:v>1.0</c:v>
                </c:pt>
                <c:pt idx="5">
                  <c:v>0.790351845837393</c:v>
                </c:pt>
                <c:pt idx="6">
                  <c:v>0.9175023803070422</c:v>
                </c:pt>
                <c:pt idx="7">
                  <c:v>1.0</c:v>
                </c:pt>
                <c:pt idx="8">
                  <c:v>1.0</c:v>
                </c:pt>
                <c:pt idx="9">
                  <c:v>0.990841967107337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Laurent Perrier</c:v>
                </c:pt>
                <c:pt idx="6">
                  <c:v>Nicolas Feuillatte</c:v>
                </c:pt>
                <c:pt idx="7">
                  <c:v>De Bligny</c:v>
                </c:pt>
                <c:pt idx="8">
                  <c:v>Ayala</c:v>
                </c:pt>
                <c:pt idx="9">
                  <c:v>Besserat De Bellefon</c:v>
                </c:pt>
              </c:strCache>
            </c:strRef>
          </c:cat>
          <c:val>
            <c:numRef>
              <c:f>Sheet1!$C$2:$C$11</c:f>
              <c:numCache>
                <c:formatCode>General</c:formatCode>
                <c:ptCount val="10"/>
                <c:pt idx="0">
                  <c:v>0.11403270268233068</c:v>
                </c:pt>
                <c:pt idx="1">
                  <c:v>0.01955230698949295</c:v>
                </c:pt>
                <c:pt idx="2">
                  <c:v>0.22705154059938393</c:v>
                </c:pt>
                <c:pt idx="3">
                  <c:v>0.0</c:v>
                </c:pt>
                <c:pt idx="4">
                  <c:v>0.0</c:v>
                </c:pt>
                <c:pt idx="5">
                  <c:v>0.20964815416260696</c:v>
                </c:pt>
                <c:pt idx="6">
                  <c:v>0.08249761969295777</c:v>
                </c:pt>
                <c:pt idx="7">
                  <c:v>0.0</c:v>
                </c:pt>
                <c:pt idx="8">
                  <c:v>0.0</c:v>
                </c:pt>
                <c:pt idx="9">
                  <c:v>0.00915803289266259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De Bligny</c:v>
                </c:pt>
                <c:pt idx="5">
                  <c:v>Laurent Perrier</c:v>
                </c:pt>
                <c:pt idx="6">
                  <c:v>Nicolas Feuillatte</c:v>
                </c:pt>
                <c:pt idx="7">
                  <c:v>Heidsieck &amp; Co Monopole</c:v>
                </c:pt>
                <c:pt idx="8">
                  <c:v>Ayala</c:v>
                </c:pt>
                <c:pt idx="9">
                  <c:v>Canard Duchêne</c:v>
                </c:pt>
              </c:strCache>
            </c:strRef>
          </c:cat>
          <c:val>
            <c:numRef>
              <c:f>Sheet1!$B$2:$B$11</c:f>
              <c:numCache>
                <c:formatCode>General</c:formatCode>
                <c:ptCount val="10"/>
                <c:pt idx="0">
                  <c:v>0.8910831966061441</c:v>
                </c:pt>
                <c:pt idx="1">
                  <c:v>0.9852694585358606</c:v>
                </c:pt>
                <c:pt idx="2">
                  <c:v>1.0</c:v>
                </c:pt>
                <c:pt idx="3">
                  <c:v>0.7803862316956937</c:v>
                </c:pt>
                <c:pt idx="4">
                  <c:v>1.0</c:v>
                </c:pt>
                <c:pt idx="5">
                  <c:v>0.807067924513082</c:v>
                </c:pt>
                <c:pt idx="6">
                  <c:v>0.9034971733177857</c:v>
                </c:pt>
                <c:pt idx="7">
                  <c:v>1.0</c:v>
                </c:pt>
                <c:pt idx="8">
                  <c:v>1.0</c:v>
                </c:pt>
                <c:pt idx="9">
                  <c:v>0.831787636981176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De Bligny</c:v>
                </c:pt>
                <c:pt idx="5">
                  <c:v>Laurent Perrier</c:v>
                </c:pt>
                <c:pt idx="6">
                  <c:v>Nicolas Feuillatte</c:v>
                </c:pt>
                <c:pt idx="7">
                  <c:v>Heidsieck &amp; Co Monopole</c:v>
                </c:pt>
                <c:pt idx="8">
                  <c:v>Ayala</c:v>
                </c:pt>
                <c:pt idx="9">
                  <c:v>Canard Duchêne</c:v>
                </c:pt>
              </c:strCache>
            </c:strRef>
          </c:cat>
          <c:val>
            <c:numRef>
              <c:f>Sheet1!$C$2:$C$11</c:f>
              <c:numCache>
                <c:formatCode>General</c:formatCode>
                <c:ptCount val="10"/>
                <c:pt idx="0">
                  <c:v>0.1089168033938559</c:v>
                </c:pt>
                <c:pt idx="1">
                  <c:v>0.014730541464139435</c:v>
                </c:pt>
                <c:pt idx="2">
                  <c:v>0.0</c:v>
                </c:pt>
                <c:pt idx="3">
                  <c:v>0.21961376830430634</c:v>
                </c:pt>
                <c:pt idx="4">
                  <c:v>0.0</c:v>
                </c:pt>
                <c:pt idx="5">
                  <c:v>0.19293207548691804</c:v>
                </c:pt>
                <c:pt idx="6">
                  <c:v>0.09650282668221433</c:v>
                </c:pt>
                <c:pt idx="7">
                  <c:v>0.0</c:v>
                </c:pt>
                <c:pt idx="8">
                  <c:v>0.0</c:v>
                </c:pt>
                <c:pt idx="9">
                  <c:v>0.1682123630188232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Ayala</c:v>
                </c:pt>
                <c:pt idx="8">
                  <c:v>Heidsieck &amp; Co Monopole</c:v>
                </c:pt>
                <c:pt idx="9">
                  <c:v>Bollinger</c:v>
                </c:pt>
              </c:strCache>
            </c:strRef>
          </c:cat>
          <c:val>
            <c:numRef>
              <c:f>Sheet1!$B$2:$B$11</c:f>
              <c:numCache>
                <c:formatCode>General</c:formatCode>
                <c:ptCount val="10"/>
                <c:pt idx="0">
                  <c:v>0.8856635354824738</c:v>
                </c:pt>
                <c:pt idx="1">
                  <c:v>0.9501710199004975</c:v>
                </c:pt>
                <c:pt idx="2">
                  <c:v>0.7852883440127412</c:v>
                </c:pt>
                <c:pt idx="3">
                  <c:v>0.8186291973646084</c:v>
                </c:pt>
                <c:pt idx="4">
                  <c:v>1.0</c:v>
                </c:pt>
                <c:pt idx="5">
                  <c:v>0.9273768260493412</c:v>
                </c:pt>
                <c:pt idx="6">
                  <c:v>0.7221126405909014</c:v>
                </c:pt>
                <c:pt idx="7">
                  <c:v>1.0</c:v>
                </c:pt>
                <c:pt idx="8">
                  <c:v>1.0</c:v>
                </c:pt>
                <c:pt idx="9">
                  <c:v>0.96635376243848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Ayala</c:v>
                </c:pt>
                <c:pt idx="8">
                  <c:v>Heidsieck &amp; Co Monopole</c:v>
                </c:pt>
                <c:pt idx="9">
                  <c:v>Bollinger</c:v>
                </c:pt>
              </c:strCache>
            </c:strRef>
          </c:cat>
          <c:val>
            <c:numRef>
              <c:f>Sheet1!$C$2:$C$11</c:f>
              <c:numCache>
                <c:formatCode>General</c:formatCode>
                <c:ptCount val="10"/>
                <c:pt idx="0">
                  <c:v>0.11433646451752622</c:v>
                </c:pt>
                <c:pt idx="1">
                  <c:v>0.04982898009950254</c:v>
                </c:pt>
                <c:pt idx="2">
                  <c:v>0.21471165598725883</c:v>
                </c:pt>
                <c:pt idx="3">
                  <c:v>0.18137080263539163</c:v>
                </c:pt>
                <c:pt idx="4">
                  <c:v>0.0</c:v>
                </c:pt>
                <c:pt idx="5">
                  <c:v>0.07262317395065876</c:v>
                </c:pt>
                <c:pt idx="6">
                  <c:v>0.2778873594090986</c:v>
                </c:pt>
                <c:pt idx="7">
                  <c:v>0.0</c:v>
                </c:pt>
                <c:pt idx="8">
                  <c:v>0.0</c:v>
                </c:pt>
                <c:pt idx="9">
                  <c:v>0.0336462375615149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4.333</c:v>
                </c:pt>
                <c:pt idx="1">
                  <c:v>-0.062000000000000055</c:v>
                </c:pt>
                <c:pt idx="2">
                  <c:v>-0.04200000000000004</c:v>
                </c:pt>
                <c:pt idx="3">
                  <c:v>-0.015000000000000013</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Mure</c:v>
                </c:pt>
                <c:pt idx="3">
                  <c:v>Savian</c:v>
                </c:pt>
                <c:pt idx="4">
                  <c:v>Chateau Moncontour</c:v>
                </c:pt>
                <c:pt idx="5">
                  <c:v>Bouvet-Ladubay</c:v>
                </c:pt>
                <c:pt idx="6">
                  <c:v>De Chanceny</c:v>
                </c:pt>
                <c:pt idx="7">
                  <c:v>Cru La Maqueline</c:v>
                </c:pt>
              </c:strCache>
            </c:strRef>
          </c:cat>
          <c:val>
            <c:numRef>
              <c:f>Sheet1!$B$2:$B$9</c:f>
              <c:numCache>
                <c:formatCode>General</c:formatCode>
                <c:ptCount val="8"/>
                <c:pt idx="0">
                  <c:v>1.0</c:v>
                </c:pt>
                <c:pt idx="1">
                  <c:v>1.0</c:v>
                </c:pt>
                <c:pt idx="2">
                  <c:v>1.0</c:v>
                </c:pt>
                <c:pt idx="3">
                  <c:v>1.0</c:v>
                </c:pt>
                <c:pt idx="4">
                  <c:v>1.0</c:v>
                </c:pt>
                <c:pt idx="5">
                  <c:v>0.9242437614456236</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Mure</c:v>
                </c:pt>
                <c:pt idx="3">
                  <c:v>Savian</c:v>
                </c:pt>
                <c:pt idx="4">
                  <c:v>Chateau Moncontour</c:v>
                </c:pt>
                <c:pt idx="5">
                  <c:v>Bouvet-Ladubay</c:v>
                </c:pt>
                <c:pt idx="6">
                  <c:v>De Chanceny</c:v>
                </c:pt>
                <c:pt idx="7">
                  <c:v>Cru La Maqueline</c:v>
                </c:pt>
              </c:strCache>
            </c:strRef>
          </c:cat>
          <c:val>
            <c:numRef>
              <c:f>Sheet1!$C$2:$C$9</c:f>
              <c:numCache>
                <c:formatCode>General</c:formatCode>
                <c:ptCount val="8"/>
                <c:pt idx="0">
                  <c:v>0.0</c:v>
                </c:pt>
                <c:pt idx="1">
                  <c:v>0.0</c:v>
                </c:pt>
                <c:pt idx="2">
                  <c:v>0.0</c:v>
                </c:pt>
                <c:pt idx="3">
                  <c:v>0.0</c:v>
                </c:pt>
                <c:pt idx="4">
                  <c:v>0.0</c:v>
                </c:pt>
                <c:pt idx="5">
                  <c:v>0.07575623855437641</c:v>
                </c:pt>
                <c:pt idx="6">
                  <c:v>0.0</c:v>
                </c:pt>
                <c:pt idx="7">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Savian</c:v>
                </c:pt>
                <c:pt idx="3">
                  <c:v>Mure</c:v>
                </c:pt>
                <c:pt idx="4">
                  <c:v>Bouvet-Ladubay</c:v>
                </c:pt>
                <c:pt idx="5">
                  <c:v>Chateau Moncontour</c:v>
                </c:pt>
                <c:pt idx="6">
                  <c:v>De Chanceny</c:v>
                </c:pt>
                <c:pt idx="7">
                  <c:v>Cru La Maqueline</c:v>
                </c:pt>
              </c:strCache>
            </c:strRef>
          </c:cat>
          <c:val>
            <c:numRef>
              <c:f>Sheet1!$B$2:$B$9</c:f>
              <c:numCache>
                <c:formatCode>General</c:formatCode>
                <c:ptCount val="8"/>
                <c:pt idx="0">
                  <c:v>1.0</c:v>
                </c:pt>
                <c:pt idx="1">
                  <c:v>1.0</c:v>
                </c:pt>
                <c:pt idx="2">
                  <c:v>1.0</c:v>
                </c:pt>
                <c:pt idx="3">
                  <c:v>1.0</c:v>
                </c:pt>
                <c:pt idx="4">
                  <c:v>0.9003313086692435</c:v>
                </c:pt>
                <c:pt idx="5">
                  <c:v>1.0</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ottega</c:v>
                </c:pt>
                <c:pt idx="1">
                  <c:v>Patriarche</c:v>
                </c:pt>
                <c:pt idx="2">
                  <c:v>Savian</c:v>
                </c:pt>
                <c:pt idx="3">
                  <c:v>Mure</c:v>
                </c:pt>
                <c:pt idx="4">
                  <c:v>Bouvet-Ladubay</c:v>
                </c:pt>
                <c:pt idx="5">
                  <c:v>Chateau Moncontour</c:v>
                </c:pt>
                <c:pt idx="6">
                  <c:v>De Chanceny</c:v>
                </c:pt>
                <c:pt idx="7">
                  <c:v>Cru La Maqueline</c:v>
                </c:pt>
              </c:strCache>
            </c:strRef>
          </c:cat>
          <c:val>
            <c:numRef>
              <c:f>Sheet1!$C$2:$C$9</c:f>
              <c:numCache>
                <c:formatCode>General</c:formatCode>
                <c:ptCount val="8"/>
                <c:pt idx="0">
                  <c:v>0.0</c:v>
                </c:pt>
                <c:pt idx="1">
                  <c:v>0.0</c:v>
                </c:pt>
                <c:pt idx="2">
                  <c:v>0.0</c:v>
                </c:pt>
                <c:pt idx="3">
                  <c:v>0.0</c:v>
                </c:pt>
                <c:pt idx="4">
                  <c:v>0.09966869133075651</c:v>
                </c:pt>
                <c:pt idx="5">
                  <c:v>0.0</c:v>
                </c:pt>
                <c:pt idx="6">
                  <c:v>0.0</c:v>
                </c:pt>
                <c:pt idx="7">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ure</c:v>
                </c:pt>
                <c:pt idx="1">
                  <c:v>Patriarche</c:v>
                </c:pt>
                <c:pt idx="2">
                  <c:v>Savian</c:v>
                </c:pt>
                <c:pt idx="3">
                  <c:v>Bottega</c:v>
                </c:pt>
                <c:pt idx="4">
                  <c:v>Chateau Moncontour</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ure</c:v>
                </c:pt>
                <c:pt idx="1">
                  <c:v>Patriarche</c:v>
                </c:pt>
                <c:pt idx="2">
                  <c:v>Savian</c:v>
                </c:pt>
                <c:pt idx="3">
                  <c:v>Bottega</c:v>
                </c:pt>
                <c:pt idx="4">
                  <c:v>Chateau Moncontour</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Ayala</c:v>
                </c:pt>
                <c:pt idx="6">
                  <c:v>De Bligny</c:v>
                </c:pt>
                <c:pt idx="7">
                  <c:v>Canard Duchêne</c:v>
                </c:pt>
                <c:pt idx="8">
                  <c:v>Taittinger</c:v>
                </c:pt>
                <c:pt idx="9">
                  <c:v>Besserat De Bellefon</c:v>
                </c:pt>
              </c:strCache>
            </c:strRef>
          </c:cat>
          <c:val>
            <c:numRef>
              <c:f>Sheet1!$B$2:$B$11</c:f>
              <c:numCache>
                <c:formatCode>General</c:formatCode>
                <c:ptCount val="10"/>
                <c:pt idx="0">
                  <c:v>0.8832995447508613</c:v>
                </c:pt>
                <c:pt idx="1">
                  <c:v>1.0</c:v>
                </c:pt>
                <c:pt idx="2">
                  <c:v>0.7662582579426593</c:v>
                </c:pt>
                <c:pt idx="3">
                  <c:v>1.0</c:v>
                </c:pt>
                <c:pt idx="4">
                  <c:v>0.8010013144946379</c:v>
                </c:pt>
                <c:pt idx="5">
                  <c:v>1.0</c:v>
                </c:pt>
                <c:pt idx="6">
                  <c:v>1.0</c:v>
                </c:pt>
                <c:pt idx="7">
                  <c:v>0.8190787876977533</c:v>
                </c:pt>
                <c:pt idx="8">
                  <c:v>0.7759965417095401</c:v>
                </c:pt>
                <c:pt idx="9">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Ayala</c:v>
                </c:pt>
                <c:pt idx="6">
                  <c:v>De Bligny</c:v>
                </c:pt>
                <c:pt idx="7">
                  <c:v>Canard Duchêne</c:v>
                </c:pt>
                <c:pt idx="8">
                  <c:v>Taittinger</c:v>
                </c:pt>
                <c:pt idx="9">
                  <c:v>Besserat De Bellefon</c:v>
                </c:pt>
              </c:strCache>
            </c:strRef>
          </c:cat>
          <c:val>
            <c:numRef>
              <c:f>Sheet1!$C$2:$C$11</c:f>
              <c:numCache>
                <c:formatCode>General</c:formatCode>
                <c:ptCount val="10"/>
                <c:pt idx="0">
                  <c:v>0.11670045524913875</c:v>
                </c:pt>
                <c:pt idx="1">
                  <c:v>0.0</c:v>
                </c:pt>
                <c:pt idx="2">
                  <c:v>0.23374174205734066</c:v>
                </c:pt>
                <c:pt idx="3">
                  <c:v>0.0</c:v>
                </c:pt>
                <c:pt idx="4">
                  <c:v>0.19899868550536215</c:v>
                </c:pt>
                <c:pt idx="5">
                  <c:v>0.0</c:v>
                </c:pt>
                <c:pt idx="6">
                  <c:v>0.0</c:v>
                </c:pt>
                <c:pt idx="7">
                  <c:v>0.18092121230224667</c:v>
                </c:pt>
                <c:pt idx="8">
                  <c:v>0.22400345829045987</c:v>
                </c:pt>
                <c:pt idx="9">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moiselle</c:v>
                </c:pt>
                <c:pt idx="2">
                  <c:v>Deutz</c:v>
                </c:pt>
                <c:pt idx="3">
                  <c:v>Nicolas</c:v>
                </c:pt>
                <c:pt idx="4">
                  <c:v>Laurent Perrier</c:v>
                </c:pt>
                <c:pt idx="5">
                  <c:v>Nicolas Feuillatte</c:v>
                </c:pt>
                <c:pt idx="6">
                  <c:v>Malard</c:v>
                </c:pt>
                <c:pt idx="7">
                  <c:v>Pommery</c:v>
                </c:pt>
                <c:pt idx="8">
                  <c:v>Besserat De Bellefon</c:v>
                </c:pt>
              </c:strCache>
            </c:strRef>
          </c:cat>
          <c:val>
            <c:numRef>
              <c:f>Sheet1!$B$2:$B$10</c:f>
              <c:numCache>
                <c:formatCode>General</c:formatCode>
                <c:ptCount val="9"/>
                <c:pt idx="0">
                  <c:v>0.9372080075524679</c:v>
                </c:pt>
                <c:pt idx="1">
                  <c:v>1.0</c:v>
                </c:pt>
                <c:pt idx="2">
                  <c:v>1.0</c:v>
                </c:pt>
                <c:pt idx="3">
                  <c:v>1.0</c:v>
                </c:pt>
                <c:pt idx="4">
                  <c:v>1.0</c:v>
                </c:pt>
                <c:pt idx="5">
                  <c:v>1.0</c:v>
                </c:pt>
                <c:pt idx="6">
                  <c:v>1.0</c:v>
                </c:pt>
                <c:pt idx="7">
                  <c:v>1.0</c:v>
                </c:pt>
                <c:pt idx="8">
                  <c:v>0.83343143025309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Demoiselle</c:v>
                </c:pt>
                <c:pt idx="2">
                  <c:v>Deutz</c:v>
                </c:pt>
                <c:pt idx="3">
                  <c:v>Nicolas</c:v>
                </c:pt>
                <c:pt idx="4">
                  <c:v>Laurent Perrier</c:v>
                </c:pt>
                <c:pt idx="5">
                  <c:v>Nicolas Feuillatte</c:v>
                </c:pt>
                <c:pt idx="6">
                  <c:v>Malard</c:v>
                </c:pt>
                <c:pt idx="7">
                  <c:v>Pommery</c:v>
                </c:pt>
                <c:pt idx="8">
                  <c:v>Besserat De Bellefon</c:v>
                </c:pt>
              </c:strCache>
            </c:strRef>
          </c:cat>
          <c:val>
            <c:numRef>
              <c:f>Sheet1!$C$2:$C$10</c:f>
              <c:numCache>
                <c:formatCode>General</c:formatCode>
                <c:ptCount val="9"/>
                <c:pt idx="0">
                  <c:v>0.06279199244753209</c:v>
                </c:pt>
                <c:pt idx="1">
                  <c:v>0.0</c:v>
                </c:pt>
                <c:pt idx="2">
                  <c:v>0.0</c:v>
                </c:pt>
                <c:pt idx="3">
                  <c:v>0.0</c:v>
                </c:pt>
                <c:pt idx="4">
                  <c:v>0.0</c:v>
                </c:pt>
                <c:pt idx="5">
                  <c:v>0.0</c:v>
                </c:pt>
                <c:pt idx="6">
                  <c:v>0.0</c:v>
                </c:pt>
                <c:pt idx="7">
                  <c:v>0.0</c:v>
                </c:pt>
                <c:pt idx="8">
                  <c:v>0.1665685697469099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78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Henriot</c:v>
                </c:pt>
                <c:pt idx="2">
                  <c:v>Besserat De Bellefon</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Henriot</c:v>
                </c:pt>
                <c:pt idx="2">
                  <c:v>Besserat De Bellefon</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727066584209441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1.0</c:v>
                </c:pt>
                <c:pt idx="1">
                  <c:v>0.9391884951206985</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0</c:v>
                </c:pt>
                <c:pt idx="1">
                  <c:v>0.06081150487930154</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De Bligny</c:v>
                </c:pt>
                <c:pt idx="5">
                  <c:v>Canard Duchêne</c:v>
                </c:pt>
                <c:pt idx="6">
                  <c:v>Laurent Perrier</c:v>
                </c:pt>
                <c:pt idx="7">
                  <c:v>Taittinger</c:v>
                </c:pt>
                <c:pt idx="8">
                  <c:v>Ayala</c:v>
                </c:pt>
                <c:pt idx="9">
                  <c:v>Bollinger</c:v>
                </c:pt>
              </c:strCache>
            </c:strRef>
          </c:cat>
          <c:val>
            <c:numRef>
              <c:f>Sheet1!$B$2:$B$11</c:f>
              <c:numCache>
                <c:formatCode>General</c:formatCode>
                <c:ptCount val="10"/>
                <c:pt idx="0">
                  <c:v>0.8565216198957105</c:v>
                </c:pt>
                <c:pt idx="1">
                  <c:v>1.0</c:v>
                </c:pt>
                <c:pt idx="2">
                  <c:v>0.731095145988763</c:v>
                </c:pt>
                <c:pt idx="3">
                  <c:v>1.0</c:v>
                </c:pt>
                <c:pt idx="4">
                  <c:v>1.0</c:v>
                </c:pt>
                <c:pt idx="5">
                  <c:v>0.7816397623713104</c:v>
                </c:pt>
                <c:pt idx="6">
                  <c:v>0.7418307086614173</c:v>
                </c:pt>
                <c:pt idx="7">
                  <c:v>0.6585978259235314</c:v>
                </c:pt>
                <c:pt idx="8">
                  <c:v>1.0</c:v>
                </c:pt>
                <c:pt idx="9">
                  <c:v>0.982192335232402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De Bligny</c:v>
                </c:pt>
                <c:pt idx="5">
                  <c:v>Canard Duchêne</c:v>
                </c:pt>
                <c:pt idx="6">
                  <c:v>Laurent Perrier</c:v>
                </c:pt>
                <c:pt idx="7">
                  <c:v>Taittinger</c:v>
                </c:pt>
                <c:pt idx="8">
                  <c:v>Ayala</c:v>
                </c:pt>
                <c:pt idx="9">
                  <c:v>Bollinger</c:v>
                </c:pt>
              </c:strCache>
            </c:strRef>
          </c:cat>
          <c:val>
            <c:numRef>
              <c:f>Sheet1!$C$2:$C$11</c:f>
              <c:numCache>
                <c:formatCode>General</c:formatCode>
                <c:ptCount val="10"/>
                <c:pt idx="0">
                  <c:v>0.14347838010428948</c:v>
                </c:pt>
                <c:pt idx="1">
                  <c:v>0.0</c:v>
                </c:pt>
                <c:pt idx="2">
                  <c:v>0.268904854011237</c:v>
                </c:pt>
                <c:pt idx="3">
                  <c:v>0.0</c:v>
                </c:pt>
                <c:pt idx="4">
                  <c:v>0.0</c:v>
                </c:pt>
                <c:pt idx="5">
                  <c:v>0.2183602376286896</c:v>
                </c:pt>
                <c:pt idx="6">
                  <c:v>0.2581692913385827</c:v>
                </c:pt>
                <c:pt idx="7">
                  <c:v>0.34140217407646856</c:v>
                </c:pt>
                <c:pt idx="8">
                  <c:v>0.0</c:v>
                </c:pt>
                <c:pt idx="9">
                  <c:v>0.01780766476759754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Vilaveroni</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ttega</c:v>
                </c:pt>
                <c:pt idx="1">
                  <c:v>Savian</c:v>
                </c:pt>
                <c:pt idx="2">
                  <c:v>Vilaveroni</c:v>
                </c:pt>
              </c:strCache>
            </c:strRef>
          </c:cat>
          <c:val>
            <c:numRef>
              <c:f>Sheet1!$C$2:$C$4</c:f>
              <c:numCache>
                <c:formatCode>General</c:formatCode>
                <c:ptCount val="3"/>
                <c:pt idx="0">
                  <c:v>0.0</c:v>
                </c:pt>
                <c:pt idx="1">
                  <c:v>0.0</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ru La Maquelin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Besserat De Bellefon</c:v>
                </c:pt>
                <c:pt idx="2">
                  <c:v>De Bligny</c:v>
                </c:pt>
                <c:pt idx="3">
                  <c:v>Henriot</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Besserat De Bellefon</c:v>
                </c:pt>
                <c:pt idx="2">
                  <c:v>De Bligny</c:v>
                </c:pt>
                <c:pt idx="3">
                  <c:v>Henriot</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0.16838522892625485</c:v>
                </c:pt>
                <c:pt idx="1">
                  <c:v>-0.33553363581202544</c:v>
                </c:pt>
                <c:pt idx="2">
                  <c:v>-0.4437487331994011</c:v>
                </c:pt>
                <c:pt idx="3">
                  <c:v>-0.2886794615939453</c:v>
                </c:pt>
                <c:pt idx="4">
                  <c:v>2.513167546923069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Besserat De Bellefon</c:v>
                </c:pt>
                <c:pt idx="8">
                  <c:v>Laurent Perrier</c:v>
                </c:pt>
                <c:pt idx="9">
                  <c:v>Bollinger</c:v>
                </c:pt>
              </c:strCache>
            </c:strRef>
          </c:cat>
          <c:val>
            <c:numRef>
              <c:f>Sheet1!$B$2:$B$11</c:f>
              <c:numCache>
                <c:formatCode>General</c:formatCode>
                <c:ptCount val="10"/>
                <c:pt idx="0">
                  <c:v>0.8322643601685518</c:v>
                </c:pt>
                <c:pt idx="1">
                  <c:v>1.0</c:v>
                </c:pt>
                <c:pt idx="2">
                  <c:v>0.7594291165248018</c:v>
                </c:pt>
                <c:pt idx="3">
                  <c:v>1.0</c:v>
                </c:pt>
                <c:pt idx="4">
                  <c:v>1.0</c:v>
                </c:pt>
                <c:pt idx="5">
                  <c:v>1.0</c:v>
                </c:pt>
                <c:pt idx="6">
                  <c:v>0.7924981846408092</c:v>
                </c:pt>
                <c:pt idx="7">
                  <c:v>1.0</c:v>
                </c:pt>
                <c:pt idx="8">
                  <c:v>0.6815974350511576</c:v>
                </c:pt>
                <c:pt idx="9">
                  <c:v>0.938727034756895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Besserat De Bellefon</c:v>
                </c:pt>
                <c:pt idx="8">
                  <c:v>Laurent Perrier</c:v>
                </c:pt>
                <c:pt idx="9">
                  <c:v>Bollinger</c:v>
                </c:pt>
              </c:strCache>
            </c:strRef>
          </c:cat>
          <c:val>
            <c:numRef>
              <c:f>Sheet1!$C$2:$C$11</c:f>
              <c:numCache>
                <c:formatCode>General</c:formatCode>
                <c:ptCount val="10"/>
                <c:pt idx="0">
                  <c:v>0.16773563983144824</c:v>
                </c:pt>
                <c:pt idx="1">
                  <c:v>0.0</c:v>
                </c:pt>
                <c:pt idx="2">
                  <c:v>0.24057088347519817</c:v>
                </c:pt>
                <c:pt idx="3">
                  <c:v>0.0</c:v>
                </c:pt>
                <c:pt idx="4">
                  <c:v>0.0</c:v>
                </c:pt>
                <c:pt idx="5">
                  <c:v>0.0</c:v>
                </c:pt>
                <c:pt idx="6">
                  <c:v>0.20750181535919077</c:v>
                </c:pt>
                <c:pt idx="7">
                  <c:v>0.0</c:v>
                </c:pt>
                <c:pt idx="8">
                  <c:v>0.31840256494884245</c:v>
                </c:pt>
                <c:pt idx="9">
                  <c:v>0.0612729652431043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Demoiselle</c:v>
                </c:pt>
                <c:pt idx="4">
                  <c:v>Laurent Perrier</c:v>
                </c:pt>
                <c:pt idx="5">
                  <c:v>Malard</c:v>
                </c:pt>
                <c:pt idx="6">
                  <c:v>Nicolas Feuillatte</c:v>
                </c:pt>
                <c:pt idx="7">
                  <c:v>Pommery</c:v>
                </c:pt>
                <c:pt idx="8">
                  <c:v>Besserat De Bellefon</c:v>
                </c:pt>
              </c:strCache>
            </c:strRef>
          </c:cat>
          <c:val>
            <c:numRef>
              <c:f>Sheet1!$B$2:$B$10</c:f>
              <c:numCache>
                <c:formatCode>General</c:formatCode>
                <c:ptCount val="9"/>
                <c:pt idx="0">
                  <c:v>0.85677199892579</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uinart</c:v>
                </c:pt>
                <c:pt idx="1">
                  <c:v>Nicolas</c:v>
                </c:pt>
                <c:pt idx="2">
                  <c:v>Deutz</c:v>
                </c:pt>
                <c:pt idx="3">
                  <c:v>Demoiselle</c:v>
                </c:pt>
                <c:pt idx="4">
                  <c:v>Laurent Perrier</c:v>
                </c:pt>
                <c:pt idx="5">
                  <c:v>Malard</c:v>
                </c:pt>
                <c:pt idx="6">
                  <c:v>Nicolas Feuillatte</c:v>
                </c:pt>
                <c:pt idx="7">
                  <c:v>Pommery</c:v>
                </c:pt>
                <c:pt idx="8">
                  <c:v>Besserat De Bellefon</c:v>
                </c:pt>
              </c:strCache>
            </c:strRef>
          </c:cat>
          <c:val>
            <c:numRef>
              <c:f>Sheet1!$C$2:$C$10</c:f>
              <c:numCache>
                <c:formatCode>General</c:formatCode>
                <c:ptCount val="9"/>
                <c:pt idx="0">
                  <c:v>0.14322800107420997</c:v>
                </c:pt>
                <c:pt idx="1">
                  <c:v>0.0</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avian</c:v>
                </c:pt>
                <c:pt idx="1">
                  <c:v>Bottega</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avian</c:v>
                </c:pt>
                <c:pt idx="1">
                  <c:v>Bottega</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Besserat De Bellefon</c:v>
                </c:pt>
                <c:pt idx="2">
                  <c:v>Henriot</c:v>
                </c:pt>
                <c:pt idx="3">
                  <c:v>De Bligny</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Besserat De Bellefon</c:v>
                </c:pt>
                <c:pt idx="2">
                  <c:v>Henriot</c:v>
                </c:pt>
                <c:pt idx="3">
                  <c:v>De Bligny</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B$2:$B$4</c:f>
              <c:numCache>
                <c:formatCode>General</c:formatCode>
                <c:ptCount val="3"/>
                <c:pt idx="0">
                  <c:v>1.0</c:v>
                </c:pt>
                <c:pt idx="1">
                  <c:v>0.8947194828325472</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teau Moncontour</c:v>
                </c:pt>
                <c:pt idx="1">
                  <c:v>Bouvet-Ladubay</c:v>
                </c:pt>
                <c:pt idx="2">
                  <c:v>De Chanceny</c:v>
                </c:pt>
              </c:strCache>
            </c:strRef>
          </c:cat>
          <c:val>
            <c:numRef>
              <c:f>Sheet1!$C$2:$C$4</c:f>
              <c:numCache>
                <c:formatCode>General</c:formatCode>
                <c:ptCount val="3"/>
                <c:pt idx="0">
                  <c:v>0.0</c:v>
                </c:pt>
                <c:pt idx="1">
                  <c:v>0.10528051716745279</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Henriot</c:v>
                </c:pt>
                <c:pt idx="3">
                  <c:v>De Bligny</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Laurent Perrier</c:v>
                </c:pt>
                <c:pt idx="6">
                  <c:v>De Bligny</c:v>
                </c:pt>
                <c:pt idx="7">
                  <c:v>Canard Duchêne</c:v>
                </c:pt>
                <c:pt idx="8">
                  <c:v>Taittinger</c:v>
                </c:pt>
                <c:pt idx="9">
                  <c:v>Bollinger</c:v>
                </c:pt>
              </c:strCache>
            </c:strRef>
          </c:cat>
          <c:val>
            <c:numRef>
              <c:f>Sheet1!$B$2:$B$11</c:f>
              <c:numCache>
                <c:formatCode>General</c:formatCode>
                <c:ptCount val="10"/>
                <c:pt idx="0">
                  <c:v>0.8705285425712967</c:v>
                </c:pt>
                <c:pt idx="1">
                  <c:v>1.0</c:v>
                </c:pt>
                <c:pt idx="2">
                  <c:v>0.7447210510662865</c:v>
                </c:pt>
                <c:pt idx="3">
                  <c:v>1.0</c:v>
                </c:pt>
                <c:pt idx="4">
                  <c:v>1.0</c:v>
                </c:pt>
                <c:pt idx="5">
                  <c:v>0.7845581920729112</c:v>
                </c:pt>
                <c:pt idx="6">
                  <c:v>1.0</c:v>
                </c:pt>
                <c:pt idx="7">
                  <c:v>0.8219366492128549</c:v>
                </c:pt>
                <c:pt idx="8">
                  <c:v>0.7667306568733828</c:v>
                </c:pt>
                <c:pt idx="9">
                  <c:v>0.97663296252195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Laurent Perrier</c:v>
                </c:pt>
                <c:pt idx="6">
                  <c:v>De Bligny</c:v>
                </c:pt>
                <c:pt idx="7">
                  <c:v>Canard Duchêne</c:v>
                </c:pt>
                <c:pt idx="8">
                  <c:v>Taittinger</c:v>
                </c:pt>
                <c:pt idx="9">
                  <c:v>Bollinger</c:v>
                </c:pt>
              </c:strCache>
            </c:strRef>
          </c:cat>
          <c:val>
            <c:numRef>
              <c:f>Sheet1!$C$2:$C$11</c:f>
              <c:numCache>
                <c:formatCode>General</c:formatCode>
                <c:ptCount val="10"/>
                <c:pt idx="0">
                  <c:v>0.12947145742870325</c:v>
                </c:pt>
                <c:pt idx="1">
                  <c:v>0.0</c:v>
                </c:pt>
                <c:pt idx="2">
                  <c:v>0.2552789489337135</c:v>
                </c:pt>
                <c:pt idx="3">
                  <c:v>0.0</c:v>
                </c:pt>
                <c:pt idx="4">
                  <c:v>0.0</c:v>
                </c:pt>
                <c:pt idx="5">
                  <c:v>0.21544180792708878</c:v>
                </c:pt>
                <c:pt idx="6">
                  <c:v>0.0</c:v>
                </c:pt>
                <c:pt idx="7">
                  <c:v>0.17806335078714508</c:v>
                </c:pt>
                <c:pt idx="8">
                  <c:v>0.23326934312661718</c:v>
                </c:pt>
                <c:pt idx="9">
                  <c:v>0.023367037478044028</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icolas Feuillatte</c:v>
                </c:pt>
                <c:pt idx="1">
                  <c:v>Moët &amp; Chando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tega</c:v>
                </c:pt>
                <c:pt idx="1">
                  <c:v>Savian</c:v>
                </c:pt>
              </c:strCache>
            </c:strRef>
          </c:cat>
          <c:val>
            <c:numRef>
              <c:f>Sheet1!$C$2:$C$3</c:f>
              <c:numCache>
                <c:formatCode>General</c:formatCode>
                <c:ptCount val="2"/>
                <c:pt idx="0">
                  <c:v>0.0</c:v>
                </c:pt>
                <c:pt idx="1">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m Perignon</c:v>
                </c:pt>
                <c:pt idx="1">
                  <c:v>Roederer</c:v>
                </c:pt>
                <c:pt idx="2">
                  <c:v>Ruinart</c:v>
                </c:pt>
                <c:pt idx="3">
                  <c:v>Malard</c:v>
                </c:pt>
                <c:pt idx="4">
                  <c:v>Pommery</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De Bligny</c:v>
                </c:pt>
                <c:pt idx="3">
                  <c:v>Henriot</c:v>
                </c:pt>
                <c:pt idx="4">
                  <c:v>De Venog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Besserat De Bellefon</c:v>
                </c:pt>
                <c:pt idx="2">
                  <c:v>De Bligny</c:v>
                </c:pt>
                <c:pt idx="3">
                  <c:v>Henriot</c:v>
                </c:pt>
                <c:pt idx="4">
                  <c:v>De Venoge</c:v>
                </c:pt>
              </c:strCache>
            </c:strRef>
          </c:cat>
          <c:val>
            <c:numRef>
              <c:f>Sheet1!$C$2:$C$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B$2:$B$4</c:f>
              <c:numCache>
                <c:formatCode>General</c:formatCode>
                <c:ptCount val="3"/>
                <c:pt idx="0">
                  <c:v>0.9184705434142625</c:v>
                </c:pt>
                <c:pt idx="1">
                  <c:v>1.0</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vet-Ladubay</c:v>
                </c:pt>
                <c:pt idx="1">
                  <c:v>Chateau Moncontour</c:v>
                </c:pt>
                <c:pt idx="2">
                  <c:v>De Chanceny</c:v>
                </c:pt>
              </c:strCache>
            </c:strRef>
          </c:cat>
          <c:val>
            <c:numRef>
              <c:f>Sheet1!$C$2:$C$4</c:f>
              <c:numCache>
                <c:formatCode>General</c:formatCode>
                <c:ptCount val="3"/>
                <c:pt idx="0">
                  <c:v>0.08152945658573751</c:v>
                </c:pt>
                <c:pt idx="1">
                  <c:v>0.0</c:v>
                </c:pt>
                <c:pt idx="2">
                  <c:v>0.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Savian</c:v>
                </c:pt>
                <c:pt idx="1">
                  <c:v>Bottega</c:v>
                </c:pt>
              </c:strCache>
            </c:strRef>
          </c:cat>
          <c:val>
            <c:numRef>
              <c:f>Sheet1!$B$2:$B$3</c:f>
              <c:numCache>
                <c:formatCode>General</c:formatCode>
                <c:ptCount val="2"/>
                <c:pt idx="0">
                  <c:v>0.952</c:v>
                </c:pt>
                <c:pt idx="1">
                  <c:v>0.231000000000000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Savian</c:v>
                </c:pt>
                <c:pt idx="1">
                  <c:v>Bottega</c:v>
                </c:pt>
              </c:strCache>
            </c:strRef>
          </c:cat>
          <c:val>
            <c:numRef>
              <c:f>Sheet1!$B$2:$B$3</c:f>
              <c:numCache>
                <c:formatCode>General</c:formatCode>
                <c:ptCount val="2"/>
                <c:pt idx="0">
                  <c:v>2.480921052631579</c:v>
                </c:pt>
                <c:pt idx="1">
                  <c:v>-0.525541714644614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10299999999999998</c:v>
                </c:pt>
                <c:pt idx="1">
                  <c:v>-0.08099999999999996</c:v>
                </c:pt>
                <c:pt idx="2">
                  <c:v>0.625</c:v>
                </c:pt>
                <c:pt idx="3">
                  <c:v>-0.080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34543237275315175</c:v>
                </c:pt>
                <c:pt idx="1">
                  <c:v>-0.37949735738504164</c:v>
                </c:pt>
                <c:pt idx="2">
                  <c:v>0.7410749977141213</c:v>
                </c:pt>
                <c:pt idx="3">
                  <c:v>0.321905947817966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026999999999999913</c:v>
                </c:pt>
                <c:pt idx="1">
                  <c:v>-0.459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14607518764303928</c:v>
                </c:pt>
                <c:pt idx="1">
                  <c:v>0.1778430104337305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Venoge</c:v>
                </c:pt>
                <c:pt idx="3">
                  <c:v>De Bligny</c:v>
                </c:pt>
                <c:pt idx="4">
                  <c:v>Besserat De Bellefon</c:v>
                </c:pt>
              </c:strCache>
            </c:strRef>
          </c:cat>
          <c:val>
            <c:numRef>
              <c:f>Sheet1!$B$2:$B$6</c:f>
              <c:numCache>
                <c:formatCode>General</c:formatCode>
                <c:ptCount val="5"/>
                <c:pt idx="0">
                  <c:v>0.125</c:v>
                </c:pt>
                <c:pt idx="1">
                  <c:v>0.028000000000000025</c:v>
                </c:pt>
                <c:pt idx="2">
                  <c:v>1.577</c:v>
                </c:pt>
                <c:pt idx="3">
                  <c:v>-0.17000000000000004</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Malard</c:v>
                </c:pt>
                <c:pt idx="1">
                  <c:v>Henriot</c:v>
                </c:pt>
                <c:pt idx="2">
                  <c:v>De Venoge</c:v>
                </c:pt>
                <c:pt idx="3">
                  <c:v>De Bligny</c:v>
                </c:pt>
                <c:pt idx="4">
                  <c:v>Besserat De Bellefon</c:v>
                </c:pt>
              </c:strCache>
            </c:strRef>
          </c:cat>
          <c:val>
            <c:numRef>
              <c:f>Sheet1!$B$2:$B$6</c:f>
              <c:numCache>
                <c:formatCode>General</c:formatCode>
                <c:ptCount val="5"/>
                <c:pt idx="0">
                  <c:v>-0.17968645244554082</c:v>
                </c:pt>
                <c:pt idx="1">
                  <c:v>-0.24967862707925526</c:v>
                </c:pt>
                <c:pt idx="2">
                  <c:v>-0.30932420772800406</c:v>
                </c:pt>
                <c:pt idx="3">
                  <c:v>-0.45526264675652783</c:v>
                </c:pt>
                <c:pt idx="4">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0.65622975309294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118</c:v>
                </c:pt>
                <c:pt idx="1">
                  <c:v>-0.07999999999999996</c:v>
                </c:pt>
                <c:pt idx="2">
                  <c:v>0.778</c:v>
                </c:pt>
                <c:pt idx="3">
                  <c:v>0.12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5031603813420549</c:v>
                </c:pt>
                <c:pt idx="1">
                  <c:v>-0.4635702691657413</c:v>
                </c:pt>
                <c:pt idx="2">
                  <c:v>0.8297120171791665</c:v>
                </c:pt>
                <c:pt idx="3">
                  <c:v>0.1487755786381199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Malard</c:v>
                </c:pt>
                <c:pt idx="2">
                  <c:v>Roederer</c:v>
                </c:pt>
                <c:pt idx="3">
                  <c:v>Ruinart</c:v>
                </c:pt>
                <c:pt idx="4">
                  <c:v>Pommery</c:v>
                </c:pt>
              </c:strCache>
            </c:strRef>
          </c:cat>
          <c:val>
            <c:numRef>
              <c:f>Sheet1!$B$2:$B$6</c:f>
              <c:numCache>
                <c:formatCode>General</c:formatCode>
                <c:ptCount val="5"/>
                <c:pt idx="0">
                  <c:v>16.0</c:v>
                </c:pt>
                <c:pt idx="1">
                  <c:v>0.10299999999999998</c:v>
                </c:pt>
                <c:pt idx="2">
                  <c:v>6.75</c:v>
                </c:pt>
                <c:pt idx="3">
                  <c:v>12.0</c:v>
                </c:pt>
                <c:pt idx="4">
                  <c:v>0.2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om Perignon</c:v>
                </c:pt>
                <c:pt idx="1">
                  <c:v>Malard</c:v>
                </c:pt>
                <c:pt idx="2">
                  <c:v>Roederer</c:v>
                </c:pt>
                <c:pt idx="3">
                  <c:v>Ruinart</c:v>
                </c:pt>
                <c:pt idx="4">
                  <c:v>Pommery</c:v>
                </c:pt>
              </c:strCache>
            </c:strRef>
          </c:cat>
          <c:val>
            <c:numRef>
              <c:f>Sheet1!$B$2:$B$6</c:f>
              <c:numCache>
                <c:formatCode>General</c:formatCode>
                <c:ptCount val="5"/>
                <c:pt idx="0">
                  <c:v>3.079612392643554</c:v>
                </c:pt>
                <c:pt idx="1">
                  <c:v>0.5893742247103186</c:v>
                </c:pt>
                <c:pt idx="2">
                  <c:v>1.4059327356090234</c:v>
                </c:pt>
                <c:pt idx="3">
                  <c:v>6.776002240425681</c:v>
                </c:pt>
                <c:pt idx="4">
                  <c:v>0.626788990825688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12</c:v>
                </c:pt>
                <c:pt idx="1">
                  <c:v>-0.12</c:v>
                </c:pt>
                <c:pt idx="2">
                  <c:v>0.3560000000000001</c:v>
                </c:pt>
                <c:pt idx="3">
                  <c:v>0.12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3995619064317749</c:v>
                </c:pt>
                <c:pt idx="1">
                  <c:v>-0.6092700537761744</c:v>
                </c:pt>
                <c:pt idx="2">
                  <c:v>-0.13492883725972415</c:v>
                </c:pt>
                <c:pt idx="3">
                  <c:v>1.3823857090873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052999999999999936</c:v>
                </c:pt>
                <c:pt idx="1">
                  <c:v>0.38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ottega</c:v>
                </c:pt>
                <c:pt idx="1">
                  <c:v>Savian</c:v>
                </c:pt>
              </c:strCache>
            </c:strRef>
          </c:cat>
          <c:val>
            <c:numRef>
              <c:f>Sheet1!$B$2:$B$3</c:f>
              <c:numCache>
                <c:formatCode>General</c:formatCode>
                <c:ptCount val="2"/>
                <c:pt idx="0">
                  <c:v>0.1805757244553574</c:v>
                </c:pt>
                <c:pt idx="1">
                  <c:v>0.16164398221187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371</c:v>
                </c:pt>
                <c:pt idx="1">
                  <c:v>0.0</c:v>
                </c:pt>
                <c:pt idx="2">
                  <c:v>-0.72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1"/>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ouvet-Ladubay</c:v>
                </c:pt>
                <c:pt idx="1">
                  <c:v>De Chanceny</c:v>
                </c:pt>
                <c:pt idx="2">
                  <c:v>Chateau Moncontour</c:v>
                </c:pt>
              </c:strCache>
            </c:strRef>
          </c:cat>
          <c:val>
            <c:numRef>
              <c:f>Sheet1!$B$2:$B$4</c:f>
              <c:numCache>
                <c:formatCode>General</c:formatCode>
                <c:ptCount val="3"/>
                <c:pt idx="0">
                  <c:v>-0.5364264490892886</c:v>
                </c:pt>
                <c:pt idx="1">
                  <c:v>0.0</c:v>
                </c:pt>
                <c:pt idx="2">
                  <c:v>-0.62271508442400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671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Cru La Maqueline</c:v>
                </c:pt>
              </c:strCache>
            </c:strRef>
          </c:cat>
          <c:val>
            <c:numRef>
              <c:f>Sheet1!$B$2:$B$2</c:f>
              <c:numCache>
                <c:formatCode>General</c:formatCode>
                <c:ptCount val="1"/>
                <c:pt idx="0">
                  <c:v>-0.554628573890660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014000000000000012</c:v>
                </c:pt>
                <c:pt idx="1">
                  <c:v>-0.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Nicolas Feuillatte</c:v>
                </c:pt>
                <c:pt idx="1">
                  <c:v>Moët &amp; Chandon</c:v>
                </c:pt>
              </c:strCache>
            </c:strRef>
          </c:cat>
          <c:val>
            <c:numRef>
              <c:f>Sheet1!$B$2:$B$3</c:f>
              <c:numCache>
                <c:formatCode>General</c:formatCode>
                <c:ptCount val="2"/>
                <c:pt idx="0">
                  <c:v>-0.26491542704215276</c:v>
                </c:pt>
                <c:pt idx="1">
                  <c:v>-0.23152106817395968</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DEDDDD"/>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5"/>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moiselle</c:v>
                </c:pt>
                <c:pt idx="2">
                  <c:v>Deutz</c:v>
                </c:pt>
                <c:pt idx="3">
                  <c:v>Laurent Perrier</c:v>
                </c:pt>
                <c:pt idx="4">
                  <c:v>Pommery</c:v>
                </c:pt>
                <c:pt idx="5">
                  <c:v>Nicolas</c:v>
                </c:pt>
              </c:strCache>
            </c:strRef>
          </c:cat>
          <c:val>
            <c:numRef>
              <c:f>Sheet1!$B$2:$B$7</c:f>
              <c:numCache>
                <c:formatCode>General</c:formatCode>
                <c:ptCount val="6"/>
                <c:pt idx="0">
                  <c:v>2.143</c:v>
                </c:pt>
                <c:pt idx="1">
                  <c:v>-0.14100000000000001</c:v>
                </c:pt>
                <c:pt idx="2">
                  <c:v>-0.262</c:v>
                </c:pt>
                <c:pt idx="3">
                  <c:v>8.0</c:v>
                </c:pt>
                <c:pt idx="4">
                  <c:v>0.08200000000000007</c:v>
                </c:pt>
                <c:pt idx="5">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DEDDDD"/>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Ruinart</c:v>
                </c:pt>
                <c:pt idx="1">
                  <c:v>Demoiselle</c:v>
                </c:pt>
                <c:pt idx="2">
                  <c:v>Deutz</c:v>
                </c:pt>
                <c:pt idx="3">
                  <c:v>Laurent Perrier</c:v>
                </c:pt>
                <c:pt idx="4">
                  <c:v>Pommery</c:v>
                </c:pt>
                <c:pt idx="5">
                  <c:v>Nicolas</c:v>
                </c:pt>
              </c:strCache>
            </c:strRef>
          </c:cat>
          <c:val>
            <c:numRef>
              <c:f>Sheet1!$B$2:$B$7</c:f>
              <c:numCache>
                <c:formatCode>General</c:formatCode>
                <c:ptCount val="6"/>
                <c:pt idx="0">
                  <c:v>0.7124513529308039</c:v>
                </c:pt>
                <c:pt idx="1">
                  <c:v>-0.3188733507694753</c:v>
                </c:pt>
                <c:pt idx="2">
                  <c:v>-0.1519257458747657</c:v>
                </c:pt>
                <c:pt idx="3">
                  <c:v>1.6245271975306594</c:v>
                </c:pt>
                <c:pt idx="4">
                  <c:v>-0.5880650751137969</c:v>
                </c:pt>
                <c:pt idx="5">
                  <c:v>0.10687401828037668</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2"/>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Laurent Perrier</c:v>
                </c:pt>
                <c:pt idx="3">
                  <c:v>Nicolas Feuillatte</c:v>
                </c:pt>
                <c:pt idx="4">
                  <c:v>Nicolas</c:v>
                </c:pt>
              </c:strCache>
            </c:strRef>
          </c:cat>
          <c:val>
            <c:numRef>
              <c:f>Sheet1!$B$2:$B$6</c:f>
              <c:numCache>
                <c:formatCode>General</c:formatCode>
                <c:ptCount val="5"/>
                <c:pt idx="0">
                  <c:v>3.4290000000000003</c:v>
                </c:pt>
                <c:pt idx="1">
                  <c:v>-0.015000000000000013</c:v>
                </c:pt>
                <c:pt idx="2">
                  <c:v>0.0</c:v>
                </c:pt>
                <c:pt idx="3">
                  <c:v>-0.029000000000000026</c:v>
                </c:pt>
                <c:pt idx="4">
                  <c:v>-0.332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c:spPr>
            <c:extLst>
              <c:ext xmlns:c16="http://schemas.microsoft.com/office/drawing/2014/chart" uri="{C3380CC4-5D6E-409C-BE32-E72D297353CC}">
                <c16:uniqueId val="{00000007-26FB-4B52-8D72-D56D618E8EAF}"/>
              </c:ext>
            </c:extLst>
          </c:dPt>
          <c:dPt>
            <c:idx val="4"/>
            <c:invertIfNegative val="0"/>
            <c:bubble3D val="0"/>
            <c:spPr>
              <a:solidFill>
                <a:srgbClr val="E6E5E5"/>
              </a:solidFill>
            </c:spPr>
            <c:extLst>
              <c:ext xmlns:c16="http://schemas.microsoft.com/office/drawing/2014/chart" uri="{C3380CC4-5D6E-409C-BE32-E72D297353CC}">
                <c16:uniqueId val="{00000009-26FB-4B52-8D72-D56D618E8EAF}"/>
              </c:ext>
            </c:extLst>
          </c:dPt>
          <c:dPt>
            <c:idx val="5"/>
            <c:invertIfNegative val="0"/>
            <c:bubble3D val="0"/>
            <c:spPr>
              <a:solidFill>
                <a:srgbClr val="E6E5E5"/>
              </a:solidFill>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rgbClr val="E6E5E5"/>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rgbClr val="E6E5E5"/>
              </a:solidFill>
              <a:ln>
                <a:noFill/>
              </a:ln>
              <a:effectLst/>
            </c:spPr>
            <c:extLst>
              <c:ext xmlns:c16="http://schemas.microsoft.com/office/drawing/2014/chart" uri="{C3380CC4-5D6E-409C-BE32-E72D297353CC}">
                <c16:uniqueId val="{00000002-7B2D-4A32-96D2-9C641BCDE5CC}"/>
              </c:ext>
            </c:extLst>
          </c:dPt>
          <c:dPt>
            <c:idx val="13"/>
            <c:invertIfNegative val="0"/>
            <c:bubble3D val="0"/>
            <c:spPr>
              <a:solidFill>
                <a:srgbClr val="E6E5E5"/>
              </a:solidFill>
            </c:spPr>
            <c:extLst>
              <c:ext xmlns:c16="http://schemas.microsoft.com/office/drawing/2014/chart" uri="{C3380CC4-5D6E-409C-BE32-E72D297353CC}">
                <c16:uniqueId val="{00000017-26FB-4B52-8D72-D56D618E8EAF}"/>
              </c:ext>
            </c:extLst>
          </c:dPt>
          <c:dPt>
            <c:idx val="14"/>
            <c:invertIfNegative val="0"/>
            <c:bubble3D val="0"/>
            <c:spPr>
              <a:solidFill>
                <a:srgbClr val="E6E5E5"/>
              </a:solidFill>
              <a:ln>
                <a:noFill/>
              </a:ln>
              <a:effectLst/>
            </c:spPr>
            <c:extLst>
              <c:ext xmlns:c16="http://schemas.microsoft.com/office/drawing/2014/chart" uri="{C3380CC4-5D6E-409C-BE32-E72D297353CC}">
                <c16:uniqueId val="{00000019-26FB-4B52-8D72-D56D618E8EAF}"/>
              </c:ext>
            </c:extLst>
          </c:dPt>
          <c:dPt>
            <c:idx val="15"/>
            <c:invertIfNegative val="0"/>
            <c:bubble3D val="0"/>
            <c:spPr>
              <a:solidFill>
                <a:srgbClr val="E6E5E5"/>
              </a:solidFill>
            </c:spPr>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rgbClr val="E6E5E5"/>
              </a:solidFill>
              <a:ln>
                <a:noFill/>
              </a:ln>
              <a:effectLst/>
            </c:spPr>
            <c:extLst>
              <c:ext xmlns:c16="http://schemas.microsoft.com/office/drawing/2014/chart" uri="{C3380CC4-5D6E-409C-BE32-E72D297353CC}">
                <c16:uniqueId val="{00000005-0A6E-4C83-9A06-9C3309B2855E}"/>
              </c:ext>
            </c:extLst>
          </c:dPt>
          <c:dPt>
            <c:idx val="29"/>
            <c:invertIfNegative val="0"/>
            <c:bubble3D val="0"/>
            <c:spPr>
              <a:solidFill>
                <a:srgbClr val="7ECAC4"/>
              </a:solidFill>
            </c:spPr>
            <c:extLst>
              <c:ext xmlns:c16="http://schemas.microsoft.com/office/drawing/2014/chart" uri="{C3380CC4-5D6E-409C-BE32-E72D297353CC}">
                <c16:uniqueId val="{00000003-8F47-486F-B734-6012CEA493B3}"/>
              </c:ext>
            </c:extLst>
          </c:dPt>
          <c:dPt>
            <c:idx val="31"/>
            <c:invertIfNegative val="0"/>
            <c:bubble3D val="0"/>
            <c:spPr>
              <a:solidFill>
                <a:srgbClr val="E6E5E5"/>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rgbClr val="E6E5E5"/>
              </a:solidFill>
              <a:ln>
                <a:noFill/>
              </a:ln>
              <a:effectLst/>
            </c:spPr>
            <c:extLst>
              <c:ext xmlns:c16="http://schemas.microsoft.com/office/drawing/2014/chart" uri="{C3380CC4-5D6E-409C-BE32-E72D297353CC}">
                <c16:uniqueId val="{00000001-4D12-44DE-B956-CABCB15EBC04}"/>
              </c:ext>
            </c:extLst>
          </c:dPt>
          <c:dPt>
            <c:idx val="9"/>
            <c:spPr>
              <a:solidFill>
                <a:srgbClr val="7ECAC4"/>
              </a:solidFill>
            </c:spPr>
          </c:dPt>
          <c:dPt>
            <c:idx val="10"/>
            <c:spPr>
              <a:solidFill>
                <a:srgbClr val="E6E5E5"/>
              </a:solidFill>
            </c:spPr>
          </c:dPt>
          <c:dPt>
            <c:idx val="16"/>
            <c:spPr>
              <a:solidFill>
                <a:srgbClr val="E6E5E5"/>
              </a:solidFill>
            </c:spPr>
          </c:dPt>
          <c:dPt>
            <c:idx val="17"/>
            <c:spPr>
              <a:solidFill>
                <a:srgbClr val="E6E5E5"/>
              </a:solidFill>
            </c:spPr>
          </c:dPt>
          <c:dPt>
            <c:idx val="18"/>
            <c:spPr>
              <a:solidFill>
                <a:srgbClr val="E6E5E5"/>
              </a:solidFill>
            </c:spPr>
          </c:dPt>
          <c:dPt>
            <c:idx val="20"/>
            <c:spPr>
              <a:solidFill>
                <a:srgbClr val="E6E5E5"/>
              </a:solidFill>
            </c:spPr>
          </c:dPt>
          <c:dPt>
            <c:idx val="21"/>
            <c:spPr>
              <a:solidFill>
                <a:srgbClr val="E6E5E5"/>
              </a:solidFill>
            </c:spPr>
          </c:dPt>
          <c:dPt>
            <c:idx val="22"/>
            <c:spPr>
              <a:solidFill>
                <a:srgbClr val="E6E5E5"/>
              </a:solidFill>
            </c:spPr>
          </c:dPt>
          <c:dPt>
            <c:idx val="23"/>
            <c:spPr>
              <a:solidFill>
                <a:srgbClr val="E6E5E5"/>
              </a:solidFill>
            </c:spPr>
          </c:dPt>
          <c:dPt>
            <c:idx val="25"/>
            <c:spPr>
              <a:solidFill>
                <a:srgbClr val="E6E5E5"/>
              </a:solidFill>
            </c:spPr>
          </c:dPt>
          <c:dPt>
            <c:idx val="26"/>
            <c:spPr>
              <a:solidFill>
                <a:srgbClr val="E6E5E5"/>
              </a:solidFill>
            </c:spPr>
          </c:dPt>
          <c:dPt>
            <c:idx val="27"/>
            <c:spPr>
              <a:solidFill>
                <a:srgbClr val="E6E5E5"/>
              </a:solidFill>
            </c:spPr>
          </c:dPt>
          <c:dPt>
            <c:idx val="28"/>
            <c:spPr>
              <a:solidFill>
                <a:srgbClr val="E6E5E5"/>
              </a:solidFill>
            </c:spPr>
          </c:dPt>
          <c:dPt>
            <c:idx val="30"/>
            <c:spPr>
              <a:solidFill>
                <a:srgbClr val="E6E5E5"/>
              </a:solidFill>
            </c:spPr>
          </c:dPt>
          <c:dPt>
            <c:idx val="32"/>
            <c:spPr>
              <a:solidFill>
                <a:srgbClr val="E6E5E5"/>
              </a:solidFill>
            </c:spPr>
          </c:dPt>
          <c:dPt>
            <c:idx val="34"/>
            <c:spPr>
              <a:solidFill>
                <a:srgbClr val="E6E5E5"/>
              </a:solidFill>
            </c:spPr>
          </c:dPt>
          <c:dPt>
            <c:idx val="35"/>
            <c:spPr>
              <a:solidFill>
                <a:srgbClr val="E6E5E5"/>
              </a:solidFill>
            </c:spPr>
          </c:dPt>
          <c:dPt>
            <c:idx val="36"/>
            <c:spPr>
              <a:solidFill>
                <a:srgbClr val="E6E5E5"/>
              </a:solidFill>
            </c:spPr>
          </c:dPt>
          <c:dPt>
            <c:idx val="37"/>
            <c:spPr>
              <a:solidFill>
                <a:srgbClr val="E6E5E5"/>
              </a:solidFill>
            </c:spPr>
          </c:dPt>
          <c:dPt>
            <c:idx val="38"/>
            <c:spPr>
              <a:solidFill>
                <a:srgbClr val="E6E5E5"/>
              </a:solidFill>
            </c:spPr>
          </c:dPt>
          <c:dPt>
            <c:idx val="39"/>
            <c:spPr>
              <a:solidFill>
                <a:srgbClr val="7ECAC4"/>
              </a:solidFill>
            </c:spPr>
          </c:dPt>
          <c:dPt>
            <c:idx val="40"/>
            <c:spPr>
              <a:solidFill>
                <a:srgbClr val="E6E5E5"/>
              </a:solidFill>
            </c:spPr>
          </c:dPt>
          <c:dPt>
            <c:idx val="41"/>
            <c:spPr>
              <a:solidFill>
                <a:srgbClr val="E6E5E5"/>
              </a:solidFill>
            </c:spPr>
          </c:dPt>
          <c:dPt>
            <c:idx val="42"/>
            <c:spPr>
              <a:solidFill>
                <a:srgbClr val="E6E5E5"/>
              </a:solidFill>
            </c:spPr>
          </c:dPt>
          <c:dPt>
            <c:idx val="43"/>
            <c:spPr>
              <a:solidFill>
                <a:srgbClr val="E6E5E5"/>
              </a:solidFill>
            </c:spPr>
          </c:dPt>
          <c:dPt>
            <c:idx val="44"/>
            <c:spPr>
              <a:solidFill>
                <a:srgbClr val="E6E5E5"/>
              </a:solidFill>
            </c:spPr>
          </c:dPt>
          <c:dPt>
            <c:idx val="45"/>
            <c:spPr>
              <a:solidFill>
                <a:srgbClr val="E6E5E5"/>
              </a:solidFill>
            </c:spPr>
          </c:dPt>
          <c:dPt>
            <c:idx val="46"/>
            <c:spPr>
              <a:solidFill>
                <a:srgbClr val="E6E5E5"/>
              </a:solidFill>
            </c:spPr>
          </c:dPt>
          <c:dPt>
            <c:idx val="47"/>
            <c:spPr>
              <a:solidFill>
                <a:srgbClr val="E6E5E5"/>
              </a:solidFill>
            </c:spPr>
          </c:dPt>
          <c:dPt>
            <c:idx val="48"/>
            <c:spPr>
              <a:solidFill>
                <a:srgbClr val="E6E5E5"/>
              </a:solidFill>
            </c:spPr>
          </c:dPt>
          <c:dPt>
            <c:idx val="49"/>
            <c:spPr>
              <a:solidFill>
                <a:srgbClr val="7ECAC4"/>
              </a:solidFill>
            </c:spPr>
          </c:dPt>
          <c:dPt>
            <c:idx val="50"/>
            <c:spPr>
              <a:solidFill>
                <a:srgbClr val="E6E5E5"/>
              </a:solidFill>
            </c:spPr>
          </c:dPt>
          <c:dPt>
            <c:idx val="51"/>
            <c:spPr>
              <a:solidFill>
                <a:srgbClr val="E6E5E5"/>
              </a:solidFill>
            </c:spPr>
          </c:dPt>
          <c:dPt>
            <c:idx val="52"/>
            <c:spPr>
              <a:solidFill>
                <a:srgbClr val="E6E5E5"/>
              </a:solidFill>
            </c:spPr>
          </c:dPt>
          <c:dPt>
            <c:idx val="53"/>
            <c:spPr>
              <a:solidFill>
                <a:srgbClr val="E6E5E5"/>
              </a:solidFill>
            </c:spPr>
          </c:dPt>
          <c:dPt>
            <c:idx val="54"/>
            <c:spPr>
              <a:solidFill>
                <a:srgbClr val="E6E5E5"/>
              </a:solidFill>
            </c:spPr>
          </c:dPt>
          <c:dPt>
            <c:idx val="55"/>
            <c:spPr>
              <a:solidFill>
                <a:srgbClr val="E6E5E5"/>
              </a:solidFill>
            </c:spPr>
          </c:dPt>
          <c:dPt>
            <c:idx val="56"/>
            <c:spPr>
              <a:solidFill>
                <a:srgbClr val="E6E5E5"/>
              </a:solidFill>
            </c:spPr>
          </c:dPt>
          <c:dPt>
            <c:idx val="57"/>
            <c:spPr>
              <a:solidFill>
                <a:srgbClr val="E6E5E5"/>
              </a:solidFill>
            </c:spPr>
          </c:dPt>
          <c:dPt>
            <c:idx val="58"/>
            <c:spPr>
              <a:solidFill>
                <a:srgbClr val="E6E5E5"/>
              </a:solidFill>
            </c:spPr>
          </c:dPt>
          <c:dPt>
            <c:idx val="59"/>
            <c:spPr>
              <a:solidFill>
                <a:srgbClr val="7ECAC4"/>
              </a:solidFill>
            </c:spPr>
          </c:dPt>
          <c:dPt>
            <c:idx val="60"/>
            <c:spPr>
              <a:solidFill>
                <a:srgbClr val="E6E5E5"/>
              </a:solidFill>
            </c:spPr>
          </c:dPt>
          <c:dPt>
            <c:idx val="61"/>
            <c:spPr>
              <a:solidFill>
                <a:srgbClr val="E6E5E5"/>
              </a:solidFill>
            </c:spPr>
          </c:dPt>
          <c:dPt>
            <c:idx val="62"/>
            <c:spPr>
              <a:solidFill>
                <a:srgbClr val="E6E5E5"/>
              </a:solidFill>
            </c:spPr>
          </c:dPt>
          <c:dPt>
            <c:idx val="63"/>
            <c:spPr>
              <a:solidFill>
                <a:srgbClr val="E6E5E5"/>
              </a:solidFill>
            </c:spPr>
          </c:dPt>
          <c:dPt>
            <c:idx val="64"/>
            <c:spPr>
              <a:solidFill>
                <a:srgbClr val="E6E5E5"/>
              </a:solidFill>
            </c:spPr>
          </c:dPt>
          <c:dPt>
            <c:idx val="65"/>
            <c:spPr>
              <a:solidFill>
                <a:srgbClr val="E6E5E5"/>
              </a:solidFill>
            </c:spPr>
          </c:dPt>
          <c:dPt>
            <c:idx val="66"/>
            <c:spPr>
              <a:solidFill>
                <a:srgbClr val="E6E5E5"/>
              </a:solidFill>
            </c:spPr>
          </c:dPt>
          <c:dPt>
            <c:idx val="67"/>
            <c:spPr>
              <a:solidFill>
                <a:srgbClr val="E6E5E5"/>
              </a:solidFill>
            </c:spPr>
          </c:dPt>
          <c:dPt>
            <c:idx val="68"/>
            <c:spPr>
              <a:solidFill>
                <a:srgbClr val="E6E5E5"/>
              </a:solidFill>
            </c:spPr>
          </c:dPt>
          <c:dPt>
            <c:idx val="69"/>
            <c:spPr>
              <a:solidFill>
                <a:srgbClr val="7ECAC4"/>
              </a:solidFill>
            </c:spPr>
          </c:dPt>
          <c:dPt>
            <c:idx val="70"/>
            <c:spPr>
              <a:solidFill>
                <a:srgbClr val="E6E5E5"/>
              </a:solidFill>
            </c:spPr>
          </c:dPt>
          <c:dPt>
            <c:idx val="71"/>
            <c:spPr>
              <a:solidFill>
                <a:srgbClr val="E6E5E5"/>
              </a:solidFill>
            </c:spPr>
          </c:dPt>
          <c:dPt>
            <c:idx val="72"/>
            <c:spPr>
              <a:solidFill>
                <a:srgbClr val="E6E5E5"/>
              </a:solidFill>
            </c:spPr>
          </c:dPt>
          <c:dPt>
            <c:idx val="73"/>
            <c:spPr>
              <a:solidFill>
                <a:srgbClr val="E6E5E5"/>
              </a:solidFill>
            </c:spPr>
          </c:dPt>
          <c:dPt>
            <c:idx val="74"/>
            <c:spPr>
              <a:solidFill>
                <a:srgbClr val="E6E5E5"/>
              </a:solidFill>
            </c:spPr>
          </c:dPt>
          <c:dPt>
            <c:idx val="75"/>
            <c:spPr>
              <a:solidFill>
                <a:srgbClr val="E6E5E5"/>
              </a:solidFill>
            </c:spPr>
          </c:dPt>
          <c:dPt>
            <c:idx val="76"/>
            <c:spPr>
              <a:solidFill>
                <a:srgbClr val="E6E5E5"/>
              </a:solidFill>
            </c:spPr>
          </c:dPt>
          <c:dPt>
            <c:idx val="77"/>
            <c:spPr>
              <a:solidFill>
                <a:srgbClr val="E6E5E5"/>
              </a:solidFill>
            </c:spPr>
          </c:dPt>
          <c:dPt>
            <c:idx val="78"/>
            <c:spPr>
              <a:solidFill>
                <a:srgbClr val="E6E5E5"/>
              </a:solidFill>
            </c:spPr>
          </c:dPt>
          <c:dPt>
            <c:idx val="79"/>
            <c:spPr>
              <a:solidFill>
                <a:srgbClr val="7ECAC4"/>
              </a:solidFill>
            </c:spPr>
          </c:dPt>
          <c:dPt>
            <c:idx val="80"/>
            <c:spPr>
              <a:solidFill>
                <a:srgbClr val="E6E5E5"/>
              </a:solidFill>
            </c:spPr>
          </c:dPt>
          <c:dPt>
            <c:idx val="81"/>
            <c:spPr>
              <a:solidFill>
                <a:srgbClr val="E6E5E5"/>
              </a:solidFill>
            </c:spPr>
          </c:dPt>
          <c:dPt>
            <c:idx val="82"/>
            <c:spPr>
              <a:solidFill>
                <a:srgbClr val="E6E5E5"/>
              </a:solidFill>
            </c:spPr>
          </c:dPt>
          <c:dPt>
            <c:idx val="83"/>
            <c:spPr>
              <a:solidFill>
                <a:srgbClr val="E6E5E5"/>
              </a:solidFill>
            </c:spPr>
          </c:dPt>
          <c:dPt>
            <c:idx val="84"/>
            <c:spPr>
              <a:solidFill>
                <a:srgbClr val="E6E5E5"/>
              </a:solidFill>
            </c:spPr>
          </c:dPt>
          <c:dPt>
            <c:idx val="85"/>
            <c:spPr>
              <a:solidFill>
                <a:srgbClr val="E6E5E5"/>
              </a:solidFill>
            </c:spPr>
          </c:dPt>
          <c:dPt>
            <c:idx val="86"/>
            <c:spPr>
              <a:solidFill>
                <a:srgbClr val="E6E5E5"/>
              </a:solidFill>
            </c:spPr>
          </c:dPt>
          <c:dPt>
            <c:idx val="87"/>
            <c:spPr>
              <a:solidFill>
                <a:srgbClr val="E6E5E5"/>
              </a:solidFill>
            </c:spPr>
          </c:dPt>
          <c:dPt>
            <c:idx val="88"/>
            <c:spPr>
              <a:solidFill>
                <a:srgbClr val="E6E5E5"/>
              </a:solidFill>
            </c:spPr>
          </c:dPt>
          <c:dPt>
            <c:idx val="89"/>
            <c:spPr>
              <a:solidFill>
                <a:srgbClr val="7ECAC4"/>
              </a:solidFill>
            </c:spPr>
          </c:dPt>
          <c:dPt>
            <c:idx val="90"/>
            <c:spPr>
              <a:solidFill>
                <a:srgbClr val="E6E5E5"/>
              </a:solidFill>
            </c:spPr>
          </c:dPt>
          <c:dPt>
            <c:idx val="91"/>
            <c:spPr>
              <a:solidFill>
                <a:srgbClr val="E6E5E5"/>
              </a:solidFill>
            </c:spPr>
          </c:dPt>
          <c:dPt>
            <c:idx val="92"/>
            <c:spPr>
              <a:solidFill>
                <a:srgbClr val="E6E5E5"/>
              </a:solidFill>
            </c:spPr>
          </c:dPt>
          <c:dPt>
            <c:idx val="93"/>
            <c:spPr>
              <a:solidFill>
                <a:srgbClr val="E6E5E5"/>
              </a:solidFill>
            </c:spPr>
          </c:dPt>
          <c:dPt>
            <c:idx val="94"/>
            <c:spPr>
              <a:solidFill>
                <a:srgbClr val="E6E5E5"/>
              </a:solidFill>
            </c:spPr>
          </c:dPt>
          <c:dPt>
            <c:idx val="95"/>
            <c:spPr>
              <a:solidFill>
                <a:srgbClr val="E6E5E5"/>
              </a:solidFill>
            </c:spPr>
          </c:dPt>
          <c:dPt>
            <c:idx val="96"/>
            <c:spPr>
              <a:solidFill>
                <a:srgbClr val="E6E5E5"/>
              </a:solidFill>
            </c:spPr>
          </c:dPt>
          <c:dPt>
            <c:idx val="97"/>
            <c:spPr>
              <a:solidFill>
                <a:srgbClr val="E6E5E5"/>
              </a:solidFill>
            </c:spPr>
          </c:dPt>
          <c:dPt>
            <c:idx val="98"/>
            <c:spPr>
              <a:solidFill>
                <a:srgbClr val="E6E5E5"/>
              </a:solidFill>
            </c:spPr>
          </c:dPt>
          <c:dPt>
            <c:idx val="99"/>
            <c:spPr>
              <a:solidFill>
                <a:srgbClr val="7ECAC4"/>
              </a:solidFill>
            </c:spPr>
          </c:dPt>
          <c:dPt>
            <c:idx val="100"/>
            <c:spPr>
              <a:solidFill>
                <a:srgbClr val="E6E5E5"/>
              </a:solidFill>
            </c:spPr>
          </c:dPt>
          <c:dPt>
            <c:idx val="101"/>
            <c:spPr>
              <a:solidFill>
                <a:srgbClr val="E6E5E5"/>
              </a:solidFill>
            </c:spPr>
          </c:dPt>
          <c:dPt>
            <c:idx val="102"/>
            <c:spPr>
              <a:solidFill>
                <a:srgbClr val="E6E5E5"/>
              </a:solidFill>
            </c:spPr>
          </c:dPt>
          <c:dPt>
            <c:idx val="103"/>
            <c:spPr>
              <a:solidFill>
                <a:srgbClr val="E6E5E5"/>
              </a:solidFill>
            </c:spPr>
          </c:dPt>
          <c:dPt>
            <c:idx val="104"/>
            <c:spPr>
              <a:solidFill>
                <a:srgbClr val="E6E5E5"/>
              </a:solidFill>
            </c:spPr>
          </c:dPt>
          <c:dPt>
            <c:idx val="105"/>
            <c:spPr>
              <a:solidFill>
                <a:srgbClr val="E6E5E5"/>
              </a:solidFill>
            </c:spPr>
          </c:dPt>
          <c:dPt>
            <c:idx val="106"/>
            <c:spPr>
              <a:solidFill>
                <a:srgbClr val="E6E5E5"/>
              </a:solidFill>
            </c:spPr>
          </c:dPt>
          <c:dPt>
            <c:idx val="107"/>
            <c:spPr>
              <a:solidFill>
                <a:srgbClr val="E6E5E5"/>
              </a:solidFill>
            </c:spPr>
          </c:dPt>
          <c:dPt>
            <c:idx val="108"/>
            <c:spPr>
              <a:solidFill>
                <a:srgbClr val="E6E5E5"/>
              </a:solidFill>
            </c:spPr>
          </c:dPt>
          <c:dPt>
            <c:idx val="109"/>
            <c:spPr>
              <a:solidFill>
                <a:srgbClr val="7ECAC4"/>
              </a:solidFill>
            </c:spPr>
          </c:dPt>
          <c:dPt>
            <c:idx val="110"/>
            <c:spPr>
              <a:solidFill>
                <a:srgbClr val="E6E5E5"/>
              </a:solidFill>
            </c:spPr>
          </c:dPt>
          <c:dPt>
            <c:idx val="111"/>
            <c:spPr>
              <a:solidFill>
                <a:srgbClr val="E6E5E5"/>
              </a:solidFill>
            </c:spPr>
          </c:dPt>
          <c:dPt>
            <c:idx val="112"/>
            <c:spPr>
              <a:solidFill>
                <a:srgbClr val="E6E5E5"/>
              </a:solidFill>
            </c:spPr>
          </c:dPt>
          <c:dPt>
            <c:idx val="113"/>
            <c:spPr>
              <a:solidFill>
                <a:srgbClr val="E6E5E5"/>
              </a:solidFill>
            </c:spPr>
          </c:dPt>
          <c:dPt>
            <c:idx val="114"/>
            <c:spPr>
              <a:solidFill>
                <a:srgbClr val="E6E5E5"/>
              </a:solidFill>
            </c:spPr>
          </c:dPt>
          <c:dPt>
            <c:idx val="115"/>
            <c:spPr>
              <a:solidFill>
                <a:srgbClr val="E6E5E5"/>
              </a:solidFill>
            </c:spPr>
          </c:dPt>
          <c:dPt>
            <c:idx val="116"/>
            <c:spPr>
              <a:solidFill>
                <a:srgbClr val="E6E5E5"/>
              </a:solidFill>
            </c:spPr>
          </c:dPt>
          <c:dPt>
            <c:idx val="117"/>
            <c:spPr>
              <a:solidFill>
                <a:srgbClr val="E6E5E5"/>
              </a:solidFill>
            </c:spPr>
          </c:dPt>
          <c:dPt>
            <c:idx val="118"/>
            <c:spPr>
              <a:solidFill>
                <a:srgbClr val="E6E5E5"/>
              </a:solidFill>
            </c:spPr>
          </c:dPt>
          <c:dPt>
            <c:idx val="119"/>
            <c:spPr>
              <a:solidFill>
                <a:srgbClr val="7ECAC4"/>
              </a:solidFill>
            </c:spPr>
          </c:dPt>
          <c:dPt>
            <c:idx val="120"/>
            <c:spPr>
              <a:solidFill>
                <a:srgbClr val="E6E5E5"/>
              </a:solidFill>
            </c:spPr>
          </c:dPt>
          <c:dPt>
            <c:idx val="121"/>
            <c:spPr>
              <a:solidFill>
                <a:srgbClr val="E6E5E5"/>
              </a:solidFill>
            </c:spPr>
          </c:dPt>
          <c:dPt>
            <c:idx val="122"/>
            <c:spPr>
              <a:solidFill>
                <a:srgbClr val="E6E5E5"/>
              </a:solidFill>
            </c:spPr>
          </c:dPt>
          <c:dPt>
            <c:idx val="123"/>
            <c:spPr>
              <a:solidFill>
                <a:srgbClr val="E6E5E5"/>
              </a:solidFill>
            </c:spPr>
          </c:dPt>
          <c:dPt>
            <c:idx val="124"/>
            <c:spPr>
              <a:solidFill>
                <a:srgbClr val="E6E5E5"/>
              </a:solidFill>
            </c:spPr>
          </c:dPt>
          <c:dPt>
            <c:idx val="125"/>
            <c:spPr>
              <a:solidFill>
                <a:srgbClr val="E6E5E5"/>
              </a:solidFill>
            </c:spPr>
          </c:dPt>
          <c:dPt>
            <c:idx val="126"/>
            <c:spPr>
              <a:solidFill>
                <a:srgbClr val="E6E5E5"/>
              </a:solidFill>
            </c:spPr>
          </c:dPt>
          <c:dPt>
            <c:idx val="127"/>
            <c:spPr>
              <a:solidFill>
                <a:srgbClr val="E6E5E5"/>
              </a:solidFill>
            </c:spPr>
          </c:dPt>
          <c:dPt>
            <c:idx val="128"/>
            <c:spPr>
              <a:solidFill>
                <a:srgbClr val="E6E5E5"/>
              </a:solidFill>
            </c:spPr>
          </c:dPt>
          <c:dPt>
            <c:idx val="129"/>
            <c:spPr>
              <a:solidFill>
                <a:srgbClr val="7ECAC4"/>
              </a:solidFill>
            </c:spPr>
          </c:dPt>
          <c:dPt>
            <c:idx val="130"/>
            <c:spPr>
              <a:solidFill>
                <a:srgbClr val="E6E5E5"/>
              </a:solidFill>
            </c:spPr>
          </c:dPt>
          <c:dPt>
            <c:idx val="131"/>
            <c:spPr>
              <a:solidFill>
                <a:srgbClr val="E6E5E5"/>
              </a:solidFill>
            </c:spPr>
          </c:dPt>
          <c:dPt>
            <c:idx val="132"/>
            <c:spPr>
              <a:solidFill>
                <a:srgbClr val="E6E5E5"/>
              </a:solidFill>
            </c:spPr>
          </c:dPt>
          <c:dPt>
            <c:idx val="133"/>
            <c:spPr>
              <a:solidFill>
                <a:srgbClr val="E6E5E5"/>
              </a:solidFill>
            </c:spPr>
          </c:dPt>
          <c:dPt>
            <c:idx val="134"/>
            <c:spPr>
              <a:solidFill>
                <a:srgbClr val="E6E5E5"/>
              </a:solidFill>
            </c:spPr>
          </c:dPt>
          <c:dPt>
            <c:idx val="135"/>
            <c:spPr>
              <a:solidFill>
                <a:srgbClr val="E6E5E5"/>
              </a:solidFill>
            </c:spPr>
          </c:dPt>
          <c:dPt>
            <c:idx val="136"/>
            <c:spPr>
              <a:solidFill>
                <a:srgbClr val="E6E5E5"/>
              </a:solidFill>
            </c:spPr>
          </c:dPt>
          <c:dPt>
            <c:idx val="137"/>
            <c:spPr>
              <a:solidFill>
                <a:srgbClr val="E6E5E5"/>
              </a:solidFill>
            </c:spPr>
          </c:dPt>
          <c:dPt>
            <c:idx val="138"/>
            <c:spPr>
              <a:solidFill>
                <a:srgbClr val="E6E5E5"/>
              </a:solidFill>
            </c:spPr>
          </c:dPt>
          <c:dPt>
            <c:idx val="139"/>
            <c:spPr>
              <a:solidFill>
                <a:srgbClr val="7ECAC4"/>
              </a:solidFill>
            </c:spPr>
          </c:dPt>
          <c:dPt>
            <c:idx val="140"/>
            <c:spPr>
              <a:solidFill>
                <a:srgbClr val="E6E5E5"/>
              </a:solidFill>
            </c:spPr>
          </c:dPt>
          <c:dPt>
            <c:idx val="141"/>
            <c:spPr>
              <a:solidFill>
                <a:srgbClr val="E6E5E5"/>
              </a:solidFill>
            </c:spPr>
          </c:dPt>
          <c:dPt>
            <c:idx val="142"/>
            <c:spPr>
              <a:solidFill>
                <a:srgbClr val="E6E5E5"/>
              </a:solidFill>
            </c:spPr>
          </c:dPt>
          <c:dPt>
            <c:idx val="143"/>
            <c:spPr>
              <a:solidFill>
                <a:srgbClr val="E6E5E5"/>
              </a:solidFill>
            </c:spPr>
          </c:dPt>
          <c:dPt>
            <c:idx val="144"/>
            <c:spPr>
              <a:solidFill>
                <a:srgbClr val="E6E5E5"/>
              </a:solidFill>
            </c:spPr>
          </c:dPt>
          <c:dPt>
            <c:idx val="145"/>
            <c:spPr>
              <a:solidFill>
                <a:srgbClr val="E6E5E5"/>
              </a:solidFill>
            </c:spPr>
          </c:dPt>
          <c:dPt>
            <c:idx val="146"/>
            <c:spPr>
              <a:solidFill>
                <a:srgbClr val="E6E5E5"/>
              </a:solidFill>
            </c:spPr>
          </c:dPt>
          <c:dPt>
            <c:idx val="147"/>
            <c:spPr>
              <a:solidFill>
                <a:srgbClr val="E6E5E5"/>
              </a:solidFill>
            </c:spPr>
          </c:dPt>
          <c:dPt>
            <c:idx val="148"/>
            <c:spPr>
              <a:solidFill>
                <a:srgbClr val="E6E5E5"/>
              </a:solidFill>
            </c:spPr>
          </c:dPt>
          <c:dPt>
            <c:idx val="149"/>
            <c:spPr>
              <a:solidFill>
                <a:srgbClr val="7ECAC4"/>
              </a:solidFill>
            </c:spPr>
          </c:dPt>
          <c:dPt>
            <c:idx val="150"/>
            <c:spPr>
              <a:solidFill>
                <a:srgbClr val="E6E5E5"/>
              </a:solidFill>
            </c:spPr>
          </c:dPt>
          <c:dPt>
            <c:idx val="151"/>
            <c:spPr>
              <a:solidFill>
                <a:srgbClr val="E6E5E5"/>
              </a:solidFill>
            </c:spPr>
          </c:dPt>
          <c:dPt>
            <c:idx val="152"/>
            <c:spPr>
              <a:solidFill>
                <a:srgbClr val="E6E5E5"/>
              </a:solidFill>
            </c:spPr>
          </c:dPt>
          <c:dPt>
            <c:idx val="153"/>
            <c:spPr>
              <a:solidFill>
                <a:srgbClr val="E6E5E5"/>
              </a:solidFill>
            </c:spPr>
          </c:dPt>
          <c:dPt>
            <c:idx val="154"/>
            <c:spPr>
              <a:solidFill>
                <a:srgbClr val="E6E5E5"/>
              </a:solidFill>
            </c:spPr>
          </c:dPt>
          <c:dPt>
            <c:idx val="155"/>
            <c:spPr>
              <a:solidFill>
                <a:srgbClr val="E6E5E5"/>
              </a:solidFill>
            </c:spPr>
          </c:dPt>
          <c:dPt>
            <c:idx val="156"/>
            <c:spPr>
              <a:solidFill>
                <a:srgbClr val="E6E5E5"/>
              </a:solidFill>
            </c:spPr>
          </c:dPt>
          <c:dPt>
            <c:idx val="157"/>
            <c:spPr>
              <a:solidFill>
                <a:srgbClr val="E6E5E5"/>
              </a:solidFill>
            </c:spPr>
          </c:dPt>
          <c:dPt>
            <c:idx val="158"/>
            <c:spPr>
              <a:solidFill>
                <a:srgbClr val="E6E5E5"/>
              </a:solidFill>
            </c:spPr>
          </c:dPt>
          <c:dPt>
            <c:idx val="159"/>
            <c:spPr>
              <a:solidFill>
                <a:srgbClr val="7ECAC4"/>
              </a:solidFill>
            </c:spPr>
          </c:dPt>
          <c:dLbls>
            <c:dLbl>
              <c:idx val="0"/>
              <c:tx>
                <c:rich>
                  <a:bodyPr/>
                  <a:lstStyle/>
                  <a:p>
                    <a:fld id="{65604B78-D0DA-4E61-8DDD-A86E5F2A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74B680D2-7D6F-43C7-BACC-BCF72E68B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BD96A48-6F4F-47EE-AA2C-B22F0D77A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B37793F-0A8E-444B-9BEA-A96941AB8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FDCDF30-1B76-4510-9BD1-588C2E12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F0B29D8-4996-4142-BE19-A2BE1FD24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7D4B7E39-EED5-4C98-92F4-E41CF2572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AD158414-20AB-4CDA-A840-EAA645F0F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B74BDF1B-5347-435D-886C-6FFE88B92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5116140-E026-4358-A742-31B70B08A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A1C12AC8-7AD8-4EED-B8A6-DE1CC0886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5D412EB5-08A3-478D-B9FB-5FB27DB3A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592857CA-DA0D-4C6A-9757-00E04A14F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6BBE6629-84DD-41B1-9E0F-367865FCF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571EDC0E-D4E1-41FF-86EC-73D951213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E0E16A63-AA74-4F67-845D-7FED9C89B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BC4FDFBA-8CE0-4B04-AE3B-FB1F2F9A4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4A721EA-0A70-4268-8E98-BE039C8F7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895FF5CA-7C1A-43E4-B620-B65FE899D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7D2E55D3-3735-4E0C-A144-40107B2A5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64904C94-91BC-46DE-96F4-3004600A4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32758322-B751-40CC-B098-0662D2220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EB46672F-7133-4540-870E-744C7C9B0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0F288B97-1934-4FD5-9D0E-4162D08E9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7EEB11F9-6938-4CA0-B5A1-03E74649E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3C5B1BC7-4B7C-4311-B987-C7910F746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C8CC0B3F-D47A-4B09-9328-488565EFF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71B219E-C81C-4137-A3B7-3372A7905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E8BD42D2-EDE2-4724-ABDF-3AD5F0309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2F57FF68-043D-4B17-861B-BD8F7591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087C8507-B589-4B0B-8E7A-C53271C25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2E8EA9E9-0560-46B4-8C58-1DF208B38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6DAC835-0AAA-4E02-B125-FDB639169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A1AF665E-A868-452D-93DB-53830DEE1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043AFFB-13E8-49E5-9A97-0A3FBBA1D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386B32B4-DA75-4D6C-BA72-254422824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1A9D9061-CE18-4178-87D0-D31634271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1507CF04-5E18-48A6-A815-204EF7CFB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54B7EF82-7C0E-4435-BE6D-DE619FD5B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5AEAE70D-AE0B-498E-AAC1-8E80557A4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09ED5EE-4B0D-4809-9F79-9D40C4FED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06058610-F3BE-4E1C-9656-351DE2072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619055C3-2530-4210-A189-28E1CCBEB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54491303-6160-457D-8C59-2E3710CA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3B32F8D7-83B8-413E-8654-EA25837DD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A5D425B-A496-4A8E-A64A-914ADA057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08B05F87-C136-4B91-8085-E24E3307E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29CBFF7C-1A55-4FDA-B772-AEE7A85FA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79D9208-C343-43AB-80D7-19E9CC3EA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BE67FD3F-AC85-460C-9FC3-66CE9C29A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7D3E03E6-3F9F-4AE1-8252-4DA6BCD02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F8140421-1C15-4E88-BF7B-35E9A6F96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FC51BA58-DCB4-4C74-896A-4935ED54C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BA6643A6-A1A9-432F-BC30-4B1D2215B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049B6FCC-1EB6-4585-AEC0-AD4312519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B650BEF-D576-4A4B-AA6F-B1C23A16F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0D1DB705-1D5E-41EC-B55A-B157F7EFF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9F1F9161-6966-47DD-9E21-EEFE39CC2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5CBBDD09-7DBB-4F79-9FD0-E3FE454C0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724F074D-C6A2-440C-BADB-691ED7777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41DFF2D2-FD8A-4E4C-AF6C-444CEF27A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4A66A71B-499D-4991-BF1C-9A076D48C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9D653F54-A048-4EB3-B071-E5381A34C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A22EC7F7-3F64-4225-9320-738F43DE7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4B297DCD-B619-4404-AF63-5D906C063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85AB4A61-76C5-4B7D-9773-1BE2CBBAE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CABBB6E0-EB46-4E70-A7D6-63794078C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829EBCAD-CA1B-4AC4-B4AD-BB8BB317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7CFE9D67-B43D-443A-901D-F9C3B2EB6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4B45F32E-EB29-4711-9C8C-20141A891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5E41626A-B653-49D1-BD7D-0DFA626A1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DBCF2750-AF10-43B2-9365-BB604F252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77B35DFF-DCF2-4902-853A-2DD4A3B78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C6E9E4D7-B65F-4E9D-B37A-5FAA79E32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91CB471C-B9F9-4CE3-AD73-D2F61F2D9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D276218F-0B61-4FFF-8646-CB3AA2596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4A4C48A3-CD68-4DC5-B7A0-6C466A587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42FC4683-CEC7-4973-B127-F216E9D4A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A43332D-4271-4C03-9C6D-78BD44FFE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EE7D4E84-71EA-4D1F-89EC-EAD2906F5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018D77C1-F247-41D2-9F76-71C86F9A8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BC8B9038-C3BB-44E9-88B6-887969E1B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BD2F266C-CF69-45C1-92E6-EFB3D1D8F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89ECB765-63A2-46F7-98DA-0CCC58ACA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E953A797-65E9-4615-8F9F-624738174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2F7D0FD6-0EA2-4341-979E-3682136DD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0379B8B-0F9D-4013-B3DF-C8B94B1CC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C4E0AEC8-215C-4F80-8015-D65270886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7A634B0-5B92-432F-A6AE-EF4555A90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AAE10F2-7C15-407B-921D-7AC48872B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F2D69E3B-3D8A-43FB-A44E-FDA314EEF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74D1F2F7-912F-45EE-8D77-7EECF50E3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DF6B0627-F632-4C27-8E51-58D09CFBB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219350EC-CACB-4834-B224-CF762848C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005D8B02-28C8-4DC4-8882-D9413305F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881DCFD7-A0B4-4BE4-BAB0-24A6268E9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3FC48EFE-E3FE-4541-B4C7-902581A0C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6A2D495C-3BBC-46C1-A572-A162E8FC6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E99EF305-FFF6-4A5E-9FDC-629C388F6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9A42FFB2-214E-4094-A848-E26C60A49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1BD50BF5-D6C8-4515-AF17-FB8CDC50C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3C7D1BF8-7962-472B-93AC-5E04D99BF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E6DF7798-B69D-494A-8743-EA4F9C346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28AB0F96-0D9B-4D6C-A22B-D2AC68D06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17BF16CA-4BC3-418A-90EB-7E89A1025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30D55E6D-7CCF-4C6F-92F3-8BC2635B3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1A7CDD5C-FF5B-4FB5-8420-951ABEC18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4801FDC1-82CE-466A-B840-5A6958B8B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AA1B8380-B083-4C72-9B26-E99D33BFA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F1D20295-597D-4B07-91F8-154385DC6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732D673B-598A-4048-9A28-292047DED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6D9F4C1D-91D6-4315-9718-DD5B88A4F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159BCFA7-E2E5-47B2-A576-3B54CAFBC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38D10D62-F9BA-4E34-AF08-78E74367C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9454DBD7-0E83-45B2-BBA1-E3CD3F1F9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FB49339D-F6CE-48BC-9807-F2B585E8B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1</c:f>
              <c:numCache>
                <c:formatCode>General</c:formatCode>
                <c:ptCount val="160"/>
                <c:pt idx="0">
                  <c:v>1</c:v>
                </c:pt>
                <c:pt idx="1">
                  <c:v>1</c:v>
                </c:pt>
                <c:pt idx="2">
                  <c:v>1</c:v>
                </c:pt>
                <c:pt idx="3">
                  <c:v>1</c:v>
                </c:pt>
                <c:pt idx="4">
                  <c:v>1</c:v>
                </c:pt>
                <c:pt idx="5">
                  <c:v>1</c:v>
                </c:pt>
                <c:pt idx="6">
                  <c:v>1</c:v>
                </c:pt>
                <c:pt idx="7">
                  <c:v>1</c:v>
                </c:pt>
                <c:pt idx="8">
                  <c:v>1</c:v>
                </c:pt>
                <c:pt idx="9">
                  <c:v>1</c:v>
                </c:pt>
                <c:pt idx="10">
                  <c:v>3</c:v>
                </c:pt>
                <c:pt idx="11">
                  <c:v>3</c:v>
                </c:pt>
                <c:pt idx="12">
                  <c:v>3</c:v>
                </c:pt>
                <c:pt idx="13">
                  <c:v>3</c:v>
                </c:pt>
                <c:pt idx="14">
                  <c:v>3</c:v>
                </c:pt>
                <c:pt idx="15">
                  <c:v>3</c:v>
                </c:pt>
                <c:pt idx="16">
                  <c:v>3</c:v>
                </c:pt>
                <c:pt idx="17">
                  <c:v>3</c:v>
                </c:pt>
                <c:pt idx="18">
                  <c:v>3</c:v>
                </c:pt>
                <c:pt idx="19">
                  <c:v>3</c:v>
                </c:pt>
                <c:pt idx="20">
                  <c:v>5</c:v>
                </c:pt>
                <c:pt idx="21">
                  <c:v>5</c:v>
                </c:pt>
                <c:pt idx="22">
                  <c:v>5</c:v>
                </c:pt>
                <c:pt idx="23">
                  <c:v>5</c:v>
                </c:pt>
                <c:pt idx="24">
                  <c:v>5</c:v>
                </c:pt>
                <c:pt idx="25">
                  <c:v>5</c:v>
                </c:pt>
                <c:pt idx="26">
                  <c:v>5</c:v>
                </c:pt>
                <c:pt idx="27">
                  <c:v>5</c:v>
                </c:pt>
                <c:pt idx="28">
                  <c:v>5</c:v>
                </c:pt>
                <c:pt idx="29">
                  <c:v>5</c:v>
                </c:pt>
                <c:pt idx="30">
                  <c:v>7</c:v>
                </c:pt>
                <c:pt idx="31">
                  <c:v>7</c:v>
                </c:pt>
                <c:pt idx="32">
                  <c:v>7</c:v>
                </c:pt>
                <c:pt idx="33">
                  <c:v>7</c:v>
                </c:pt>
                <c:pt idx="34">
                  <c:v>7</c:v>
                </c:pt>
                <c:pt idx="35">
                  <c:v>7</c:v>
                </c:pt>
                <c:pt idx="36">
                  <c:v>7</c:v>
                </c:pt>
                <c:pt idx="37">
                  <c:v>7</c:v>
                </c:pt>
                <c:pt idx="38">
                  <c:v>7</c:v>
                </c:pt>
                <c:pt idx="39">
                  <c:v>7</c:v>
                </c:pt>
                <c:pt idx="40">
                  <c:v>9</c:v>
                </c:pt>
                <c:pt idx="41">
                  <c:v>9</c:v>
                </c:pt>
                <c:pt idx="42">
                  <c:v>9</c:v>
                </c:pt>
                <c:pt idx="43">
                  <c:v>9</c:v>
                </c:pt>
                <c:pt idx="44">
                  <c:v>9</c:v>
                </c:pt>
                <c:pt idx="45">
                  <c:v>9</c:v>
                </c:pt>
                <c:pt idx="46">
                  <c:v>9</c:v>
                </c:pt>
                <c:pt idx="47">
                  <c:v>9</c:v>
                </c:pt>
                <c:pt idx="48">
                  <c:v>9</c:v>
                </c:pt>
                <c:pt idx="49">
                  <c:v>9</c:v>
                </c:pt>
                <c:pt idx="50">
                  <c:v>11</c:v>
                </c:pt>
                <c:pt idx="51">
                  <c:v>11</c:v>
                </c:pt>
                <c:pt idx="52">
                  <c:v>11</c:v>
                </c:pt>
                <c:pt idx="53">
                  <c:v>11</c:v>
                </c:pt>
                <c:pt idx="54">
                  <c:v>11</c:v>
                </c:pt>
                <c:pt idx="55">
                  <c:v>11</c:v>
                </c:pt>
                <c:pt idx="56">
                  <c:v>11</c:v>
                </c:pt>
                <c:pt idx="57">
                  <c:v>11</c:v>
                </c:pt>
                <c:pt idx="58">
                  <c:v>11</c:v>
                </c:pt>
                <c:pt idx="59">
                  <c:v>11</c:v>
                </c:pt>
                <c:pt idx="60">
                  <c:v>13</c:v>
                </c:pt>
                <c:pt idx="61">
                  <c:v>13</c:v>
                </c:pt>
                <c:pt idx="62">
                  <c:v>13</c:v>
                </c:pt>
                <c:pt idx="63">
                  <c:v>13</c:v>
                </c:pt>
                <c:pt idx="64">
                  <c:v>13</c:v>
                </c:pt>
                <c:pt idx="65">
                  <c:v>13</c:v>
                </c:pt>
                <c:pt idx="66">
                  <c:v>13</c:v>
                </c:pt>
                <c:pt idx="67">
                  <c:v>13</c:v>
                </c:pt>
                <c:pt idx="68">
                  <c:v>13</c:v>
                </c:pt>
                <c:pt idx="69">
                  <c:v>13</c:v>
                </c:pt>
                <c:pt idx="70">
                  <c:v>15</c:v>
                </c:pt>
                <c:pt idx="71">
                  <c:v>15</c:v>
                </c:pt>
                <c:pt idx="72">
                  <c:v>15</c:v>
                </c:pt>
                <c:pt idx="73">
                  <c:v>15</c:v>
                </c:pt>
                <c:pt idx="74">
                  <c:v>15</c:v>
                </c:pt>
                <c:pt idx="75">
                  <c:v>15</c:v>
                </c:pt>
                <c:pt idx="76">
                  <c:v>15</c:v>
                </c:pt>
                <c:pt idx="77">
                  <c:v>15</c:v>
                </c:pt>
                <c:pt idx="78">
                  <c:v>15</c:v>
                </c:pt>
                <c:pt idx="79">
                  <c:v>15</c:v>
                </c:pt>
                <c:pt idx="80">
                  <c:v>17</c:v>
                </c:pt>
                <c:pt idx="81">
                  <c:v>17</c:v>
                </c:pt>
                <c:pt idx="82">
                  <c:v>17</c:v>
                </c:pt>
                <c:pt idx="83">
                  <c:v>17</c:v>
                </c:pt>
                <c:pt idx="84">
                  <c:v>17</c:v>
                </c:pt>
                <c:pt idx="85">
                  <c:v>17</c:v>
                </c:pt>
                <c:pt idx="86">
                  <c:v>17</c:v>
                </c:pt>
                <c:pt idx="87">
                  <c:v>17</c:v>
                </c:pt>
                <c:pt idx="88">
                  <c:v>17</c:v>
                </c:pt>
                <c:pt idx="89">
                  <c:v>17</c:v>
                </c:pt>
                <c:pt idx="90">
                  <c:v>19</c:v>
                </c:pt>
                <c:pt idx="91">
                  <c:v>19</c:v>
                </c:pt>
                <c:pt idx="92">
                  <c:v>19</c:v>
                </c:pt>
                <c:pt idx="93">
                  <c:v>19</c:v>
                </c:pt>
                <c:pt idx="94">
                  <c:v>19</c:v>
                </c:pt>
                <c:pt idx="95">
                  <c:v>19</c:v>
                </c:pt>
                <c:pt idx="96">
                  <c:v>19</c:v>
                </c:pt>
                <c:pt idx="97">
                  <c:v>19</c:v>
                </c:pt>
                <c:pt idx="98">
                  <c:v>19</c:v>
                </c:pt>
                <c:pt idx="99">
                  <c:v>19</c:v>
                </c:pt>
                <c:pt idx="100">
                  <c:v>21</c:v>
                </c:pt>
                <c:pt idx="101">
                  <c:v>21</c:v>
                </c:pt>
                <c:pt idx="102">
                  <c:v>21</c:v>
                </c:pt>
                <c:pt idx="103">
                  <c:v>21</c:v>
                </c:pt>
                <c:pt idx="104">
                  <c:v>21</c:v>
                </c:pt>
                <c:pt idx="105">
                  <c:v>21</c:v>
                </c:pt>
                <c:pt idx="106">
                  <c:v>21</c:v>
                </c:pt>
                <c:pt idx="107">
                  <c:v>21</c:v>
                </c:pt>
                <c:pt idx="108">
                  <c:v>21</c:v>
                </c:pt>
                <c:pt idx="109">
                  <c:v>21</c:v>
                </c:pt>
                <c:pt idx="110">
                  <c:v>23</c:v>
                </c:pt>
                <c:pt idx="111">
                  <c:v>23</c:v>
                </c:pt>
                <c:pt idx="112">
                  <c:v>23</c:v>
                </c:pt>
                <c:pt idx="113">
                  <c:v>23</c:v>
                </c:pt>
                <c:pt idx="114">
                  <c:v>23</c:v>
                </c:pt>
                <c:pt idx="115">
                  <c:v>23</c:v>
                </c:pt>
                <c:pt idx="116">
                  <c:v>23</c:v>
                </c:pt>
                <c:pt idx="117">
                  <c:v>23</c:v>
                </c:pt>
                <c:pt idx="118">
                  <c:v>23</c:v>
                </c:pt>
                <c:pt idx="119">
                  <c:v>23</c:v>
                </c:pt>
                <c:pt idx="120">
                  <c:v>25</c:v>
                </c:pt>
                <c:pt idx="121">
                  <c:v>25</c:v>
                </c:pt>
                <c:pt idx="122">
                  <c:v>25</c:v>
                </c:pt>
                <c:pt idx="123">
                  <c:v>25</c:v>
                </c:pt>
                <c:pt idx="124">
                  <c:v>25</c:v>
                </c:pt>
                <c:pt idx="125">
                  <c:v>25</c:v>
                </c:pt>
                <c:pt idx="126">
                  <c:v>25</c:v>
                </c:pt>
                <c:pt idx="127">
                  <c:v>25</c:v>
                </c:pt>
                <c:pt idx="128">
                  <c:v>25</c:v>
                </c:pt>
                <c:pt idx="129">
                  <c:v>25</c:v>
                </c:pt>
                <c:pt idx="130">
                  <c:v>27</c:v>
                </c:pt>
                <c:pt idx="131">
                  <c:v>27</c:v>
                </c:pt>
                <c:pt idx="132">
                  <c:v>27</c:v>
                </c:pt>
                <c:pt idx="133">
                  <c:v>27</c:v>
                </c:pt>
                <c:pt idx="134">
                  <c:v>27</c:v>
                </c:pt>
                <c:pt idx="135">
                  <c:v>27</c:v>
                </c:pt>
                <c:pt idx="136">
                  <c:v>27</c:v>
                </c:pt>
                <c:pt idx="137">
                  <c:v>27</c:v>
                </c:pt>
                <c:pt idx="138">
                  <c:v>27</c:v>
                </c:pt>
                <c:pt idx="139">
                  <c:v>27</c:v>
                </c:pt>
                <c:pt idx="140">
                  <c:v>29</c:v>
                </c:pt>
                <c:pt idx="141">
                  <c:v>29</c:v>
                </c:pt>
                <c:pt idx="142">
                  <c:v>29</c:v>
                </c:pt>
                <c:pt idx="143">
                  <c:v>29</c:v>
                </c:pt>
                <c:pt idx="144">
                  <c:v>29</c:v>
                </c:pt>
                <c:pt idx="145">
                  <c:v>29</c:v>
                </c:pt>
                <c:pt idx="146">
                  <c:v>29</c:v>
                </c:pt>
                <c:pt idx="147">
                  <c:v>29</c:v>
                </c:pt>
                <c:pt idx="148">
                  <c:v>29</c:v>
                </c:pt>
                <c:pt idx="149">
                  <c:v>29</c:v>
                </c:pt>
                <c:pt idx="150">
                  <c:v>31</c:v>
                </c:pt>
                <c:pt idx="151">
                  <c:v>31</c:v>
                </c:pt>
                <c:pt idx="152">
                  <c:v>31</c:v>
                </c:pt>
                <c:pt idx="153">
                  <c:v>31</c:v>
                </c:pt>
                <c:pt idx="154">
                  <c:v>31</c:v>
                </c:pt>
                <c:pt idx="155">
                  <c:v>31</c:v>
                </c:pt>
                <c:pt idx="156">
                  <c:v>31</c:v>
                </c:pt>
                <c:pt idx="157">
                  <c:v>31</c:v>
                </c:pt>
                <c:pt idx="158">
                  <c:v>31</c:v>
                </c:pt>
                <c:pt idx="159">
                  <c:v>31</c:v>
                </c:pt>
              </c:numCache>
            </c:numRef>
          </c:xVal>
          <c:yVal>
            <c:numRef>
              <c:f>Sheet1!$B$2:$B$161</c:f>
              <c:numCache>
                <c:formatCode>General</c:formatCode>
                <c:ptCount val="160"/>
                <c:pt idx="0">
                  <c:v>0.6715426975257872</c:v>
                </c:pt>
                <c:pt idx="1">
                  <c:v>1.140935615701603</c:v>
                </c:pt>
                <c:pt idx="2">
                  <c:v>2.9318064584048917</c:v>
                </c:pt>
                <c:pt idx="3">
                  <c:v>0.7932179522287043</c:v>
                </c:pt>
                <c:pt idx="4">
                  <c:v>2.4618522741894653</c:v>
                </c:pt>
                <c:pt idx="5">
                  <c:v>5.063831579292238</c:v>
                </c:pt>
                <c:pt idx="6">
                  <c:v>1.7744464369855668</c:v>
                </c:pt>
                <c:pt idx="7">
                  <c:v>0.7073959679238083</c:v>
                </c:pt>
                <c:pt idx="8">
                  <c:v>1.112896691539706</c:v>
                </c:pt>
                <c:pt idx="9">
                  <c:v>5.618150831221556</c:v>
                </c:pt>
                <c:pt idx="10">
                  <c:v>0.5477606706244917</c:v>
                </c:pt>
                <c:pt idx="11">
                  <c:v>1.1623416904866346</c:v>
                </c:pt>
                <c:pt idx="12">
                  <c:v>0.7140176715273205</c:v>
                </c:pt>
                <c:pt idx="13">
                  <c:v>2.583348869920126</c:v>
                </c:pt>
                <c:pt idx="14">
                  <c:v>2.4295554384644404</c:v>
                </c:pt>
                <c:pt idx="15">
                  <c:v>4.788425139833589</c:v>
                </c:pt>
                <c:pt idx="16">
                  <c:v>0.5927012388675096</c:v>
                </c:pt>
                <c:pt idx="17">
                  <c:v>1.7580528978078414</c:v>
                </c:pt>
                <c:pt idx="18">
                  <c:v>3.272780606927575</c:v>
                </c:pt>
                <c:pt idx="19">
                  <c:v>6.259929287140171</c:v>
                </c:pt>
                <c:pt idx="20">
                  <c:v>0.7630950951003972</c:v>
                </c:pt>
                <c:pt idx="21">
                  <c:v>1.2457431486312522</c:v>
                </c:pt>
                <c:pt idx="22">
                  <c:v>0.7924423268720766</c:v>
                </c:pt>
                <c:pt idx="23">
                  <c:v>3.74411181814524</c:v>
                </c:pt>
                <c:pt idx="24">
                  <c:v>2.7409515774531124</c:v>
                </c:pt>
                <c:pt idx="25">
                  <c:v>1.0175541958168608</c:v>
                </c:pt>
                <c:pt idx="26">
                  <c:v>3.7283657991097554</c:v>
                </c:pt>
                <c:pt idx="27">
                  <c:v>4.508506964000756</c:v>
                </c:pt>
                <c:pt idx="28">
                  <c:v>0.7369182218013035</c:v>
                </c:pt>
                <c:pt idx="29">
                  <c:v>7.624168245361739</c:v>
                </c:pt>
                <c:pt idx="30">
                  <c:v>0.4964190811709074</c:v>
                </c:pt>
                <c:pt idx="31">
                  <c:v>1.0592769235928405</c:v>
                </c:pt>
                <c:pt idx="32">
                  <c:v>2.8900174512996153</c:v>
                </c:pt>
                <c:pt idx="33">
                  <c:v>0.9003867428337271</c:v>
                </c:pt>
                <c:pt idx="34">
                  <c:v>1.5784818584683562</c:v>
                </c:pt>
                <c:pt idx="35">
                  <c:v>2.7708211742229114</c:v>
                </c:pt>
                <c:pt idx="36">
                  <c:v>1.176046951990537</c:v>
                </c:pt>
                <c:pt idx="37">
                  <c:v>1.0435931171578148</c:v>
                </c:pt>
                <c:pt idx="38">
                  <c:v>0.8712809324555177</c:v>
                </c:pt>
                <c:pt idx="39">
                  <c:v>2.4453662378577055</c:v>
                </c:pt>
                <c:pt idx="40">
                  <c:v>0.6868682876576111</c:v>
                </c:pt>
                <c:pt idx="41">
                  <c:v>0.9006009371814996</c:v>
                </c:pt>
                <c:pt idx="42">
                  <c:v>2.817255555836348</c:v>
                </c:pt>
                <c:pt idx="43">
                  <c:v>2.035462502597475</c:v>
                </c:pt>
                <c:pt idx="44">
                  <c:v>0.9050475446465028</c:v>
                </c:pt>
                <c:pt idx="45">
                  <c:v>2.0607690457765186</c:v>
                </c:pt>
                <c:pt idx="46">
                  <c:v>1.8564612954186412</c:v>
                </c:pt>
                <c:pt idx="47">
                  <c:v>1.272579581053451</c:v>
                </c:pt>
                <c:pt idx="48">
                  <c:v>1.4626058096619599</c:v>
                </c:pt>
                <c:pt idx="49">
                  <c:v>3.304841601912732</c:v>
                </c:pt>
                <c:pt idx="50">
                  <c:v>1.0684453097211384</c:v>
                </c:pt>
                <c:pt idx="51">
                  <c:v>1.1251654080064157</c:v>
                </c:pt>
                <c:pt idx="52">
                  <c:v>1.0931269161575334</c:v>
                </c:pt>
                <c:pt idx="53">
                  <c:v>3.881348706337101</c:v>
                </c:pt>
                <c:pt idx="54">
                  <c:v>2.579356270810211</c:v>
                </c:pt>
                <c:pt idx="55">
                  <c:v>2.360837418182551</c:v>
                </c:pt>
                <c:pt idx="56">
                  <c:v>1.7314173438124416</c:v>
                </c:pt>
                <c:pt idx="57">
                  <c:v>3.5930038825161112</c:v>
                </c:pt>
                <c:pt idx="58">
                  <c:v>3.9023874671387953</c:v>
                </c:pt>
                <c:pt idx="59">
                  <c:v>4.814616755793226</c:v>
                </c:pt>
                <c:pt idx="60">
                  <c:v>0.5880023515206172</c:v>
                </c:pt>
                <c:pt idx="61">
                  <c:v>1.178825552532752</c:v>
                </c:pt>
                <c:pt idx="62">
                  <c:v>2.7088939586657426</c:v>
                </c:pt>
                <c:pt idx="63">
                  <c:v>0.7377042228855656</c:v>
                </c:pt>
                <c:pt idx="64">
                  <c:v>2.4442811375576072</c:v>
                </c:pt>
                <c:pt idx="65">
                  <c:v>1.766368842521681</c:v>
                </c:pt>
                <c:pt idx="66">
                  <c:v>4.37249803586574</c:v>
                </c:pt>
                <c:pt idx="67">
                  <c:v>0.5944532739181027</c:v>
                </c:pt>
                <c:pt idx="68">
                  <c:v>1.5460572187042987</c:v>
                </c:pt>
                <c:pt idx="69">
                  <c:v>6.372394271651029</c:v>
                </c:pt>
                <c:pt idx="70">
                  <c:v>0.9208577178796296</c:v>
                </c:pt>
                <c:pt idx="71">
                  <c:v>1.7004431259678732</c:v>
                </c:pt>
                <c:pt idx="72">
                  <c:v>3.2483820461592066</c:v>
                </c:pt>
                <c:pt idx="73">
                  <c:v>2.5770654156893404</c:v>
                </c:pt>
                <c:pt idx="74">
                  <c:v>7.484492215454554</c:v>
                </c:pt>
                <c:pt idx="75">
                  <c:v>0.9825214265431401</c:v>
                </c:pt>
                <c:pt idx="76">
                  <c:v>2.202428057553957</c:v>
                </c:pt>
                <c:pt idx="77">
                  <c:v>2.030382651693307</c:v>
                </c:pt>
                <c:pt idx="78">
                  <c:v>3.1367242746345645</c:v>
                </c:pt>
                <c:pt idx="79">
                  <c:v>2.6997176559166767</c:v>
                </c:pt>
                <c:pt idx="80">
                  <c:v>0.9370143606543468</c:v>
                </c:pt>
                <c:pt idx="81">
                  <c:v>1.5480866932018036</c:v>
                </c:pt>
                <c:pt idx="82">
                  <c:v>0.8408292385599472</c:v>
                </c:pt>
                <c:pt idx="83">
                  <c:v>3.880146282674646</c:v>
                </c:pt>
                <c:pt idx="84">
                  <c:v>6.549333466297651</c:v>
                </c:pt>
                <c:pt idx="85">
                  <c:v>1.4850014257095787</c:v>
                </c:pt>
                <c:pt idx="86">
                  <c:v>1.5489590271800349</c:v>
                </c:pt>
                <c:pt idx="87">
                  <c:v>3.275093717854991</c:v>
                </c:pt>
                <c:pt idx="88">
                  <c:v>1.2196721229263205</c:v>
                </c:pt>
                <c:pt idx="89">
                  <c:v>4.993321190042502</c:v>
                </c:pt>
                <c:pt idx="90">
                  <c:v>0.8890708734158725</c:v>
                </c:pt>
                <c:pt idx="91">
                  <c:v>1.4880701591343233</c:v>
                </c:pt>
                <c:pt idx="92">
                  <c:v>0.9736119355860692</c:v>
                </c:pt>
                <c:pt idx="93">
                  <c:v>8.467025719938448</c:v>
                </c:pt>
                <c:pt idx="94">
                  <c:v>0.8477604495338402</c:v>
                </c:pt>
                <c:pt idx="95">
                  <c:v>1.250435603863837</c:v>
                </c:pt>
                <c:pt idx="96">
                  <c:v>2.9110783261802573</c:v>
                </c:pt>
                <c:pt idx="97">
                  <c:v>1.0699912680702435</c:v>
                </c:pt>
                <c:pt idx="98">
                  <c:v>1.9616835466068288</c:v>
                </c:pt>
                <c:pt idx="99">
                  <c:v>4.561597058050959</c:v>
                </c:pt>
                <c:pt idx="100">
                  <c:v>0.9813628146293978</c:v>
                </c:pt>
                <c:pt idx="101">
                  <c:v>1.0599293025642407</c:v>
                </c:pt>
                <c:pt idx="102">
                  <c:v>0.8991863555922188</c:v>
                </c:pt>
                <c:pt idx="103">
                  <c:v>3.372790491844734</c:v>
                </c:pt>
                <c:pt idx="104">
                  <c:v>1.6805990578049401</c:v>
                </c:pt>
                <c:pt idx="105">
                  <c:v>2.5895451013632833</c:v>
                </c:pt>
                <c:pt idx="106">
                  <c:v>0.9898548309380015</c:v>
                </c:pt>
                <c:pt idx="107">
                  <c:v>2.232529758927678</c:v>
                </c:pt>
                <c:pt idx="108">
                  <c:v>0.7868200836820084</c:v>
                </c:pt>
                <c:pt idx="109">
                  <c:v>2.9231927710843375</c:v>
                </c:pt>
                <c:pt idx="110">
                  <c:v>0.488590176057084</c:v>
                </c:pt>
                <c:pt idx="111">
                  <c:v>1.0052229667968466</c:v>
                </c:pt>
                <c:pt idx="112">
                  <c:v>2.9840451453309256</c:v>
                </c:pt>
                <c:pt idx="113">
                  <c:v>0.946523950711649</c:v>
                </c:pt>
                <c:pt idx="114">
                  <c:v>1.9425734027800547</c:v>
                </c:pt>
                <c:pt idx="115">
                  <c:v>2.7248771560446845</c:v>
                </c:pt>
                <c:pt idx="116">
                  <c:v>1.2785385504248623</c:v>
                </c:pt>
                <c:pt idx="117">
                  <c:v>5.333513745612215</c:v>
                </c:pt>
                <c:pt idx="118">
                  <c:v>1.763295742567986</c:v>
                </c:pt>
                <c:pt idx="119">
                  <c:v>5.2434520343538695</c:v>
                </c:pt>
                <c:pt idx="120">
                  <c:v>0.6054565612811993</c:v>
                </c:pt>
                <c:pt idx="121">
                  <c:v>1.1395627440008633</c:v>
                </c:pt>
                <c:pt idx="122">
                  <c:v>3.5529252591071137</c:v>
                </c:pt>
                <c:pt idx="123">
                  <c:v>1.0054089151326109</c:v>
                </c:pt>
                <c:pt idx="124">
                  <c:v>2.7748039014531516</c:v>
                </c:pt>
                <c:pt idx="125">
                  <c:v>4.281390509290394</c:v>
                </c:pt>
                <c:pt idx="126">
                  <c:v>1.5408987054737506</c:v>
                </c:pt>
                <c:pt idx="127">
                  <c:v>0.7512648014311181</c:v>
                </c:pt>
                <c:pt idx="128">
                  <c:v>3.426911755228483</c:v>
                </c:pt>
                <c:pt idx="129">
                  <c:v>6.256346313364368</c:v>
                </c:pt>
                <c:pt idx="130">
                  <c:v>0.7022223093874026</c:v>
                </c:pt>
                <c:pt idx="131">
                  <c:v>1.121853224269687</c:v>
                </c:pt>
                <c:pt idx="132">
                  <c:v>0.6788508167196337</c:v>
                </c:pt>
                <c:pt idx="133">
                  <c:v>3.0580826964730496</c:v>
                </c:pt>
                <c:pt idx="134">
                  <c:v>2.5750063198274638</c:v>
                </c:pt>
                <c:pt idx="135">
                  <c:v>4.870838313170262</c:v>
                </c:pt>
                <c:pt idx="136">
                  <c:v>0.594127472678165</c:v>
                </c:pt>
                <c:pt idx="137">
                  <c:v>1.0502653702141767</c:v>
                </c:pt>
                <c:pt idx="138">
                  <c:v>4.00105131328236</c:v>
                </c:pt>
                <c:pt idx="139">
                  <c:v>5.181098450686669</c:v>
                </c:pt>
                <c:pt idx="140">
                  <c:v>0.6729061732690976</c:v>
                </c:pt>
                <c:pt idx="141">
                  <c:v>1.2735692822849123</c:v>
                </c:pt>
                <c:pt idx="142">
                  <c:v>0.7104655120748979</c:v>
                </c:pt>
                <c:pt idx="143">
                  <c:v>2.8525966369975033</c:v>
                </c:pt>
                <c:pt idx="144">
                  <c:v>2.405198749979357</c:v>
                </c:pt>
                <c:pt idx="145">
                  <c:v>5.027034491208144</c:v>
                </c:pt>
                <c:pt idx="146">
                  <c:v>0.9302837185524933</c:v>
                </c:pt>
                <c:pt idx="147">
                  <c:v>0.6547992441121029</c:v>
                </c:pt>
                <c:pt idx="148">
                  <c:v>1.44097949082082</c:v>
                </c:pt>
                <c:pt idx="149">
                  <c:v>5.922086551820179</c:v>
                </c:pt>
                <c:pt idx="150">
                  <c:v>0.6898975419769199</c:v>
                </c:pt>
                <c:pt idx="151">
                  <c:v>1.4009552652574773</c:v>
                </c:pt>
                <c:pt idx="152">
                  <c:v>0.5884802542248292</c:v>
                </c:pt>
                <c:pt idx="153">
                  <c:v>2.3220141734662603</c:v>
                </c:pt>
                <c:pt idx="154">
                  <c:v>4.912541887129411</c:v>
                </c:pt>
                <c:pt idx="155">
                  <c:v>1.9261945795677082</c:v>
                </c:pt>
                <c:pt idx="156">
                  <c:v>1.1047231269630542</c:v>
                </c:pt>
                <c:pt idx="157">
                  <c:v>0.7673256135543244</c:v>
                </c:pt>
                <c:pt idx="158">
                  <c:v>3.090166841471462</c:v>
                </c:pt>
                <c:pt idx="159">
                  <c:v>6.315119728756093</c:v>
                </c:pt>
              </c:numCache>
            </c:numRef>
          </c:yVal>
          <c:bubbleSize>
            <c:numRef>
              <c:f>Sheet1!$C$2:$C$161</c:f>
              <c:numCache>
                <c:formatCode>General</c:formatCode>
                <c:ptCount val="160"/>
                <c:pt idx="0">
                  <c:v>4206050.0</c:v>
                </c:pt>
                <c:pt idx="1">
                  <c:v>1033960.0</c:v>
                </c:pt>
                <c:pt idx="2">
                  <c:v>1439100.0</c:v>
                </c:pt>
                <c:pt idx="3">
                  <c:v>2063603.0</c:v>
                </c:pt>
                <c:pt idx="4">
                  <c:v>1491080.0</c:v>
                </c:pt>
                <c:pt idx="5">
                  <c:v>1870931.0</c:v>
                </c:pt>
                <c:pt idx="6">
                  <c:v>674636.0</c:v>
                </c:pt>
                <c:pt idx="7">
                  <c:v>930295.0</c:v>
                </c:pt>
                <c:pt idx="8">
                  <c:v>975358.0</c:v>
                </c:pt>
                <c:pt idx="9">
                  <c:v>173863.0</c:v>
                </c:pt>
                <c:pt idx="10">
                  <c:v>1608053.0</c:v>
                </c:pt>
                <c:pt idx="11">
                  <c:v>443546.0</c:v>
                </c:pt>
                <c:pt idx="12">
                  <c:v>995351.0</c:v>
                </c:pt>
                <c:pt idx="13">
                  <c:v>626226.0</c:v>
                </c:pt>
                <c:pt idx="14">
                  <c:v>691798.0</c:v>
                </c:pt>
                <c:pt idx="15">
                  <c:v>914210.0</c:v>
                </c:pt>
                <c:pt idx="16">
                  <c:v>449790.0</c:v>
                </c:pt>
                <c:pt idx="17">
                  <c:v>272601.0</c:v>
                </c:pt>
                <c:pt idx="18">
                  <c:v>537495.0</c:v>
                </c:pt>
                <c:pt idx="19">
                  <c:v>80048.0</c:v>
                </c:pt>
                <c:pt idx="20">
                  <c:v>882536.0</c:v>
                </c:pt>
                <c:pt idx="21">
                  <c:v>184656.0</c:v>
                </c:pt>
                <c:pt idx="22">
                  <c:v>409868.0</c:v>
                </c:pt>
                <c:pt idx="23">
                  <c:v>247937.0</c:v>
                </c:pt>
                <c:pt idx="24">
                  <c:v>288147.0</c:v>
                </c:pt>
                <c:pt idx="25">
                  <c:v>223775.0</c:v>
                </c:pt>
                <c:pt idx="26">
                  <c:v>287357.0</c:v>
                </c:pt>
                <c:pt idx="27">
                  <c:v>329537.0</c:v>
                </c:pt>
                <c:pt idx="28">
                  <c:v>170259.0</c:v>
                </c:pt>
                <c:pt idx="29">
                  <c:v>47113.0</c:v>
                </c:pt>
                <c:pt idx="30">
                  <c:v>480223.0</c:v>
                </c:pt>
                <c:pt idx="31">
                  <c:v>134995.0</c:v>
                </c:pt>
                <c:pt idx="32">
                  <c:v>210519.0</c:v>
                </c:pt>
                <c:pt idx="33">
                  <c:v>233097.0</c:v>
                </c:pt>
                <c:pt idx="34">
                  <c:v>95312.0</c:v>
                </c:pt>
                <c:pt idx="35">
                  <c:v>181471.0</c:v>
                </c:pt>
                <c:pt idx="36">
                  <c:v>136566.0</c:v>
                </c:pt>
                <c:pt idx="37">
                  <c:v>92254.0</c:v>
                </c:pt>
                <c:pt idx="38">
                  <c:v>109088.0</c:v>
                </c:pt>
                <c:pt idx="39">
                  <c:v>12864.0</c:v>
                </c:pt>
                <c:pt idx="40">
                  <c:v>340666.0</c:v>
                </c:pt>
                <c:pt idx="41">
                  <c:v>80742.0</c:v>
                </c:pt>
                <c:pt idx="42">
                  <c:v>148422.0</c:v>
                </c:pt>
                <c:pt idx="43">
                  <c:v>61662.0</c:v>
                </c:pt>
                <c:pt idx="44">
                  <c:v>137210.0</c:v>
                </c:pt>
                <c:pt idx="45">
                  <c:v>132662.0</c:v>
                </c:pt>
                <c:pt idx="46">
                  <c:v>29280.0</c:v>
                </c:pt>
                <c:pt idx="47">
                  <c:v>86605.0</c:v>
                </c:pt>
                <c:pt idx="48">
                  <c:v>68022.0</c:v>
                </c:pt>
                <c:pt idx="49">
                  <c:v>6905.0</c:v>
                </c:pt>
                <c:pt idx="50">
                  <c:v>297518.0</c:v>
                </c:pt>
                <c:pt idx="51">
                  <c:v>60606.0</c:v>
                </c:pt>
                <c:pt idx="52">
                  <c:v>82855.0</c:v>
                </c:pt>
                <c:pt idx="53">
                  <c:v>59364.0</c:v>
                </c:pt>
                <c:pt idx="54">
                  <c:v>69431.0</c:v>
                </c:pt>
                <c:pt idx="55">
                  <c:v>66511.0</c:v>
                </c:pt>
                <c:pt idx="56">
                  <c:v>38648.0</c:v>
                </c:pt>
                <c:pt idx="57">
                  <c:v>64428.0</c:v>
                </c:pt>
                <c:pt idx="58">
                  <c:v>74929.0</c:v>
                </c:pt>
                <c:pt idx="59">
                  <c:v>6499.0</c:v>
                </c:pt>
                <c:pt idx="60">
                  <c:v>2724290.0</c:v>
                </c:pt>
                <c:pt idx="61">
                  <c:v>665739.0</c:v>
                </c:pt>
                <c:pt idx="62">
                  <c:v>1039873.0</c:v>
                </c:pt>
                <c:pt idx="63">
                  <c:v>1514373.0</c:v>
                </c:pt>
                <c:pt idx="64">
                  <c:v>1107830.0</c:v>
                </c:pt>
                <c:pt idx="65">
                  <c:v>436237.0</c:v>
                </c:pt>
                <c:pt idx="66">
                  <c:v>1232130.0</c:v>
                </c:pt>
                <c:pt idx="67">
                  <c:v>643429.0</c:v>
                </c:pt>
                <c:pt idx="68">
                  <c:v>776195.0</c:v>
                </c:pt>
                <c:pt idx="69">
                  <c:v>118399.0</c:v>
                </c:pt>
                <c:pt idx="70">
                  <c:v>569067.0</c:v>
                </c:pt>
                <c:pt idx="71">
                  <c:v>120710.0</c:v>
                </c:pt>
                <c:pt idx="72">
                  <c:v>153527.0</c:v>
                </c:pt>
                <c:pt idx="73">
                  <c:v>87820.0</c:v>
                </c:pt>
                <c:pt idx="74">
                  <c:v>201280.0</c:v>
                </c:pt>
                <c:pt idx="75">
                  <c:v>136396.0</c:v>
                </c:pt>
                <c:pt idx="76">
                  <c:v>35041.0</c:v>
                </c:pt>
                <c:pt idx="77">
                  <c:v>112157.0</c:v>
                </c:pt>
                <c:pt idx="78">
                  <c:v>116093.0</c:v>
                </c:pt>
                <c:pt idx="79">
                  <c:v>12678.0</c:v>
                </c:pt>
                <c:pt idx="80">
                  <c:v>255835.0</c:v>
                </c:pt>
                <c:pt idx="81">
                  <c:v>86076.0</c:v>
                </c:pt>
                <c:pt idx="82">
                  <c:v>106908.0</c:v>
                </c:pt>
                <c:pt idx="83">
                  <c:v>75296.0</c:v>
                </c:pt>
                <c:pt idx="84">
                  <c:v>114383.0</c:v>
                </c:pt>
                <c:pt idx="85">
                  <c:v>76993.0</c:v>
                </c:pt>
                <c:pt idx="86">
                  <c:v>68577.0</c:v>
                </c:pt>
                <c:pt idx="87">
                  <c:v>80841.0</c:v>
                </c:pt>
                <c:pt idx="88">
                  <c:v>60853.0</c:v>
                </c:pt>
                <c:pt idx="89">
                  <c:v>9686.0</c:v>
                </c:pt>
                <c:pt idx="90">
                  <c:v>133807.0</c:v>
                </c:pt>
                <c:pt idx="91">
                  <c:v>37225.0</c:v>
                </c:pt>
                <c:pt idx="92">
                  <c:v>60527.0</c:v>
                </c:pt>
                <c:pt idx="93">
                  <c:v>84431.0</c:v>
                </c:pt>
                <c:pt idx="94">
                  <c:v>35015.0</c:v>
                </c:pt>
                <c:pt idx="95">
                  <c:v>42187.0</c:v>
                </c:pt>
                <c:pt idx="96">
                  <c:v>27215.0</c:v>
                </c:pt>
                <c:pt idx="97">
                  <c:v>20873.0</c:v>
                </c:pt>
                <c:pt idx="98">
                  <c:v>20952.0</c:v>
                </c:pt>
                <c:pt idx="99">
                  <c:v>6983.0</c:v>
                </c:pt>
                <c:pt idx="100">
                  <c:v>97339.0</c:v>
                </c:pt>
                <c:pt idx="101">
                  <c:v>23916.0</c:v>
                </c:pt>
                <c:pt idx="102">
                  <c:v>37544.0</c:v>
                </c:pt>
                <c:pt idx="103">
                  <c:v>29580.0</c:v>
                </c:pt>
                <c:pt idx="104">
                  <c:v>22559.0</c:v>
                </c:pt>
                <c:pt idx="105">
                  <c:v>34093.0</c:v>
                </c:pt>
                <c:pt idx="106">
                  <c:v>21769.0</c:v>
                </c:pt>
                <c:pt idx="107">
                  <c:v>31781.0</c:v>
                </c:pt>
                <c:pt idx="108">
                  <c:v>16362.0</c:v>
                </c:pt>
                <c:pt idx="109">
                  <c:v>2605.0</c:v>
                </c:pt>
                <c:pt idx="110">
                  <c:v>1218365.0</c:v>
                </c:pt>
                <c:pt idx="111">
                  <c:v>278999.0</c:v>
                </c:pt>
                <c:pt idx="112">
                  <c:v>476589.0</c:v>
                </c:pt>
                <c:pt idx="113">
                  <c:v>546953.0</c:v>
                </c:pt>
                <c:pt idx="114">
                  <c:v>235726.0</c:v>
                </c:pt>
                <c:pt idx="115">
                  <c:v>414013.0</c:v>
                </c:pt>
                <c:pt idx="116">
                  <c:v>101119.0</c:v>
                </c:pt>
                <c:pt idx="117">
                  <c:v>489014.0</c:v>
                </c:pt>
                <c:pt idx="118">
                  <c:v>340123.0</c:v>
                </c:pt>
                <c:pt idx="119">
                  <c:v>44913.0</c:v>
                </c:pt>
                <c:pt idx="120">
                  <c:v>596532.0</c:v>
                </c:pt>
                <c:pt idx="121">
                  <c:v>146382.0</c:v>
                </c:pt>
                <c:pt idx="122">
                  <c:v>243035.0</c:v>
                </c:pt>
                <c:pt idx="123">
                  <c:v>305120.0</c:v>
                </c:pt>
                <c:pt idx="124">
                  <c:v>219579.0</c:v>
                </c:pt>
                <c:pt idx="125">
                  <c:v>269723.0</c:v>
                </c:pt>
                <c:pt idx="126">
                  <c:v>92616.0</c:v>
                </c:pt>
                <c:pt idx="127">
                  <c:v>134684.0</c:v>
                </c:pt>
                <c:pt idx="128">
                  <c:v>178838.0</c:v>
                </c:pt>
                <c:pt idx="129">
                  <c:v>23988.0</c:v>
                </c:pt>
                <c:pt idx="130">
                  <c:v>951102.0</c:v>
                </c:pt>
                <c:pt idx="131">
                  <c:v>225994.0</c:v>
                </c:pt>
                <c:pt idx="132">
                  <c:v>464766.0</c:v>
                </c:pt>
                <c:pt idx="133">
                  <c:v>299397.0</c:v>
                </c:pt>
                <c:pt idx="134">
                  <c:v>345385.0</c:v>
                </c:pt>
                <c:pt idx="135">
                  <c:v>422493.0</c:v>
                </c:pt>
                <c:pt idx="136">
                  <c:v>222238.0</c:v>
                </c:pt>
                <c:pt idx="137">
                  <c:v>244395.0</c:v>
                </c:pt>
                <c:pt idx="138">
                  <c:v>290940.0</c:v>
                </c:pt>
                <c:pt idx="139">
                  <c:v>41469.0</c:v>
                </c:pt>
                <c:pt idx="140">
                  <c:v>742936.0</c:v>
                </c:pt>
                <c:pt idx="141">
                  <c:v>199338.0</c:v>
                </c:pt>
                <c:pt idx="142">
                  <c:v>393557.0</c:v>
                </c:pt>
                <c:pt idx="143">
                  <c:v>230925.0</c:v>
                </c:pt>
                <c:pt idx="144">
                  <c:v>287778.0</c:v>
                </c:pt>
                <c:pt idx="145">
                  <c:v>358883.0</c:v>
                </c:pt>
                <c:pt idx="146">
                  <c:v>207105.0</c:v>
                </c:pt>
                <c:pt idx="147">
                  <c:v>158478.0</c:v>
                </c:pt>
                <c:pt idx="148">
                  <c:v>136383.0</c:v>
                </c:pt>
                <c:pt idx="149">
                  <c:v>32835.0</c:v>
                </c:pt>
                <c:pt idx="150">
                  <c:v>697254.0</c:v>
                </c:pt>
                <c:pt idx="151">
                  <c:v>183347.0</c:v>
                </c:pt>
                <c:pt idx="152">
                  <c:v>353512.0</c:v>
                </c:pt>
                <c:pt idx="153">
                  <c:v>189201.0</c:v>
                </c:pt>
                <c:pt idx="154">
                  <c:v>331366.0</c:v>
                </c:pt>
                <c:pt idx="155">
                  <c:v>224454.0</c:v>
                </c:pt>
                <c:pt idx="156">
                  <c:v>191380.0</c:v>
                </c:pt>
                <c:pt idx="157">
                  <c:v>165654.0</c:v>
                </c:pt>
                <c:pt idx="158">
                  <c:v>220125.0</c:v>
                </c:pt>
                <c:pt idx="159">
                  <c:v>30685.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c:spPr>
            <c:extLst>
              <c:ext xmlns:c16="http://schemas.microsoft.com/office/drawing/2014/chart" uri="{C3380CC4-5D6E-409C-BE32-E72D297353CC}">
                <c16:uniqueId val="{00000007-26FB-4B52-8D72-D56D618E8EAF}"/>
              </c:ext>
            </c:extLst>
          </c:dPt>
          <c:dPt>
            <c:idx val="4"/>
            <c:invertIfNegative val="0"/>
            <c:bubble3D val="0"/>
            <c:spPr>
              <a:solidFill>
                <a:srgbClr val="E6E5E5"/>
              </a:solidFill>
            </c:spPr>
            <c:extLst>
              <c:ext xmlns:c16="http://schemas.microsoft.com/office/drawing/2014/chart" uri="{C3380CC4-5D6E-409C-BE32-E72D297353CC}">
                <c16:uniqueId val="{00000009-26FB-4B52-8D72-D56D618E8EAF}"/>
              </c:ext>
            </c:extLst>
          </c:dPt>
          <c:dPt>
            <c:idx val="5"/>
            <c:invertIfNegative val="0"/>
            <c:bubble3D val="0"/>
            <c:spPr>
              <a:solidFill>
                <a:srgbClr val="E6E5E5"/>
              </a:solidFill>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rgbClr val="E6E5E5"/>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rgbClr val="E6E5E5"/>
              </a:solidFill>
              <a:ln>
                <a:noFill/>
              </a:ln>
              <a:effectLst/>
            </c:spPr>
            <c:extLst>
              <c:ext xmlns:c16="http://schemas.microsoft.com/office/drawing/2014/chart" uri="{C3380CC4-5D6E-409C-BE32-E72D297353CC}">
                <c16:uniqueId val="{00000002-7B2D-4A32-96D2-9C641BCDE5CC}"/>
              </c:ext>
            </c:extLst>
          </c:dPt>
          <c:dPt>
            <c:idx val="13"/>
            <c:invertIfNegative val="0"/>
            <c:bubble3D val="0"/>
            <c:spPr>
              <a:solidFill>
                <a:srgbClr val="E6E5E5"/>
              </a:solidFill>
            </c:spPr>
            <c:extLst>
              <c:ext xmlns:c16="http://schemas.microsoft.com/office/drawing/2014/chart" uri="{C3380CC4-5D6E-409C-BE32-E72D297353CC}">
                <c16:uniqueId val="{00000017-26FB-4B52-8D72-D56D618E8EAF}"/>
              </c:ext>
            </c:extLst>
          </c:dPt>
          <c:dPt>
            <c:idx val="14"/>
            <c:invertIfNegative val="0"/>
            <c:bubble3D val="0"/>
            <c:spPr>
              <a:solidFill>
                <a:srgbClr val="E6E5E5"/>
              </a:solidFill>
              <a:ln>
                <a:noFill/>
              </a:ln>
              <a:effectLst/>
            </c:spPr>
            <c:extLst>
              <c:ext xmlns:c16="http://schemas.microsoft.com/office/drawing/2014/chart" uri="{C3380CC4-5D6E-409C-BE32-E72D297353CC}">
                <c16:uniqueId val="{00000019-26FB-4B52-8D72-D56D618E8EAF}"/>
              </c:ext>
            </c:extLst>
          </c:dPt>
          <c:dPt>
            <c:idx val="15"/>
            <c:invertIfNegative val="0"/>
            <c:bubble3D val="0"/>
            <c:spPr>
              <a:solidFill>
                <a:srgbClr val="E6E5E5"/>
              </a:solidFill>
            </c:spPr>
            <c:extLst>
              <c:ext xmlns:c16="http://schemas.microsoft.com/office/drawing/2014/chart" uri="{C3380CC4-5D6E-409C-BE32-E72D297353CC}">
                <c16:uniqueId val="{0000001C-26FB-4B52-8D72-D56D618E8EAF}"/>
              </c:ext>
            </c:extLst>
          </c:dPt>
          <c:dPt>
            <c:idx val="19"/>
            <c:invertIfNegative val="0"/>
            <c:bubble3D val="0"/>
            <c:spPr>
              <a:solidFill>
                <a:srgbClr val="E6E5E5"/>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rgbClr val="E6E5E5"/>
              </a:solidFill>
              <a:ln>
                <a:noFill/>
              </a:ln>
              <a:effectLst/>
            </c:spPr>
            <c:extLst>
              <c:ext xmlns:c16="http://schemas.microsoft.com/office/drawing/2014/chart" uri="{C3380CC4-5D6E-409C-BE32-E72D297353CC}">
                <c16:uniqueId val="{00000005-0A6E-4C83-9A06-9C3309B2855E}"/>
              </c:ext>
            </c:extLst>
          </c:dPt>
          <c:dPt>
            <c:idx val="29"/>
            <c:invertIfNegative val="0"/>
            <c:bubble3D val="0"/>
            <c:spPr>
              <a:solidFill>
                <a:srgbClr val="E6E5E5"/>
              </a:solidFill>
            </c:spPr>
            <c:extLst>
              <c:ext xmlns:c16="http://schemas.microsoft.com/office/drawing/2014/chart" uri="{C3380CC4-5D6E-409C-BE32-E72D297353CC}">
                <c16:uniqueId val="{00000003-8F47-486F-B734-6012CEA493B3}"/>
              </c:ext>
            </c:extLst>
          </c:dPt>
          <c:dPt>
            <c:idx val="31"/>
            <c:invertIfNegative val="0"/>
            <c:bubble3D val="0"/>
            <c:spPr>
              <a:solidFill>
                <a:srgbClr val="E6E5E5"/>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rgbClr val="E6E5E5"/>
              </a:solidFill>
              <a:ln>
                <a:noFill/>
              </a:ln>
              <a:effectLst/>
            </c:spPr>
            <c:extLst>
              <c:ext xmlns:c16="http://schemas.microsoft.com/office/drawing/2014/chart" uri="{C3380CC4-5D6E-409C-BE32-E72D297353CC}">
                <c16:uniqueId val="{00000001-4D12-44DE-B956-CABCB15EBC04}"/>
              </c:ext>
            </c:extLst>
          </c:dPt>
          <c:dPt>
            <c:idx val="9"/>
            <c:spPr>
              <a:solidFill>
                <a:srgbClr val="E6E5E5"/>
              </a:solidFill>
            </c:spPr>
          </c:dPt>
          <c:dPt>
            <c:idx val="10"/>
            <c:spPr>
              <a:solidFill>
                <a:srgbClr val="E6E5E5"/>
              </a:solidFill>
            </c:spPr>
          </c:dPt>
          <c:dPt>
            <c:idx val="16"/>
            <c:spPr>
              <a:solidFill>
                <a:srgbClr val="E6E5E5"/>
              </a:solidFill>
            </c:spPr>
          </c:dPt>
          <c:dPt>
            <c:idx val="17"/>
            <c:spPr>
              <a:solidFill>
                <a:srgbClr val="E6E5E5"/>
              </a:solidFill>
            </c:spPr>
          </c:dPt>
          <c:dPt>
            <c:idx val="18"/>
            <c:spPr>
              <a:solidFill>
                <a:srgbClr val="E6E5E5"/>
              </a:solidFill>
            </c:spPr>
          </c:dPt>
          <c:dPt>
            <c:idx val="20"/>
            <c:spPr>
              <a:solidFill>
                <a:srgbClr val="E6E5E5"/>
              </a:solidFill>
            </c:spPr>
          </c:dPt>
          <c:dPt>
            <c:idx val="21"/>
            <c:spPr>
              <a:solidFill>
                <a:srgbClr val="E6E5E5"/>
              </a:solidFill>
            </c:spPr>
          </c:dPt>
          <c:dPt>
            <c:idx val="22"/>
            <c:spPr>
              <a:solidFill>
                <a:srgbClr val="E6E5E5"/>
              </a:solidFill>
            </c:spPr>
          </c:dPt>
          <c:dPt>
            <c:idx val="23"/>
            <c:spPr>
              <a:solidFill>
                <a:srgbClr val="E6E5E5"/>
              </a:solidFill>
            </c:spPr>
          </c:dPt>
          <c:dPt>
            <c:idx val="25"/>
            <c:spPr>
              <a:solidFill>
                <a:srgbClr val="E6E5E5"/>
              </a:solidFill>
            </c:spPr>
          </c:dPt>
          <c:dPt>
            <c:idx val="26"/>
            <c:spPr>
              <a:solidFill>
                <a:srgbClr val="E6E5E5"/>
              </a:solidFill>
            </c:spPr>
          </c:dPt>
          <c:dPt>
            <c:idx val="27"/>
            <c:spPr>
              <a:solidFill>
                <a:srgbClr val="E6E5E5"/>
              </a:solidFill>
            </c:spPr>
          </c:dPt>
          <c:dPt>
            <c:idx val="28"/>
            <c:spPr>
              <a:solidFill>
                <a:srgbClr val="E6E5E5"/>
              </a:solidFill>
            </c:spPr>
          </c:dPt>
          <c:dPt>
            <c:idx val="30"/>
            <c:spPr>
              <a:solidFill>
                <a:srgbClr val="E6E5E5"/>
              </a:solidFill>
            </c:spPr>
          </c:dPt>
          <c:dPt>
            <c:idx val="32"/>
            <c:spPr>
              <a:solidFill>
                <a:srgbClr val="E6E5E5"/>
              </a:solidFill>
            </c:spPr>
          </c:dPt>
          <c:dPt>
            <c:idx val="34"/>
            <c:spPr>
              <a:solidFill>
                <a:srgbClr val="E6E5E5"/>
              </a:solidFill>
            </c:spPr>
          </c:dPt>
          <c:dPt>
            <c:idx val="35"/>
            <c:spPr>
              <a:solidFill>
                <a:srgbClr val="E6E5E5"/>
              </a:solidFill>
            </c:spPr>
          </c:dPt>
          <c:dPt>
            <c:idx val="36"/>
            <c:spPr>
              <a:solidFill>
                <a:srgbClr val="E6E5E5"/>
              </a:solidFill>
            </c:spPr>
          </c:dPt>
          <c:dPt>
            <c:idx val="37"/>
            <c:spPr>
              <a:solidFill>
                <a:srgbClr val="E6E5E5"/>
              </a:solidFill>
            </c:spPr>
          </c:dPt>
          <c:dPt>
            <c:idx val="38"/>
            <c:spPr>
              <a:solidFill>
                <a:srgbClr val="E6E5E5"/>
              </a:solidFill>
            </c:spPr>
          </c:dPt>
          <c:dPt>
            <c:idx val="39"/>
            <c:spPr>
              <a:solidFill>
                <a:srgbClr val="E6E5E5"/>
              </a:solidFill>
            </c:spPr>
          </c:dPt>
          <c:dPt>
            <c:idx val="40"/>
            <c:spPr>
              <a:solidFill>
                <a:srgbClr val="E6E5E5"/>
              </a:solidFill>
            </c:spPr>
          </c:dPt>
          <c:dPt>
            <c:idx val="41"/>
            <c:spPr>
              <a:solidFill>
                <a:srgbClr val="E6E5E5"/>
              </a:solidFill>
            </c:spPr>
          </c:dPt>
          <c:dPt>
            <c:idx val="42"/>
            <c:spPr>
              <a:solidFill>
                <a:srgbClr val="E6E5E5"/>
              </a:solidFill>
            </c:spPr>
          </c:dPt>
          <c:dPt>
            <c:idx val="43"/>
            <c:spPr>
              <a:solidFill>
                <a:srgbClr val="E6E5E5"/>
              </a:solidFill>
            </c:spPr>
          </c:dPt>
          <c:dPt>
            <c:idx val="44"/>
            <c:spPr>
              <a:solidFill>
                <a:srgbClr val="E6E5E5"/>
              </a:solidFill>
            </c:spPr>
          </c:dPt>
          <c:dPt>
            <c:idx val="45"/>
            <c:spPr>
              <a:solidFill>
                <a:srgbClr val="E6E5E5"/>
              </a:solidFill>
            </c:spPr>
          </c:dPt>
          <c:dPt>
            <c:idx val="46"/>
            <c:spPr>
              <a:solidFill>
                <a:srgbClr val="E6E5E5"/>
              </a:solidFill>
            </c:spPr>
          </c:dPt>
          <c:dPt>
            <c:idx val="47"/>
            <c:spPr>
              <a:solidFill>
                <a:srgbClr val="E6E5E5"/>
              </a:solidFill>
            </c:spPr>
          </c:dPt>
          <c:dPt>
            <c:idx val="48"/>
            <c:spPr>
              <a:solidFill>
                <a:srgbClr val="E6E5E5"/>
              </a:solidFill>
            </c:spPr>
          </c:dPt>
          <c:dPt>
            <c:idx val="49"/>
            <c:spPr>
              <a:solidFill>
                <a:srgbClr val="E6E5E5"/>
              </a:solidFill>
            </c:spPr>
          </c:dPt>
          <c:dPt>
            <c:idx val="50"/>
            <c:spPr>
              <a:solidFill>
                <a:srgbClr val="E6E5E5"/>
              </a:solidFill>
            </c:spPr>
          </c:dPt>
          <c:dPt>
            <c:idx val="51"/>
            <c:spPr>
              <a:solidFill>
                <a:srgbClr val="E6E5E5"/>
              </a:solidFill>
            </c:spPr>
          </c:dPt>
          <c:dPt>
            <c:idx val="52"/>
            <c:spPr>
              <a:solidFill>
                <a:srgbClr val="E6E5E5"/>
              </a:solidFill>
            </c:spPr>
          </c:dPt>
          <c:dPt>
            <c:idx val="53"/>
            <c:spPr>
              <a:solidFill>
                <a:srgbClr val="E6E5E5"/>
              </a:solidFill>
            </c:spPr>
          </c:dPt>
          <c:dPt>
            <c:idx val="54"/>
            <c:spPr>
              <a:solidFill>
                <a:srgbClr val="E6E5E5"/>
              </a:solidFill>
            </c:spPr>
          </c:dPt>
          <c:dPt>
            <c:idx val="55"/>
            <c:spPr>
              <a:solidFill>
                <a:srgbClr val="E6E5E5"/>
              </a:solidFill>
            </c:spPr>
          </c:dPt>
          <c:dPt>
            <c:idx val="56"/>
            <c:spPr>
              <a:solidFill>
                <a:srgbClr val="E6E5E5"/>
              </a:solidFill>
            </c:spPr>
          </c:dPt>
          <c:dPt>
            <c:idx val="57"/>
            <c:spPr>
              <a:solidFill>
                <a:srgbClr val="E6E5E5"/>
              </a:solidFill>
            </c:spPr>
          </c:dPt>
          <c:dPt>
            <c:idx val="58"/>
            <c:spPr>
              <a:solidFill>
                <a:srgbClr val="E6E5E5"/>
              </a:solidFill>
            </c:spPr>
          </c:dPt>
          <c:dPt>
            <c:idx val="59"/>
            <c:spPr>
              <a:solidFill>
                <a:srgbClr val="E6E5E5"/>
              </a:solidFill>
            </c:spPr>
          </c:dPt>
          <c:dPt>
            <c:idx val="60"/>
            <c:spPr>
              <a:solidFill>
                <a:srgbClr val="E6E5E5"/>
              </a:solidFill>
            </c:spPr>
          </c:dPt>
          <c:dPt>
            <c:idx val="61"/>
            <c:spPr>
              <a:solidFill>
                <a:srgbClr val="E6E5E5"/>
              </a:solidFill>
            </c:spPr>
          </c:dPt>
          <c:dPt>
            <c:idx val="62"/>
            <c:spPr>
              <a:solidFill>
                <a:srgbClr val="E6E5E5"/>
              </a:solidFill>
            </c:spPr>
          </c:dPt>
          <c:dPt>
            <c:idx val="63"/>
            <c:spPr>
              <a:solidFill>
                <a:srgbClr val="E6E5E5"/>
              </a:solidFill>
            </c:spPr>
          </c:dPt>
          <c:dPt>
            <c:idx val="64"/>
            <c:spPr>
              <a:solidFill>
                <a:srgbClr val="E6E5E5"/>
              </a:solidFill>
            </c:spPr>
          </c:dPt>
          <c:dPt>
            <c:idx val="65"/>
            <c:spPr>
              <a:solidFill>
                <a:srgbClr val="E6E5E5"/>
              </a:solidFill>
            </c:spPr>
          </c:dPt>
          <c:dPt>
            <c:idx val="66"/>
            <c:spPr>
              <a:solidFill>
                <a:srgbClr val="E6E5E5"/>
              </a:solidFill>
            </c:spPr>
          </c:dPt>
          <c:dPt>
            <c:idx val="67"/>
            <c:spPr>
              <a:solidFill>
                <a:srgbClr val="E6E5E5"/>
              </a:solidFill>
            </c:spPr>
          </c:dPt>
          <c:dPt>
            <c:idx val="68"/>
            <c:spPr>
              <a:solidFill>
                <a:srgbClr val="E6E5E5"/>
              </a:solidFill>
            </c:spPr>
          </c:dPt>
          <c:dPt>
            <c:idx val="69"/>
            <c:spPr>
              <a:solidFill>
                <a:srgbClr val="E6E5E5"/>
              </a:solidFill>
            </c:spPr>
          </c:dPt>
          <c:dPt>
            <c:idx val="70"/>
            <c:spPr>
              <a:solidFill>
                <a:srgbClr val="E6E5E5"/>
              </a:solidFill>
            </c:spPr>
          </c:dPt>
          <c:dPt>
            <c:idx val="71"/>
            <c:spPr>
              <a:solidFill>
                <a:srgbClr val="E6E5E5"/>
              </a:solidFill>
            </c:spPr>
          </c:dPt>
          <c:dPt>
            <c:idx val="72"/>
            <c:spPr>
              <a:solidFill>
                <a:srgbClr val="E6E5E5"/>
              </a:solidFill>
            </c:spPr>
          </c:dPt>
          <c:dPt>
            <c:idx val="73"/>
            <c:spPr>
              <a:solidFill>
                <a:srgbClr val="E6E5E5"/>
              </a:solidFill>
            </c:spPr>
          </c:dPt>
          <c:dPt>
            <c:idx val="74"/>
            <c:spPr>
              <a:solidFill>
                <a:srgbClr val="E6E5E5"/>
              </a:solidFill>
            </c:spPr>
          </c:dPt>
          <c:dPt>
            <c:idx val="75"/>
            <c:spPr>
              <a:solidFill>
                <a:srgbClr val="E6E5E5"/>
              </a:solidFill>
            </c:spPr>
          </c:dPt>
          <c:dPt>
            <c:idx val="76"/>
            <c:spPr>
              <a:solidFill>
                <a:srgbClr val="E6E5E5"/>
              </a:solidFill>
            </c:spPr>
          </c:dPt>
          <c:dPt>
            <c:idx val="77"/>
            <c:spPr>
              <a:solidFill>
                <a:srgbClr val="E6E5E5"/>
              </a:solidFill>
            </c:spPr>
          </c:dPt>
          <c:dLbls>
            <c:dLbl>
              <c:idx val="0"/>
              <c:tx>
                <c:rich>
                  <a:bodyPr/>
                  <a:lstStyle/>
                  <a:p>
                    <a:fld id="{93D4F73E-9F80-49A1-A142-AD6872FCD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114C4447-26F9-47E2-B38A-A2E20C87A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7213527-30F2-483E-A9BE-FA9EF1559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588027E3-D7B2-4582-B590-B8C5AD683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6944457-6CD4-4A83-9CD5-E993FB916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6BC49836-1ACE-447B-9875-4BB1F3932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089DADA-CDC3-453D-9821-DB3CC4726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35319C91-70C5-4125-9FBC-C101B2D38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832BB68B-58B3-434D-B00C-62BDE0B2A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9CC461B-13BC-49CB-811E-A60FCD99D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C51E8D7B-1391-4449-9EB6-EF385D384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EF500B52-455B-4CF8-8C0B-1A9E0E62D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922934BB-2582-4427-814C-B47489CF6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CCAEB506-90CF-4E9A-9CE6-F8FE67253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76499B4C-1EF5-45E4-87F5-4C4E4F114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6E0E8EDC-7C56-4A0B-8E41-2900A5AA6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A4E2D6C0-D8AF-42A0-9F10-BB88BB9C2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6B37115-D38F-4417-9E5B-D0BA88B4F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BBF457DE-48C5-4547-B3FD-6CC7DF345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5F97EDB2-1350-4E34-B046-58DCD9243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1C04E595-A4F1-4FEC-9F59-D794CA48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28C2F480-4146-4AA1-A3A1-BD484E29F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73AADDAC-CFBF-4C5E-97F7-0EE84C566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10976329-9723-4B88-93BF-5F58E4196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791A25BC-4D25-4831-8531-57F39A390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450490FF-729F-4112-81E4-32043FC83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EC498A2A-2F52-4923-8AAB-9B4B05A7A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F7E4FBAF-6AD4-4164-B3A3-4B2598020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12C9E078-D9D1-4571-B935-CC72D28BC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80F45A0-330B-4530-A6AA-BB6B71688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2DDF0EC1-5258-44EB-AD92-6F1C6859F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2B4CC8F-3312-4F6E-8816-BBD92A280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9C6B2F7F-8B31-41DB-98C8-88E31AC47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54DDD857-6728-4CEC-829D-D4E8765A5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84AD285D-F3E0-4592-9FFA-01F05AC40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0CC49307-212B-4C2C-8BE0-B274C1F2D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35837965-B684-43A6-8D81-8EF19864A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D3CB4FF3-166E-46FC-9D3E-BFD8E79AA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8CD8DF1E-2B8A-4764-B1DB-02E498DBF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14042583-732C-4173-8559-DA74FC388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4ED0C6E3-BCD3-485B-85A1-C3A9C9D32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810AED52-B7C1-4E98-91EC-38CDB3758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34A600DC-F15E-4E0C-A3D2-7E50CB7F0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22DB620A-4810-4AF1-A23E-961E53EB1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0BBA193-20B1-4FB8-BA71-625C7A354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0C8E8B3C-709E-45E9-8941-0BEFC97E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DA7E896C-B2C5-4896-8ECB-11E0502FC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3EEC7EE8-1FEF-452D-89D5-58BBC4FE9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06A95814-F2A7-4C0E-A31E-3C32D1A03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309389E4-B23B-4C21-A955-9CE31A6C3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E470453B-C50D-4137-A442-818ACCFE8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0195B01E-64D6-40F8-9E81-17597A44F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18052FEA-8593-41E8-8780-CADC57FB3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077DFC2E-A72A-405E-852F-DE89C4B04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44A97EF5-3ECD-4D06-AEAC-7C41F5F89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653150ED-A489-42A7-AEA5-5162BBDC0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AA409AEE-B5C1-4073-9ABE-5F6AFC767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6B28E482-EB68-4DF8-A08B-E43A2FF6C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58A12FA6-C2F4-4037-A9F9-D3C1797C7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88946416-E1F3-4C79-8EF1-99F275A30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CE717F1-2482-4F9E-ACA9-F587285D3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70A94C02-94C5-49F7-9EE5-9E8CAB73C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D641C5DE-BC7B-4E65-A72F-793F96B01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0A937870-A142-4EB2-904B-162C4BBC3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3B44C25E-5284-44B0-94BC-214CF7947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AAF8DCE0-741A-4123-A8C2-0DD2142A1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4DB5F91C-9C21-4488-8804-643ED0414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C8D83055-EB33-415E-9B98-ACFFCB537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A69BF3A8-6F41-46B0-84D6-834FA1B1D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118F8FB2-07E1-4566-9D78-DB3BAB72D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391B151C-0D3A-409A-B285-8A38E0F80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E5E0CBDC-3939-46DA-9ED8-BC0B284C6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B56C7EF4-07FB-492C-BE59-B9B2004DA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B0E48BAE-830E-4355-B1A6-410FF4704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74FC89EF-38E4-44A6-A434-21D4D2BA3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563B9B17-0B5A-4E5D-820E-AF3010C40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4859F62C-B99C-40E3-923D-F0301FD0A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4F0638F8-39D8-4172-9659-EDFE2CBBF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2BECEEC9-0965-47CD-9FD7-F5A8EAB4F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D0E17CD6-75CB-4005-BA0C-1F55F2C6D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923024B1-80A3-428D-80BD-D60A28480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E589D205-C383-44C3-B44A-6FFE1DD05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68338548-9265-432E-A993-01D382B35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BB84C78B-F27D-47D3-A7FA-B9447514D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3B03668C-06F4-4268-A804-9B0808B6C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18427639-65B5-4013-B58F-79CFBAF50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91FF0B75-8DE6-446E-8165-CC2B4F92E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9302BD5F-79A9-4561-971A-7B0979673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324B286A-DB6E-4659-8690-6563F1D0F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328E60F6-2650-48DA-BCE4-B7CE0F2A8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76337B12-AFB5-4F5F-8F43-A4A90961E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3316EE75-D5F1-440E-A959-AF7573E97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2BC4E2A4-4C2A-4E33-B9DC-EF01F355C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59205451-8DFC-4B29-89C0-43671F481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D7639510-777E-4AEA-8DD3-028436E01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89DC0F76-CA4A-4C4C-A70B-4127A2219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F1D5870D-3BCC-46E2-8D6F-D97AF888F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8339C9D4-1ABC-4D44-964F-75A207051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A99D2D13-2BE2-43A8-A5E2-04E6EAEFE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47A9464F-274C-4F0D-8536-08D7D4E05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971D3C21-D698-4A6D-B944-037E803B1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05D73BE0-AE56-4B62-BBE2-2E3660C49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3B59784-4EF2-4291-BF10-507235DD1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2CBB390B-C4CA-4903-A28F-881057BBF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7AFAEB9B-6B67-4D1D-AF4A-65E60F423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A1FB50E-07BA-40DC-AE1A-7979128ED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EE0BDDF6-A620-4F0E-8459-910A06E0A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51059900-1320-48D3-8E60-48F078E91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CB69D562-F1D7-455E-B13F-D466DE5D3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E6C2972D-1327-4A5F-84A2-8E23B8693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C3D1B919-6B03-48D9-983A-0D06228A3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C6D41203-B053-4D34-AD93-18B94E00F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248131A4-27BA-499E-8CE5-46EF2AC4A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3CAE5DA2-A72F-4F07-A4C2-CC502FC3A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C964FEF8-85C8-425F-A6BA-BC850078A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BE04ED64-55F9-466C-B583-5FE03E948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9</c:f>
              <c:numCache>
                <c:formatCode>General</c:formatCode>
                <c:ptCount val="78"/>
                <c:pt idx="0">
                  <c:v>1</c:v>
                </c:pt>
                <c:pt idx="1">
                  <c:v>1</c:v>
                </c:pt>
                <c:pt idx="2">
                  <c:v>1</c:v>
                </c:pt>
                <c:pt idx="3">
                  <c:v>1</c:v>
                </c:pt>
                <c:pt idx="4">
                  <c:v>1</c:v>
                </c:pt>
                <c:pt idx="5">
                  <c:v>3</c:v>
                </c:pt>
                <c:pt idx="6">
                  <c:v>3</c:v>
                </c:pt>
                <c:pt idx="7">
                  <c:v>3</c:v>
                </c:pt>
                <c:pt idx="8">
                  <c:v>3</c:v>
                </c:pt>
                <c:pt idx="9">
                  <c:v>3</c:v>
                </c:pt>
                <c:pt idx="10">
                  <c:v>5</c:v>
                </c:pt>
                <c:pt idx="11">
                  <c:v>5</c:v>
                </c:pt>
                <c:pt idx="12">
                  <c:v>5</c:v>
                </c:pt>
                <c:pt idx="13">
                  <c:v>5</c:v>
                </c:pt>
                <c:pt idx="14">
                  <c:v>5</c:v>
                </c:pt>
                <c:pt idx="15">
                  <c:v>7</c:v>
                </c:pt>
                <c:pt idx="16">
                  <c:v>7</c:v>
                </c:pt>
                <c:pt idx="17">
                  <c:v>7</c:v>
                </c:pt>
                <c:pt idx="18">
                  <c:v>7</c:v>
                </c:pt>
                <c:pt idx="19">
                  <c:v>7</c:v>
                </c:pt>
                <c:pt idx="20">
                  <c:v>9</c:v>
                </c:pt>
                <c:pt idx="21">
                  <c:v>9</c:v>
                </c:pt>
                <c:pt idx="22">
                  <c:v>9</c:v>
                </c:pt>
                <c:pt idx="23">
                  <c:v>9</c:v>
                </c:pt>
                <c:pt idx="24">
                  <c:v>9</c:v>
                </c:pt>
                <c:pt idx="25">
                  <c:v>11</c:v>
                </c:pt>
                <c:pt idx="26">
                  <c:v>11</c:v>
                </c:pt>
                <c:pt idx="27">
                  <c:v>11</c:v>
                </c:pt>
                <c:pt idx="28">
                  <c:v>11</c:v>
                </c:pt>
                <c:pt idx="29">
                  <c:v>11</c:v>
                </c:pt>
                <c:pt idx="30">
                  <c:v>13</c:v>
                </c:pt>
                <c:pt idx="31">
                  <c:v>13</c:v>
                </c:pt>
                <c:pt idx="32">
                  <c:v>13</c:v>
                </c:pt>
                <c:pt idx="33">
                  <c:v>13</c:v>
                </c:pt>
                <c:pt idx="34">
                  <c:v>13</c:v>
                </c:pt>
                <c:pt idx="35">
                  <c:v>15</c:v>
                </c:pt>
                <c:pt idx="36">
                  <c:v>15</c:v>
                </c:pt>
                <c:pt idx="37">
                  <c:v>15</c:v>
                </c:pt>
                <c:pt idx="38">
                  <c:v>15</c:v>
                </c:pt>
                <c:pt idx="39">
                  <c:v>17</c:v>
                </c:pt>
                <c:pt idx="40">
                  <c:v>17</c:v>
                </c:pt>
                <c:pt idx="41">
                  <c:v>17</c:v>
                </c:pt>
                <c:pt idx="42">
                  <c:v>17</c:v>
                </c:pt>
                <c:pt idx="43">
                  <c:v>17</c:v>
                </c:pt>
                <c:pt idx="44">
                  <c:v>19</c:v>
                </c:pt>
                <c:pt idx="45">
                  <c:v>19</c:v>
                </c:pt>
                <c:pt idx="46">
                  <c:v>19</c:v>
                </c:pt>
                <c:pt idx="47">
                  <c:v>19</c:v>
                </c:pt>
                <c:pt idx="48">
                  <c:v>19</c:v>
                </c:pt>
                <c:pt idx="49">
                  <c:v>21</c:v>
                </c:pt>
                <c:pt idx="50">
                  <c:v>21</c:v>
                </c:pt>
                <c:pt idx="51">
                  <c:v>21</c:v>
                </c:pt>
                <c:pt idx="52">
                  <c:v>21</c:v>
                </c:pt>
                <c:pt idx="53">
                  <c:v>21</c:v>
                </c:pt>
                <c:pt idx="54">
                  <c:v>23</c:v>
                </c:pt>
                <c:pt idx="55">
                  <c:v>23</c:v>
                </c:pt>
                <c:pt idx="56">
                  <c:v>23</c:v>
                </c:pt>
                <c:pt idx="57">
                  <c:v>23</c:v>
                </c:pt>
                <c:pt idx="58">
                  <c:v>23</c:v>
                </c:pt>
                <c:pt idx="59">
                  <c:v>25</c:v>
                </c:pt>
                <c:pt idx="60">
                  <c:v>25</c:v>
                </c:pt>
                <c:pt idx="61">
                  <c:v>25</c:v>
                </c:pt>
                <c:pt idx="62">
                  <c:v>25</c:v>
                </c:pt>
                <c:pt idx="63">
                  <c:v>27</c:v>
                </c:pt>
                <c:pt idx="64">
                  <c:v>27</c:v>
                </c:pt>
                <c:pt idx="65">
                  <c:v>27</c:v>
                </c:pt>
                <c:pt idx="66">
                  <c:v>27</c:v>
                </c:pt>
                <c:pt idx="67">
                  <c:v>27</c:v>
                </c:pt>
                <c:pt idx="68">
                  <c:v>29</c:v>
                </c:pt>
                <c:pt idx="69">
                  <c:v>29</c:v>
                </c:pt>
                <c:pt idx="70">
                  <c:v>29</c:v>
                </c:pt>
                <c:pt idx="71">
                  <c:v>29</c:v>
                </c:pt>
                <c:pt idx="72">
                  <c:v>29</c:v>
                </c:pt>
                <c:pt idx="73">
                  <c:v>31</c:v>
                </c:pt>
                <c:pt idx="74">
                  <c:v>31</c:v>
                </c:pt>
                <c:pt idx="75">
                  <c:v>31</c:v>
                </c:pt>
                <c:pt idx="76">
                  <c:v>31</c:v>
                </c:pt>
                <c:pt idx="77">
                  <c:v>31</c:v>
                </c:pt>
              </c:numCache>
            </c:numRef>
          </c:xVal>
          <c:yVal>
            <c:numRef>
              <c:f>Sheet1!$B$2:$B$79</c:f>
              <c:numCache>
                <c:formatCode>General</c:formatCode>
                <c:ptCount val="78"/>
                <c:pt idx="0">
                  <c:v>1.7600103643156937</c:v>
                </c:pt>
                <c:pt idx="1">
                  <c:v>1.2436541621936834</c:v>
                </c:pt>
                <c:pt idx="2">
                  <c:v>3.127450980392157</c:v>
                </c:pt>
                <c:pt idx="3">
                  <c:v>3.169959703626674</c:v>
                </c:pt>
                <c:pt idx="4">
                  <c:v>0.4877887788778878</c:v>
                </c:pt>
                <c:pt idx="5">
                  <c:v>1.8500399398137382</c:v>
                </c:pt>
                <c:pt idx="6">
                  <c:v>1.3307710605055274</c:v>
                </c:pt>
                <c:pt idx="7">
                  <c:v>4.057302691260961</c:v>
                </c:pt>
                <c:pt idx="8">
                  <c:v>3.070534223706177</c:v>
                </c:pt>
                <c:pt idx="9">
                  <c:v>0.6857798165137615</c:v>
                </c:pt>
                <c:pt idx="10">
                  <c:v>2.570537836046493</c:v>
                </c:pt>
                <c:pt idx="11">
                  <c:v>1.5111087144089732</c:v>
                </c:pt>
                <c:pt idx="12">
                  <c:v>5.383329516830776</c:v>
                </c:pt>
                <c:pt idx="13">
                  <c:v>3.1673131170662905</c:v>
                </c:pt>
                <c:pt idx="14">
                  <c:v>0.41284403669724773</c:v>
                </c:pt>
                <c:pt idx="15">
                  <c:v>1.319448340345956</c:v>
                </c:pt>
                <c:pt idx="16">
                  <c:v>1.7749782506859397</c:v>
                </c:pt>
                <c:pt idx="17">
                  <c:v>3.7663335895465027</c:v>
                </c:pt>
                <c:pt idx="18">
                  <c:v>3.527314548591144</c:v>
                </c:pt>
                <c:pt idx="19">
                  <c:v>0.7981651376146789</c:v>
                </c:pt>
                <c:pt idx="20">
                  <c:v>1.8564612954186412</c:v>
                </c:pt>
                <c:pt idx="21">
                  <c:v>1.0835897435897437</c:v>
                </c:pt>
                <c:pt idx="22">
                  <c:v>2.352743561030235</c:v>
                </c:pt>
                <c:pt idx="23">
                  <c:v>3.617021276595745</c:v>
                </c:pt>
                <c:pt idx="24">
                  <c:v>0.4984709480122324</c:v>
                </c:pt>
                <c:pt idx="25">
                  <c:v>1.7123437842578382</c:v>
                </c:pt>
                <c:pt idx="26">
                  <c:v>0.8623768472906403</c:v>
                </c:pt>
                <c:pt idx="27">
                  <c:v>2.170995670995671</c:v>
                </c:pt>
                <c:pt idx="28">
                  <c:v>1.265033407572383</c:v>
                </c:pt>
                <c:pt idx="29">
                  <c:v>0.3486238532110092</c:v>
                </c:pt>
                <c:pt idx="30">
                  <c:v>2.087180985151566</c:v>
                </c:pt>
                <c:pt idx="31">
                  <c:v>1.3153188779160172</c:v>
                </c:pt>
                <c:pt idx="32">
                  <c:v>3.4967280163599184</c:v>
                </c:pt>
                <c:pt idx="33">
                  <c:v>4.247853403141361</c:v>
                </c:pt>
                <c:pt idx="34">
                  <c:v>1.6972477064220184</c:v>
                </c:pt>
                <c:pt idx="35">
                  <c:v>2.202428057553957</c:v>
                </c:pt>
                <c:pt idx="36">
                  <c:v>1.657139023081052</c:v>
                </c:pt>
                <c:pt idx="37">
                  <c:v>2.0544635544635543</c:v>
                </c:pt>
                <c:pt idx="38">
                  <c:v>2.5803336259877083</c:v>
                </c:pt>
                <c:pt idx="39">
                  <c:v>1.719037508846426</c:v>
                </c:pt>
                <c:pt idx="40">
                  <c:v>1.0219062259800153</c:v>
                </c:pt>
                <c:pt idx="41">
                  <c:v>1.5456821026282854</c:v>
                </c:pt>
                <c:pt idx="42">
                  <c:v>1.5816993464052287</c:v>
                </c:pt>
                <c:pt idx="43">
                  <c:v>2.596330275229358</c:v>
                </c:pt>
                <c:pt idx="44">
                  <c:v>0.37667304015296366</c:v>
                </c:pt>
                <c:pt idx="45">
                  <c:v>0.3824130879345603</c:v>
                </c:pt>
                <c:pt idx="46">
                  <c:v>0.7133956386292835</c:v>
                </c:pt>
                <c:pt idx="47">
                  <c:v>0.8818181818181818</c:v>
                </c:pt>
                <c:pt idx="48">
                  <c:v>0.7981651376146789</c:v>
                </c:pt>
                <c:pt idx="49">
                  <c:v>0.23711340206185566</c:v>
                </c:pt>
                <c:pt idx="50">
                  <c:v>0.4928909952606635</c:v>
                </c:pt>
                <c:pt idx="51">
                  <c:v>2.2553846153846155</c:v>
                </c:pt>
                <c:pt idx="52">
                  <c:v>1.4043887147335423</c:v>
                </c:pt>
                <c:pt idx="53">
                  <c:v>0.3486238532110092</c:v>
                </c:pt>
                <c:pt idx="54">
                  <c:v>1.2785385504248623</c:v>
                </c:pt>
                <c:pt idx="55">
                  <c:v>1.539841633484245</c:v>
                </c:pt>
                <c:pt idx="56">
                  <c:v>3.8985650667986147</c:v>
                </c:pt>
                <c:pt idx="57">
                  <c:v>4.399068322981367</c:v>
                </c:pt>
                <c:pt idx="58">
                  <c:v>0.28440366972477066</c:v>
                </c:pt>
                <c:pt idx="59">
                  <c:v>2.2702307917031845</c:v>
                </c:pt>
                <c:pt idx="60">
                  <c:v>1.2118669920683343</c:v>
                </c:pt>
                <c:pt idx="61">
                  <c:v>3.0354419021982952</c:v>
                </c:pt>
                <c:pt idx="62">
                  <c:v>4.224691358024692</c:v>
                </c:pt>
                <c:pt idx="63">
                  <c:v>4.079612392643554</c:v>
                </c:pt>
                <c:pt idx="64">
                  <c:v>1.0027927642018408</c:v>
                </c:pt>
                <c:pt idx="65">
                  <c:v>4.979066022544283</c:v>
                </c:pt>
                <c:pt idx="66">
                  <c:v>5.296868203566768</c:v>
                </c:pt>
                <c:pt idx="67">
                  <c:v>1.8770642201834862</c:v>
                </c:pt>
                <c:pt idx="68">
                  <c:v>1.6303370382360345</c:v>
                </c:pt>
                <c:pt idx="69">
                  <c:v>1.514932898921728</c:v>
                </c:pt>
                <c:pt idx="70">
                  <c:v>2.2665671641791043</c:v>
                </c:pt>
                <c:pt idx="71">
                  <c:v>3.223497895139686</c:v>
                </c:pt>
                <c:pt idx="72">
                  <c:v>1.1577981651376146</c:v>
                </c:pt>
                <c:pt idx="73">
                  <c:v>3.9860318284033904</c:v>
                </c:pt>
                <c:pt idx="74">
                  <c:v>1.143103448275862</c:v>
                </c:pt>
                <c:pt idx="75">
                  <c:v>1.7514546965918536</c:v>
                </c:pt>
                <c:pt idx="76">
                  <c:v>4.159133709981168</c:v>
                </c:pt>
                <c:pt idx="77">
                  <c:v>-0.10091743119266056</c:v>
                </c:pt>
              </c:numCache>
            </c:numRef>
          </c:yVal>
          <c:bubbleSize>
            <c:numRef>
              <c:f>Sheet1!$C$2:$C$79</c:f>
              <c:numCache>
                <c:formatCode>General</c:formatCode>
                <c:ptCount val="78"/>
                <c:pt idx="0">
                  <c:v>301257.0</c:v>
                </c:pt>
                <c:pt idx="1">
                  <c:v>120852.0</c:v>
                </c:pt>
                <c:pt idx="2">
                  <c:v>69597.0</c:v>
                </c:pt>
                <c:pt idx="3">
                  <c:v>122903.0</c:v>
                </c:pt>
                <c:pt idx="4">
                  <c:v>9016.0</c:v>
                </c:pt>
                <c:pt idx="5">
                  <c:v>105440.0</c:v>
                </c:pt>
                <c:pt idx="6">
                  <c:v>48080.0</c:v>
                </c:pt>
                <c:pt idx="7">
                  <c:v>63425.0</c:v>
                </c:pt>
                <c:pt idx="8">
                  <c:v>19412.0</c:v>
                </c:pt>
                <c:pt idx="9">
                  <c:v>2940.0</c:v>
                </c:pt>
                <c:pt idx="10">
                  <c:v>61680.0</c:v>
                </c:pt>
                <c:pt idx="11">
                  <c:v>22173.0</c:v>
                </c:pt>
                <c:pt idx="12">
                  <c:v>27688.0</c:v>
                </c:pt>
                <c:pt idx="13">
                  <c:v>22775.0</c:v>
                </c:pt>
                <c:pt idx="14">
                  <c:v>2156.0</c:v>
                </c:pt>
                <c:pt idx="15">
                  <c:v>39120.0</c:v>
                </c:pt>
                <c:pt idx="16">
                  <c:v>25836.0</c:v>
                </c:pt>
                <c:pt idx="17">
                  <c:v>6011.0</c:v>
                </c:pt>
                <c:pt idx="18">
                  <c:v>15226.0</c:v>
                </c:pt>
                <c:pt idx="19">
                  <c:v>1176.0</c:v>
                </c:pt>
                <c:pt idx="20">
                  <c:v>29280.0</c:v>
                </c:pt>
                <c:pt idx="21">
                  <c:v>8035.0</c:v>
                </c:pt>
                <c:pt idx="22">
                  <c:v>5329.0</c:v>
                </c:pt>
                <c:pt idx="23">
                  <c:v>8280.0</c:v>
                </c:pt>
                <c:pt idx="24">
                  <c:v>980.0</c:v>
                </c:pt>
                <c:pt idx="25">
                  <c:v>24457.0</c:v>
                </c:pt>
                <c:pt idx="26">
                  <c:v>5958.0</c:v>
                </c:pt>
                <c:pt idx="27">
                  <c:v>4395.0</c:v>
                </c:pt>
                <c:pt idx="28">
                  <c:v>4028.0</c:v>
                </c:pt>
                <c:pt idx="29">
                  <c:v>1176.0</c:v>
                </c:pt>
                <c:pt idx="30">
                  <c:v>209335.0</c:v>
                </c:pt>
                <c:pt idx="31">
                  <c:v>77208.0</c:v>
                </c:pt>
                <c:pt idx="32">
                  <c:v>43038.0</c:v>
                </c:pt>
                <c:pt idx="33">
                  <c:v>95536.0</c:v>
                </c:pt>
                <c:pt idx="34">
                  <c:v>5880.0</c:v>
                </c:pt>
                <c:pt idx="35">
                  <c:v>35041.0</c:v>
                </c:pt>
                <c:pt idx="36">
                  <c:v>19421.0</c:v>
                </c:pt>
                <c:pt idx="37">
                  <c:v>7365.0</c:v>
                </c:pt>
                <c:pt idx="38">
                  <c:v>7916.0</c:v>
                </c:pt>
                <c:pt idx="39">
                  <c:v>19920.0</c:v>
                </c:pt>
                <c:pt idx="40">
                  <c:v>5261.0</c:v>
                </c:pt>
                <c:pt idx="41">
                  <c:v>3974.0</c:v>
                </c:pt>
                <c:pt idx="42">
                  <c:v>4460.0</c:v>
                </c:pt>
                <c:pt idx="43">
                  <c:v>784.0</c:v>
                </c:pt>
                <c:pt idx="44">
                  <c:v>8640.0</c:v>
                </c:pt>
                <c:pt idx="45">
                  <c:v>2704.0</c:v>
                </c:pt>
                <c:pt idx="46">
                  <c:v>1100.0</c:v>
                </c:pt>
                <c:pt idx="47">
                  <c:v>1656.0</c:v>
                </c:pt>
                <c:pt idx="48">
                  <c:v>784.0</c:v>
                </c:pt>
                <c:pt idx="49">
                  <c:v>6000.0</c:v>
                </c:pt>
                <c:pt idx="50">
                  <c:v>3780.0</c:v>
                </c:pt>
                <c:pt idx="51">
                  <c:v>2116.0</c:v>
                </c:pt>
                <c:pt idx="52">
                  <c:v>3028.0</c:v>
                </c:pt>
                <c:pt idx="53">
                  <c:v>588.0</c:v>
                </c:pt>
                <c:pt idx="54">
                  <c:v>101119.0</c:v>
                </c:pt>
                <c:pt idx="55">
                  <c:v>50699.0</c:v>
                </c:pt>
                <c:pt idx="56">
                  <c:v>19047.0</c:v>
                </c:pt>
                <c:pt idx="57">
                  <c:v>33730.0</c:v>
                </c:pt>
                <c:pt idx="58">
                  <c:v>1960.0</c:v>
                </c:pt>
                <c:pt idx="59">
                  <c:v>43920.0</c:v>
                </c:pt>
                <c:pt idx="60">
                  <c:v>14311.0</c:v>
                </c:pt>
                <c:pt idx="61">
                  <c:v>8807.0</c:v>
                </c:pt>
                <c:pt idx="62">
                  <c:v>16488.0</c:v>
                </c:pt>
                <c:pt idx="63">
                  <c:v>72456.0</c:v>
                </c:pt>
                <c:pt idx="64">
                  <c:v>24389.0</c:v>
                </c:pt>
                <c:pt idx="65">
                  <c:v>14664.0</c:v>
                </c:pt>
                <c:pt idx="66">
                  <c:v>27713.0</c:v>
                </c:pt>
                <c:pt idx="67">
                  <c:v>3136.0</c:v>
                </c:pt>
                <c:pt idx="68">
                  <c:v>47040.0</c:v>
                </c:pt>
                <c:pt idx="69">
                  <c:v>18819.0</c:v>
                </c:pt>
                <c:pt idx="70">
                  <c:v>10753.0</c:v>
                </c:pt>
                <c:pt idx="71">
                  <c:v>21112.0</c:v>
                </c:pt>
                <c:pt idx="72">
                  <c:v>2352.0</c:v>
                </c:pt>
                <c:pt idx="73">
                  <c:v>36720.0</c:v>
                </c:pt>
                <c:pt idx="74">
                  <c:v>12626.0</c:v>
                </c:pt>
                <c:pt idx="75">
                  <c:v>23873.0</c:v>
                </c:pt>
                <c:pt idx="76">
                  <c:v>16343.0</c:v>
                </c:pt>
                <c:pt idx="77">
                  <c:v>784.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Laurent Perrier</c:v>
                </c:pt>
                <c:pt idx="3">
                  <c:v>Nicolas Feuillatte</c:v>
                </c:pt>
                <c:pt idx="4">
                  <c:v>Nicolas</c:v>
                </c:pt>
              </c:strCache>
            </c:strRef>
          </c:cat>
          <c:val>
            <c:numRef>
              <c:f>Sheet1!$B$2:$B$6</c:f>
              <c:numCache>
                <c:formatCode>General</c:formatCode>
                <c:ptCount val="5"/>
                <c:pt idx="0">
                  <c:v>-0.495555211688784</c:v>
                </c:pt>
                <c:pt idx="1">
                  <c:v>-0.25268993711440213</c:v>
                </c:pt>
                <c:pt idx="2">
                  <c:v>0.03696416257031987</c:v>
                </c:pt>
                <c:pt idx="3">
                  <c:v>-0.1389526658932917</c:v>
                </c:pt>
                <c:pt idx="4">
                  <c:v>-0.0220392416714081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c:spPr>
            <c:extLst>
              <c:ext xmlns:c16="http://schemas.microsoft.com/office/drawing/2014/chart" uri="{C3380CC4-5D6E-409C-BE32-E72D297353CC}">
                <c16:uniqueId val="{00000007-26FB-4B52-8D72-D56D618E8EAF}"/>
              </c:ext>
            </c:extLst>
          </c:dPt>
          <c:dPt>
            <c:idx val="4"/>
            <c:invertIfNegative val="0"/>
            <c:bubble3D val="0"/>
            <c:spPr>
              <a:solidFill>
                <a:srgbClr val="E6E5E5"/>
              </a:solidFill>
            </c:spPr>
            <c:extLst>
              <c:ext xmlns:c16="http://schemas.microsoft.com/office/drawing/2014/chart" uri="{C3380CC4-5D6E-409C-BE32-E72D297353CC}">
                <c16:uniqueId val="{00000009-26FB-4B52-8D72-D56D618E8EAF}"/>
              </c:ext>
            </c:extLst>
          </c:dPt>
          <c:dPt>
            <c:idx val="5"/>
            <c:invertIfNegative val="0"/>
            <c:bubble3D val="0"/>
            <c:spPr>
              <a:solidFill>
                <a:srgbClr val="E6E5E5"/>
              </a:solidFill>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rgbClr val="E6E5E5"/>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rgbClr val="E6E5E5"/>
              </a:solidFill>
              <a:ln>
                <a:noFill/>
              </a:ln>
              <a:effectLst/>
            </c:spPr>
            <c:extLst>
              <c:ext xmlns:c16="http://schemas.microsoft.com/office/drawing/2014/chart" uri="{C3380CC4-5D6E-409C-BE32-E72D297353CC}">
                <c16:uniqueId val="{00000002-7B2D-4A32-96D2-9C641BCDE5CC}"/>
              </c:ext>
            </c:extLst>
          </c:dPt>
          <c:dPt>
            <c:idx val="13"/>
            <c:invertIfNegative val="0"/>
            <c:bubble3D val="0"/>
            <c:spPr>
              <a:solidFill>
                <a:srgbClr val="E6E5E5"/>
              </a:solidFill>
            </c:spPr>
            <c:extLst>
              <c:ext xmlns:c16="http://schemas.microsoft.com/office/drawing/2014/chart" uri="{C3380CC4-5D6E-409C-BE32-E72D297353CC}">
                <c16:uniqueId val="{00000017-26FB-4B52-8D72-D56D618E8EAF}"/>
              </c:ext>
            </c:extLst>
          </c:dPt>
          <c:dPt>
            <c:idx val="14"/>
            <c:invertIfNegative val="0"/>
            <c:bubble3D val="0"/>
            <c:spPr>
              <a:solidFill>
                <a:srgbClr val="E6E5E5"/>
              </a:solidFill>
              <a:ln>
                <a:noFill/>
              </a:ln>
              <a:effectLst/>
            </c:spPr>
            <c:extLst>
              <c:ext xmlns:c16="http://schemas.microsoft.com/office/drawing/2014/chart" uri="{C3380CC4-5D6E-409C-BE32-E72D297353CC}">
                <c16:uniqueId val="{00000019-26FB-4B52-8D72-D56D618E8EAF}"/>
              </c:ext>
            </c:extLst>
          </c:dPt>
          <c:dPt>
            <c:idx val="15"/>
            <c:invertIfNegative val="0"/>
            <c:bubble3D val="0"/>
            <c:spPr>
              <a:solidFill>
                <a:srgbClr val="E6E5E5"/>
              </a:solidFill>
            </c:spPr>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Pt>
            <c:idx val="9"/>
            <c:spPr>
              <a:solidFill>
                <a:srgbClr val="E6E5E5"/>
              </a:solidFill>
            </c:spPr>
          </c:dPt>
          <c:dPt>
            <c:idx val="10"/>
            <c:spPr>
              <a:solidFill>
                <a:srgbClr val="E6E5E5"/>
              </a:solidFill>
            </c:spPr>
          </c:dPt>
          <c:dLbls>
            <c:dLbl>
              <c:idx val="0"/>
              <c:tx>
                <c:rich>
                  <a:bodyPr/>
                  <a:lstStyle/>
                  <a:p>
                    <a:fld id="{B21A134D-E1EA-4E01-8349-B8510005D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859E50F-C8C7-44D9-AC33-6D8A5A5F1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FF8923B-7BCE-4CC3-AFF1-27D1D0492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1DA2FC1-4783-4D37-88E8-3282CD296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EA690B0-297E-4707-A4AB-CEF176CC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79013AE0-49D4-4CFF-936C-8081BA2FE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DA2A41B-E007-4F2F-BBFB-ECF782070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A83147AC-A59E-4D6F-9AF4-403E1A252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2B97432-D639-492F-A128-922983F0D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6B423F16-37C9-4507-A756-7CB88EB9D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A0BDECA5-8076-44C2-8AB3-D806CDEAD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18CEB5A2-1116-4638-856B-858339672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AE935F1F-5393-4240-87C0-D9D33A5BA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D33EDF6E-0060-48C9-92DC-22C56E419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4352E538-B722-4381-B9BA-9A7BD5AB2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BDD6A744-131E-43BE-9F31-63AE15CE0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5C5BD1F2-727C-4FC4-89D5-BBAC0E361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1F08F208-ED51-493F-92E7-B1F1B78A4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43213EA7-955F-4E54-8C05-70FACD0F8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78DB2CDA-6A33-42EC-812D-4504A2992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38BC3BF1-BFD5-453C-9B56-18EA99A74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70912A8-EA04-4574-9940-BD5958BDD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82164895-F3C1-4F2A-A577-7AD52D3B3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6A329A2B-709B-4A4A-98CE-8F113DDF5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3E9586AE-3732-4F5C-96B2-A40BAE80A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9624DD30-1C4F-4C25-B3AD-FCB8542D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7C896E03-77EF-48FF-ABC6-C5B2C1A56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F1F43D6F-565D-4E49-9B39-5A019FA84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FDBD3E03-86D7-402F-BFFF-D48D73FD3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E05EBEF-1E84-4871-B761-71F3110C2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FF18CC1A-A2A9-416F-B4A2-771FE4829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170D7CC-18FD-49F1-B854-FA01DFD72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62B71D5A-778C-476F-A952-C19EA0C74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528EA29C-7134-4A1E-81F4-B1FFB9666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7A114D19-2FBE-49E4-8C0E-07E0CF9F6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9B0BD29C-65F3-4197-A0DD-D1DD61714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527F3336-1394-43F6-A2B8-D6F726F61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CC244740-6763-4395-8959-45443A0C9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B0CA7C0F-FB67-4500-98E8-379C15F12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BE5229C9-0DBB-4727-A96E-2A744B270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10B7BAAD-0E3F-4CE9-9C0B-39C9E80B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5BCD361A-B4B9-4F20-BE34-96C59FB49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4076AE7B-3DA1-498B-8B11-E0BA7E4EE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02A651C1-E636-4B31-AE3D-ADEA5AB9F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45AB911E-07F7-4954-B44D-32553376B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7095FA08-C3B9-4729-9E62-750556B39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8395CA09-F7B2-4DF6-AD5E-BEFEDE6CC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2E8B666F-678C-47A8-B1DA-0EF70E9D6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5185FDBE-C628-4E34-927A-69E1B0B5F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7BEB7853-73AE-46E7-8E89-5DA956FBD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701C1B89-0AF6-4AD6-98A8-6A3C893DC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8905EB23-9474-459E-9B5F-F171172DE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CDAFC9E4-FA38-47FB-89D5-534ECD1A5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70ECB794-B522-4F9A-99C4-66AB3A154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459C122A-93FA-4EB3-9CCD-8435035FC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52C44FD-C433-49ED-B742-C1A27ADB2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3CF5099-B027-4871-8A25-AE02A3610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F08D23FD-4C0D-485B-91CC-DB5FB1D7B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1E5724EE-2932-4A9A-9EF8-3CFE4B04E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88C27206-1CC8-4836-AFE4-5D7F299BD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63DFBF81-5124-4E88-9040-A2D41E836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6526BF43-3FAC-457F-B71A-4BECD69FD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E1E1FAE9-3168-4F9A-ACFA-4D220B1B0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57FDBAA5-2436-41BB-8D79-27BAF0C7F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A0C22C15-CD8A-4B09-8369-2EB25F9DA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921E8EBA-0E75-4136-AB46-CFEDD3D8A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27A7FC6A-A6B3-4FF9-8511-CC210A202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C9F65531-2071-43EE-8B59-57EDDFB6D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63925804-49FE-4B5D-8BC5-2FA9425E4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8C695FDE-567F-49F7-B7B4-B98ABB4A2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3ACCB983-9A8B-483D-AA5C-2A2BA6057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CE7A0001-8035-4546-AEF7-D3731BCF0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B10FC03C-D574-4BED-8BFC-7ADDC1BDA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56CBE9A-AC0B-428A-BC03-2C6F48135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6EAFA0BC-9A7B-40B5-8E34-D276069EB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C95D50CA-5DEF-49B6-B90A-1EA4D9102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BD41338-D9B9-479D-8D22-0B33ADACB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B8777060-0700-483B-B58C-A84BC8853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8A145F12-8FAA-4E0F-9E85-0660F8B7D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3C44F666-FBCA-404B-870A-35766DD80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9EFFA246-0890-4F9C-BC6B-E33F3800E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8031FD89-E3F7-439F-8BCC-4FB7CDB49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37C05ED3-89FF-408A-BEA5-4A9736DF6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E3A4E0FC-1519-47B8-A18F-6004051AE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85F1578F-C842-419A-A29A-D0F7A1CC0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073168AF-EE91-45CA-9BF4-99B6B436D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A20FFE34-9960-4FED-8408-CADDC88DC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6359FEF4-C378-432B-A31B-E3EA0E506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B758188-E4E2-4975-B3CD-FF5681085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1610D6EF-36EE-43B5-BAB1-CA1571BC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A682CD6D-C1B5-4461-A22C-E402C6DD9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EED3E4AE-5B4C-446A-A6E2-D98E04DC9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00B32709-2D2A-47F2-BBE4-FD0D155D6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DCE286FC-7F18-4609-A678-CCA1D9937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43E292A0-676B-4453-9640-EAC50F38C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ABB1090B-A37F-439F-B960-5E4AD776F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766957F6-953F-4894-BE19-4C041AB4E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76B0BD41-3442-4F6B-A29F-3B3FF041C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992B1B59-7953-476C-A89C-31B838463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8E1C9F22-8491-401B-8AEC-D1DB36E37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FC6F8932-AB79-413F-89EB-1CB550EBF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F3E79D65-10EB-4162-A822-7DA88F2AF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C4433C04-AFBB-4C8F-AA44-5023AB31E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C67D5FD-EF01-4D9B-B568-472917103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B0989599-8F1C-40DA-8DC3-2A71413DD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8D0803BE-E502-43EA-93B1-7AB232E84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9C7C0EC5-AF5C-443F-BA14-76F424026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095D030E-FBC4-4BC8-A5B9-4D73EE8BD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9D6E5E3C-BC84-4721-8F94-A632636FB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DDB06718-7764-4B41-927A-C643EAFC4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F60BE1D9-0E7D-413D-B2D1-1F5E185B7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2409CBD-4E10-4A43-BC5F-0AB24D72C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BC4D3A85-8C5F-40C2-B482-9FCC6ED82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05E5AA31-26C4-4D12-8774-F540B0734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DA71C054-047F-44B4-AFE5-9196D4CE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84C3CE31-196B-402E-920E-949781D1F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1</c:v>
                </c:pt>
                <c:pt idx="1">
                  <c:v>3</c:v>
                </c:pt>
                <c:pt idx="2">
                  <c:v>5</c:v>
                </c:pt>
                <c:pt idx="3">
                  <c:v>7</c:v>
                </c:pt>
                <c:pt idx="4">
                  <c:v>9</c:v>
                </c:pt>
                <c:pt idx="5">
                  <c:v>11</c:v>
                </c:pt>
                <c:pt idx="6">
                  <c:v>13</c:v>
                </c:pt>
                <c:pt idx="7">
                  <c:v>15</c:v>
                </c:pt>
                <c:pt idx="8">
                  <c:v>17</c:v>
                </c:pt>
                <c:pt idx="9">
                  <c:v>19</c:v>
                </c:pt>
                <c:pt idx="10">
                  <c:v>21</c:v>
                </c:pt>
                <c:pt idx="11">
                  <c:v>23</c:v>
                </c:pt>
                <c:pt idx="12">
                  <c:v>25</c:v>
                </c:pt>
                <c:pt idx="13">
                  <c:v>27</c:v>
                </c:pt>
                <c:pt idx="14">
                  <c:v>29</c:v>
                </c:pt>
                <c:pt idx="15">
                  <c:v>31</c:v>
                </c:pt>
              </c:numCache>
            </c:numRef>
          </c:xVal>
          <c:yVal>
            <c:numRef>
              <c:f>Sheet1!$B$2:$B$17</c:f>
              <c:numCache>
                <c:formatCode>General</c:formatCode>
                <c:ptCount val="16"/>
                <c:pt idx="0">
                  <c:v>2.4982729448523497</c:v>
                </c:pt>
                <c:pt idx="1">
                  <c:v>3.0145723029096034</c:v>
                </c:pt>
                <c:pt idx="2">
                  <c:v>3.6272844272844273</c:v>
                </c:pt>
                <c:pt idx="3">
                  <c:v>0.8293226381461676</c:v>
                </c:pt>
                <c:pt idx="4">
                  <c:v>1.7934782608695652</c:v>
                </c:pt>
                <c:pt idx="5">
                  <c:v>3.0277777777777777</c:v>
                </c:pt>
                <c:pt idx="6">
                  <c:v>2.711199920731909</c:v>
                </c:pt>
                <c:pt idx="7">
                  <c:v>1.599911971830986</c:v>
                </c:pt>
                <c:pt idx="8">
                  <c:v>0.27304964539007087</c:v>
                </c:pt>
                <c:pt idx="9">
                  <c:v>2.1015873015873017</c:v>
                </c:pt>
                <c:pt idx="10">
                  <c:v>3.431372549019608</c:v>
                </c:pt>
                <c:pt idx="11">
                  <c:v>2.4416924664602684</c:v>
                </c:pt>
                <c:pt idx="12">
                  <c:v>3.178718497776314</c:v>
                </c:pt>
                <c:pt idx="13">
                  <c:v>3.2733575437438094</c:v>
                </c:pt>
                <c:pt idx="14">
                  <c:v>2.86360698125404</c:v>
                </c:pt>
                <c:pt idx="15">
                  <c:v>1.029539295392954</c:v>
                </c:pt>
              </c:numCache>
            </c:numRef>
          </c:yVal>
          <c:bubbleSize>
            <c:numRef>
              <c:f>Sheet1!$C$2:$C$17</c:f>
              <c:numCache>
                <c:formatCode>General</c:formatCode>
                <c:ptCount val="16"/>
                <c:pt idx="0">
                  <c:v>9024.0</c:v>
                </c:pt>
                <c:pt idx="1">
                  <c:v>4839.0</c:v>
                </c:pt>
                <c:pt idx="2">
                  <c:v>2273.0</c:v>
                </c:pt>
                <c:pt idx="3">
                  <c:v>735.0</c:v>
                </c:pt>
                <c:pt idx="4">
                  <c:v>374.0</c:v>
                </c:pt>
                <c:pt idx="5">
                  <c:v>278.0</c:v>
                </c:pt>
                <c:pt idx="6">
                  <c:v>6542.0</c:v>
                </c:pt>
                <c:pt idx="7">
                  <c:v>727.0</c:v>
                </c:pt>
                <c:pt idx="8">
                  <c:v>108.0</c:v>
                </c:pt>
                <c:pt idx="9">
                  <c:v>314.0</c:v>
                </c:pt>
                <c:pt idx="10">
                  <c:v>142.0</c:v>
                </c:pt>
                <c:pt idx="11">
                  <c:v>2178.0</c:v>
                </c:pt>
                <c:pt idx="12">
                  <c:v>1940.0</c:v>
                </c:pt>
                <c:pt idx="13">
                  <c:v>1980.0</c:v>
                </c:pt>
                <c:pt idx="14">
                  <c:v>1726.0</c:v>
                </c:pt>
                <c:pt idx="15">
                  <c:v>1214.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32.0"/>
          <c:min val="0.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MALARD GRAND CRU BLC DE NOIR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CHAMPAGNE NICOLAS 1ERE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dLbl>
              <c:idx val="50"/>
              <c:tx>
                <c:rich>
                  <a:bodyPr/>
                  <a:lstStyle/>
                  <a:p>
                    <a:r>
                      <a:t>1/2 HENRIOT BRUT 1CT X 375ML</a:t>
                    </a:r>
                  </a:p>
                </c:rich>
              </c:tx>
              <c:dLblPos val="t"/>
              <c:showLegendKey val="0"/>
              <c:showVal val="1"/>
              <c:showCatName val="0"/>
              <c:showSerName val="0"/>
              <c:showPercent val="0"/>
              <c:showBubbleSize val="0"/>
            </c:dLbl>
            <c:dLbl>
              <c:idx val="51"/>
              <c:tx>
                <c:rich>
                  <a:bodyPr/>
                  <a:lstStyle/>
                  <a:p>
                    <a:r>
                      <a:t>ROEDERER BRUT COLLECTION 244 1CT X 750ML</a:t>
                    </a:r>
                  </a:p>
                </c:rich>
              </c:tx>
              <c:dLblPos val="t"/>
              <c:showLegendKey val="0"/>
              <c:showVal val="1"/>
              <c:showCatName val="0"/>
              <c:showSerName val="0"/>
              <c:showPercent val="0"/>
              <c:showBubbleSize val="0"/>
            </c:dLbl>
            <c:dLbl>
              <c:idx val="52"/>
              <c:tx>
                <c:rich>
                  <a:bodyPr/>
                  <a:lstStyle/>
                  <a:p>
                    <a:r>
                      <a:t>1/2 CANARD DUCHENE CUVEE LEONI 1CT X 375ML</a:t>
                    </a:r>
                  </a:p>
                </c:rich>
              </c:tx>
              <c:dLblPos val="t"/>
              <c:showLegendKey val="0"/>
              <c:showVal val="1"/>
              <c:showCatName val="0"/>
              <c:showSerName val="0"/>
              <c:showPercent val="0"/>
              <c:showBubbleSize val="0"/>
            </c:dLbl>
            <c:dLbl>
              <c:idx val="53"/>
              <c:tx>
                <c:rich>
                  <a:bodyPr/>
                  <a:lstStyle/>
                  <a:p>
                    <a:r>
                      <a:t>PROSECCO SAVIAN EXTRA DRY ITA 1CT X 750ML</a:t>
                    </a:r>
                  </a:p>
                </c:rich>
              </c:tx>
              <c:dLblPos val="t"/>
              <c:showLegendKey val="0"/>
              <c:showVal val="1"/>
              <c:showCatName val="0"/>
              <c:showSerName val="0"/>
              <c:showPercent val="0"/>
              <c:showBubbleSize val="0"/>
            </c:dLbl>
            <c:dLbl>
              <c:idx val="54"/>
              <c:tx>
                <c:rich>
                  <a:bodyPr/>
                  <a:lstStyle/>
                  <a:p>
                    <a:r>
                      <a:t>HENRIOT BLANC DE BLANCS ETUI 1CT X 750ML</a:t>
                    </a:r>
                  </a:p>
                </c:rich>
              </c:tx>
              <c:dLblPos val="t"/>
              <c:showLegendKey val="0"/>
              <c:showVal val="1"/>
              <c:showCatName val="0"/>
              <c:showSerName val="0"/>
              <c:showPercent val="0"/>
              <c:showBubbleSize val="0"/>
            </c:dLbl>
            <c:dLbl>
              <c:idx val="55"/>
              <c:tx>
                <c:rich>
                  <a:bodyPr/>
                  <a:lstStyle/>
                  <a:p>
                    <a:r>
                      <a:t>PROSECCO VINO DEI POETI ITA 1CT X 750ML</a:t>
                    </a:r>
                  </a:p>
                </c:rich>
              </c:tx>
              <c:dLblPos val="t"/>
              <c:showLegendKey val="0"/>
              <c:showVal val="1"/>
              <c:showCatName val="0"/>
              <c:showSerName val="0"/>
              <c:showPercent val="0"/>
              <c:showBubbleSize val="0"/>
            </c:dLbl>
            <c:dLbl>
              <c:idx val="56"/>
              <c:tx>
                <c:rich>
                  <a:bodyPr/>
                  <a:lstStyle/>
                  <a:p>
                    <a:r>
                      <a:t>MALARD ROSE 1ER CRU 1CT X 750ML</a:t>
                    </a:r>
                  </a:p>
                </c:rich>
              </c:tx>
              <c:dLblPos val="t"/>
              <c:showLegendKey val="0"/>
              <c:showVal val="1"/>
              <c:showCatName val="0"/>
              <c:showSerName val="0"/>
              <c:showPercent val="0"/>
              <c:showBubbleSize val="0"/>
            </c:dLbl>
            <c:dLbl>
              <c:idx val="57"/>
              <c:tx>
                <c:rich>
                  <a:bodyPr/>
                  <a:lstStyle/>
                  <a:p>
                    <a:r>
                      <a:t>VRANKEN BRUT NATURE 1CT X 750ML</a:t>
                    </a:r>
                  </a:p>
                </c:rich>
              </c:tx>
              <c:dLblPos val="t"/>
              <c:showLegendKey val="0"/>
              <c:showVal val="1"/>
              <c:showCatName val="0"/>
              <c:showSerName val="0"/>
              <c:showPercent val="0"/>
              <c:showBubbleSize val="0"/>
            </c:dLbl>
            <c:dLbl>
              <c:idx val="58"/>
              <c:tx>
                <c:rich>
                  <a:bodyPr/>
                  <a:lstStyle/>
                  <a:p>
                    <a:r>
                      <a:t>MOET &amp; CHANDON RES IMP EX BRUT 1CT X 750ML</a:t>
                    </a:r>
                  </a:p>
                </c:rich>
              </c:tx>
              <c:dLblPos val="t"/>
              <c:showLegendKey val="0"/>
              <c:showVal val="1"/>
              <c:showCatName val="0"/>
              <c:showSerName val="0"/>
              <c:showPercent val="0"/>
              <c:showBubbleSize val="0"/>
            </c:dLbl>
            <c:dLbl>
              <c:idx val="59"/>
              <c:tx>
                <c:rich>
                  <a:bodyPr/>
                  <a:lstStyle/>
                  <a:p>
                    <a:r>
                      <a:t>HENRIOT BLANC DE BLANCS 1CT X 750ML</a:t>
                    </a:r>
                  </a:p>
                </c:rich>
              </c:tx>
              <c:dLblPos val="t"/>
              <c:showLegendKey val="0"/>
              <c:showVal val="1"/>
              <c:showCatName val="0"/>
              <c:showSerName val="0"/>
              <c:showPercent val="0"/>
              <c:showBubbleSize val="0"/>
            </c:dLbl>
            <c:dLbl>
              <c:idx val="60"/>
              <c:tx>
                <c:rich>
                  <a:bodyPr/>
                  <a:lstStyle/>
                  <a:p>
                    <a:r>
                      <a:t>NICOLAS FEUILLATTE RES EX ROSE 1CT X 750ML</a:t>
                    </a:r>
                  </a:p>
                </c:rich>
              </c:tx>
              <c:dLblPos val="t"/>
              <c:showLegendKey val="0"/>
              <c:showVal val="1"/>
              <c:showCatName val="0"/>
              <c:showSerName val="0"/>
              <c:showPercent val="0"/>
              <c:showBubbleSize val="0"/>
            </c:dLbl>
            <c:dLbl>
              <c:idx val="61"/>
              <c:tx>
                <c:rich>
                  <a:bodyPr/>
                  <a:lstStyle/>
                  <a:p>
                    <a:r>
                      <a:t>MG DE VENOGE CORDON BLEU BRUT 1CT X 1500ML</a:t>
                    </a:r>
                  </a:p>
                </c:rich>
              </c:tx>
              <c:dLblPos val="t"/>
              <c:showLegendKey val="0"/>
              <c:showVal val="1"/>
              <c:showCatName val="0"/>
              <c:showSerName val="0"/>
              <c:showPercent val="0"/>
              <c:showBubbleSize val="0"/>
            </c:dLbl>
            <c:dLbl>
              <c:idx val="62"/>
              <c:tx>
                <c:rich>
                  <a:bodyPr/>
                  <a:lstStyle/>
                  <a:p>
                    <a:r>
                      <a:t>CHAMPAGNE CH DE BLIGNY BLC/BLC 1CT X 750ML</a:t>
                    </a:r>
                  </a:p>
                </c:rich>
              </c:tx>
              <c:dLblPos val="t"/>
              <c:showLegendKey val="0"/>
              <c:showVal val="1"/>
              <c:showCatName val="0"/>
              <c:showSerName val="0"/>
              <c:showPercent val="0"/>
              <c:showBubbleSize val="0"/>
            </c:dLbl>
            <c:dLbl>
              <c:idx val="63"/>
              <c:tx>
                <c:rich>
                  <a:bodyPr/>
                  <a:lstStyle/>
                  <a:p>
                    <a:r>
                      <a:t>MG CANARD DUCHENE CUV LEONIE E 1CT X 1500ML</a:t>
                    </a:r>
                  </a:p>
                </c:rich>
              </c:tx>
              <c:dLblPos val="t"/>
              <c:showLegendKey val="0"/>
              <c:showVal val="1"/>
              <c:showCatName val="0"/>
              <c:showSerName val="0"/>
              <c:showPercent val="0"/>
              <c:showBubbleSize val="0"/>
            </c:dLbl>
            <c:dLbl>
              <c:idx val="64"/>
              <c:tx>
                <c:rich>
                  <a:bodyPr/>
                  <a:lstStyle/>
                  <a:p>
                    <a:r>
                      <a:t>1/2 DE VENOGE CORDON BLEU BRUT 1CT X 375ML</a:t>
                    </a:r>
                  </a:p>
                </c:rich>
              </c:tx>
              <c:dLblPos val="t"/>
              <c:showLegendKey val="0"/>
              <c:showVal val="1"/>
              <c:showCatName val="0"/>
              <c:showSerName val="0"/>
              <c:showPercent val="0"/>
              <c:showBubbleSize val="0"/>
            </c:dLbl>
            <c:dLbl>
              <c:idx val="65"/>
              <c:tx>
                <c:rich>
                  <a:bodyPr/>
                  <a:lstStyle/>
                  <a:p>
                    <a:r>
                      <a:t>DE VENOGE PRINCES BLC DE BLCS 1CT X 750ML</a:t>
                    </a:r>
                  </a:p>
                </c:rich>
              </c:tx>
              <c:dLblPos val="t"/>
              <c:showLegendKey val="0"/>
              <c:showVal val="1"/>
              <c:showCatName val="0"/>
              <c:showSerName val="0"/>
              <c:showPercent val="0"/>
              <c:showBubbleSize val="0"/>
            </c:dLbl>
            <c:dLbl>
              <c:idx val="66"/>
              <c:tx>
                <c:rich>
                  <a:bodyPr/>
                  <a:lstStyle/>
                  <a:p>
                    <a:r>
                      <a:t>CREMANT LOIRE NATURE 2015AC 1CT X 750ML</a:t>
                    </a:r>
                  </a:p>
                </c:rich>
              </c:tx>
              <c:dLblPos val="t"/>
              <c:showLegendKey val="0"/>
              <c:showVal val="1"/>
              <c:showCatName val="0"/>
              <c:showSerName val="0"/>
              <c:showPercent val="0"/>
              <c:showBubbleSize val="0"/>
            </c:dLbl>
            <c:dLbl>
              <c:idx val="67"/>
              <c:tx>
                <c:rich>
                  <a:bodyPr/>
                  <a:lstStyle/>
                  <a:p>
                    <a:r>
                      <a:t>1/2 DEUTZ CLASSIC BRUT 1CT X 375ML</a:t>
                    </a:r>
                  </a:p>
                </c:rich>
              </c:tx>
              <c:dLblPos val="t"/>
              <c:showLegendKey val="0"/>
              <c:showVal val="1"/>
              <c:showCatName val="0"/>
              <c:showSerName val="0"/>
              <c:showPercent val="0"/>
              <c:showBubbleSize val="0"/>
            </c:dLbl>
            <c:dLbl>
              <c:idx val="68"/>
              <c:tx>
                <c:rich>
                  <a:bodyPr/>
                  <a:lstStyle/>
                  <a:p>
                    <a:r>
                      <a:t>CREMANT BOURG PATRIARCH ROS AC 1CT X 750ML</a:t>
                    </a:r>
                  </a:p>
                </c:rich>
              </c:tx>
              <c:dLblPos val="t"/>
              <c:showLegendKey val="0"/>
              <c:showVal val="1"/>
              <c:showCatName val="0"/>
              <c:showSerName val="0"/>
              <c:showPercent val="0"/>
              <c:showBubbleSize val="0"/>
            </c:dLbl>
            <c:dLbl>
              <c:idx val="69"/>
              <c:tx>
                <c:rich>
                  <a:bodyPr/>
                  <a:lstStyle/>
                  <a:p>
                    <a:r>
                      <a:t>MOET &amp; CHANDON IMPERIAL ED JO 1CT X 750ML</a:t>
                    </a:r>
                  </a:p>
                </c:rich>
              </c:tx>
              <c:dLblPos val="t"/>
              <c:showLegendKey val="0"/>
              <c:showVal val="1"/>
              <c:showCatName val="0"/>
              <c:showSerName val="0"/>
              <c:showPercent val="0"/>
              <c:showBubbleSize val="0"/>
            </c:dLbl>
            <c:dLbl>
              <c:idx val="70"/>
              <c:tx>
                <c:rich>
                  <a:bodyPr/>
                  <a:lstStyle/>
                  <a:p>
                    <a:r>
                      <a:t>ROEDERER BRUT 2015 1CT X 750ML</a:t>
                    </a:r>
                  </a:p>
                </c:rich>
              </c:tx>
              <c:dLblPos val="t"/>
              <c:showLegendKey val="0"/>
              <c:showVal val="1"/>
              <c:showCatName val="0"/>
              <c:showSerName val="0"/>
              <c:showPercent val="0"/>
              <c:showBubbleSize val="0"/>
            </c:dLbl>
            <c:dLbl>
              <c:idx val="71"/>
              <c:tx>
                <c:rich>
                  <a:bodyPr/>
                  <a:lstStyle/>
                  <a:p>
                    <a:r>
                      <a:t>MG CANARD DUCHENE CUVEE LEONIE 1CT X 1500ML</a:t>
                    </a:r>
                  </a:p>
                </c:rich>
              </c:tx>
              <c:dLblPos val="t"/>
              <c:showLegendKey val="0"/>
              <c:showVal val="1"/>
              <c:showCatName val="0"/>
              <c:showSerName val="0"/>
              <c:showPercent val="0"/>
              <c:showBubbleSize val="0"/>
            </c:dLbl>
            <c:dLbl>
              <c:idx val="72"/>
              <c:tx>
                <c:rich>
                  <a:bodyPr/>
                  <a:lstStyle/>
                  <a:p>
                    <a:r>
                      <a:t>CHAMPAGNE LALLIER SERIE R.020 1CT X 750ML</a:t>
                    </a:r>
                  </a:p>
                </c:rich>
              </c:tx>
              <c:dLblPos val="t"/>
              <c:showLegendKey val="0"/>
              <c:showVal val="1"/>
              <c:showCatName val="0"/>
              <c:showSerName val="0"/>
              <c:showPercent val="0"/>
              <c:showBubbleSize val="0"/>
            </c:dLbl>
            <c:dLbl>
              <c:idx val="73"/>
              <c:tx>
                <c:rich>
                  <a:bodyPr/>
                  <a:lstStyle/>
                  <a:p>
                    <a:r>
                      <a:t>CREMANT D'ALSACE PRESTIGE BIO 1CT X 750ML</a:t>
                    </a:r>
                  </a:p>
                </c:rich>
              </c:tx>
              <c:dLblPos val="t"/>
              <c:showLegendKey val="0"/>
              <c:showVal val="1"/>
              <c:showCatName val="0"/>
              <c:showSerName val="0"/>
              <c:showPercent val="0"/>
              <c:showBubbleSize val="0"/>
            </c:dLbl>
            <c:dLbl>
              <c:idx val="74"/>
              <c:tx>
                <c:rich>
                  <a:bodyPr/>
                  <a:lstStyle/>
                  <a:p>
                    <a:r>
                      <a:t>ROEDERER ROSE 2016 1CT X 750ML</a:t>
                    </a:r>
                  </a:p>
                </c:rich>
              </c:tx>
              <c:dLblPos val="t"/>
              <c:showLegendKey val="0"/>
              <c:showVal val="1"/>
              <c:showCatName val="0"/>
              <c:showSerName val="0"/>
              <c:showPercent val="0"/>
              <c:showBubbleSize val="0"/>
            </c:dLbl>
            <c:dLbl>
              <c:idx val="75"/>
              <c:tx>
                <c:rich>
                  <a:bodyPr/>
                  <a:lstStyle/>
                  <a:p>
                    <a:r>
                      <a:t>MG ROEDERER BRUT COLLECT 244 1CT X 1500ML</a:t>
                    </a:r>
                  </a:p>
                </c:rich>
              </c:tx>
              <c:dLblPos val="t"/>
              <c:showLegendKey val="0"/>
              <c:showVal val="1"/>
              <c:showCatName val="0"/>
              <c:showSerName val="0"/>
              <c:showPercent val="0"/>
              <c:showBubbleSize val="0"/>
            </c:dLbl>
            <c:dLbl>
              <c:idx val="76"/>
              <c:tx>
                <c:rich>
                  <a:bodyPr/>
                  <a:lstStyle/>
                  <a:p>
                    <a:r>
                      <a:t>BESSERAT BELLEFON ROSE 1CT X 750ML</a:t>
                    </a:r>
                  </a:p>
                </c:rich>
              </c:tx>
              <c:dLblPos val="t"/>
              <c:showLegendKey val="0"/>
              <c:showVal val="1"/>
              <c:showCatName val="0"/>
              <c:showSerName val="0"/>
              <c:showPercent val="0"/>
              <c:showBubbleSize val="0"/>
            </c:dLbl>
            <c:dLbl>
              <c:idx val="77"/>
              <c:tx>
                <c:rich>
                  <a:bodyPr/>
                  <a:lstStyle/>
                  <a:p>
                    <a:r>
                      <a:t>MG ROEDERER BRUT COLLECT 243 1CT X 1500ML</a:t>
                    </a:r>
                  </a:p>
                </c:rich>
              </c:tx>
              <c:dLblPos val="t"/>
              <c:showLegendKey val="0"/>
              <c:showVal val="1"/>
              <c:showCatName val="0"/>
              <c:showSerName val="0"/>
              <c:showPercent val="0"/>
              <c:showBubbleSize val="0"/>
            </c:dLbl>
            <c:dLbl>
              <c:idx val="78"/>
              <c:tx>
                <c:rich>
                  <a:bodyPr/>
                  <a:lstStyle/>
                  <a:p>
                    <a:r>
                      <a:t>RUINART BRUT (NUE) 2015 1CT X 750ML</a:t>
                    </a:r>
                  </a:p>
                </c:rich>
              </c:tx>
              <c:dLblPos val="t"/>
              <c:showLegendKey val="0"/>
              <c:showVal val="1"/>
              <c:showCatName val="0"/>
              <c:showSerName val="0"/>
              <c:showPercent val="0"/>
              <c:showBubbleSize val="0"/>
            </c:dLbl>
            <c:dLbl>
              <c:idx val="79"/>
              <c:tx>
                <c:rich>
                  <a:bodyPr/>
                  <a:lstStyle/>
                  <a:p>
                    <a:r>
                      <a:t>CH MONCONTOUR MILLESIME AC 1CT X 750ML</a:t>
                    </a:r>
                  </a:p>
                </c:rich>
              </c:tx>
              <c:dLblPos val="t"/>
              <c:showLegendKey val="0"/>
              <c:showVal val="1"/>
              <c:showCatName val="0"/>
              <c:showSerName val="0"/>
              <c:showPercent val="0"/>
              <c:showBubbleSize val="0"/>
            </c:dLbl>
            <c:dLbl>
              <c:idx val="80"/>
              <c:tx>
                <c:rich>
                  <a:bodyPr/>
                  <a:lstStyle/>
                  <a:p>
                    <a:r>
                      <a:t>CHAMPAGNE CH DE BLIGNY 6CEPAGE 1CT X 750ML</a:t>
                    </a:r>
                  </a:p>
                </c:rich>
              </c:tx>
              <c:dLblPos val="t"/>
              <c:showLegendKey val="0"/>
              <c:showVal val="1"/>
              <c:showCatName val="0"/>
              <c:showSerName val="0"/>
              <c:showPercent val="0"/>
              <c:showBubbleSize val="0"/>
            </c:dLbl>
            <c:dLbl>
              <c:idx val="81"/>
              <c:tx>
                <c:rich>
                  <a:bodyPr/>
                  <a:lstStyle/>
                  <a:p>
                    <a:r>
                      <a:t>MG RUINART ROSE SECOND SKIN 1CT X 1500ML</a:t>
                    </a:r>
                  </a:p>
                </c:rich>
              </c:tx>
              <c:dLblPos val="t"/>
              <c:showLegendKey val="0"/>
              <c:showVal val="1"/>
              <c:showCatName val="0"/>
              <c:showSerName val="0"/>
              <c:showPercent val="0"/>
              <c:showBubbleSize val="0"/>
            </c:dLbl>
            <c:dLbl>
              <c:idx val="82"/>
              <c:tx>
                <c:rich>
                  <a:bodyPr/>
                  <a:lstStyle/>
                  <a:p>
                    <a:r>
                      <a:t>1/2 ROEDERER BRUT COLLECT 245 1CT X 375ML</a:t>
                    </a:r>
                  </a:p>
                </c:rich>
              </c:tx>
              <c:dLblPos val="t"/>
              <c:showLegendKey val="0"/>
              <c:showVal val="1"/>
              <c:showCatName val="0"/>
              <c:showSerName val="0"/>
              <c:showPercent val="0"/>
              <c:showBubbleSize val="0"/>
            </c:dLbl>
            <c:dLbl>
              <c:idx val="83"/>
              <c:tx>
                <c:rich>
                  <a:bodyPr/>
                  <a:lstStyle/>
                  <a:p>
                    <a:r>
                      <a:t>1/2 DEUTZ ROSE 1CT X 375ML</a:t>
                    </a:r>
                  </a:p>
                </c:rich>
              </c:tx>
              <c:dLblPos val="t"/>
              <c:showLegendKey val="0"/>
              <c:showVal val="1"/>
              <c:showCatName val="0"/>
              <c:showSerName val="0"/>
              <c:showPercent val="0"/>
              <c:showBubbleSize val="0"/>
            </c:dLbl>
            <c:dLbl>
              <c:idx val="84"/>
              <c:tx>
                <c:rich>
                  <a:bodyPr/>
                  <a:lstStyle/>
                  <a:p>
                    <a:r>
                      <a:t>VRANKEN CUVEE DIAMANT BRUT 1CT X 750ML</a:t>
                    </a:r>
                  </a:p>
                </c:rich>
              </c:tx>
              <c:dLblPos val="t"/>
              <c:showLegendKey val="0"/>
              <c:showVal val="1"/>
              <c:showCatName val="0"/>
              <c:showSerName val="0"/>
              <c:showPercent val="0"/>
              <c:showBubbleSize val="0"/>
            </c:dLbl>
            <c:dLbl>
              <c:idx val="85"/>
              <c:tx>
                <c:rich>
                  <a:bodyPr/>
                  <a:lstStyle/>
                  <a:p>
                    <a:r>
                      <a:t>BESSERAT BELLEFON BLC DE BLCS 1CT X 750ML</a:t>
                    </a:r>
                  </a:p>
                </c:rich>
              </c:tx>
              <c:dLblPos val="t"/>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7</c:f>
              <c:numCache>
                <c:formatCode>General</c:formatCode>
                <c:ptCount val="86"/>
                <c:pt idx="0">
                  <c:v>0.09464970807887682</c:v>
                </c:pt>
                <c:pt idx="1">
                  <c:v>0.25755452022925485</c:v>
                </c:pt>
                <c:pt idx="2">
                  <c:v>0.11611158017941657</c:v>
                </c:pt>
                <c:pt idx="3">
                  <c:v>0.18461872183428593</c:v>
                </c:pt>
                <c:pt idx="4">
                  <c:v>0.10161265948457898</c:v>
                </c:pt>
                <c:pt idx="5">
                  <c:v>0.15748025213943453</c:v>
                </c:pt>
                <c:pt idx="6">
                  <c:v>0.22371750529819068</c:v>
                </c:pt>
                <c:pt idx="7">
                  <c:v>0.15782737962702453</c:v>
                </c:pt>
                <c:pt idx="8">
                  <c:v>0.10560765861541817</c:v>
                </c:pt>
                <c:pt idx="9">
                  <c:v>0.11552081927951753</c:v>
                </c:pt>
                <c:pt idx="10">
                  <c:v>0.10217545185884808</c:v>
                </c:pt>
                <c:pt idx="11">
                  <c:v>0.10113690259304806</c:v>
                </c:pt>
                <c:pt idx="12">
                  <c:v>0.10146892400363097</c:v>
                </c:pt>
                <c:pt idx="13">
                  <c:v>0.10134685099046593</c:v>
                </c:pt>
                <c:pt idx="14">
                  <c:v>0.10106627133304767</c:v>
                </c:pt>
                <c:pt idx="15">
                  <c:v>0.10121527364999792</c:v>
                </c:pt>
                <c:pt idx="16">
                  <c:v>0.14114388101712197</c:v>
                </c:pt>
                <c:pt idx="17">
                  <c:v>0.10363557491768123</c:v>
                </c:pt>
                <c:pt idx="18">
                  <c:v>0.12320616442779712</c:v>
                </c:pt>
                <c:pt idx="19">
                  <c:v>0.09705327899448037</c:v>
                </c:pt>
                <c:pt idx="20">
                  <c:v>0.10450345563243092</c:v>
                </c:pt>
                <c:pt idx="21">
                  <c:v>0.10294806685311281</c:v>
                </c:pt>
                <c:pt idx="22">
                  <c:v>0.15192257392655456</c:v>
                </c:pt>
                <c:pt idx="23">
                  <c:v>0.0966733365804459</c:v>
                </c:pt>
                <c:pt idx="24">
                  <c:v>0.15507670329382578</c:v>
                </c:pt>
                <c:pt idx="25">
                  <c:v>0.09932664901126566</c:v>
                </c:pt>
                <c:pt idx="26">
                  <c:v>0.06595616932734087</c:v>
                </c:pt>
                <c:pt idx="27">
                  <c:v>0.15466009131763617</c:v>
                </c:pt>
                <c:pt idx="28">
                  <c:v>0.09802963423591912</c:v>
                </c:pt>
                <c:pt idx="29">
                  <c:v>0.10379523641545921</c:v>
                </c:pt>
                <c:pt idx="30">
                  <c:v>0.20226677003350033</c:v>
                </c:pt>
                <c:pt idx="31">
                  <c:v>0.17516245167026326</c:v>
                </c:pt>
                <c:pt idx="32">
                  <c:v>0.0905286688140896</c:v>
                </c:pt>
                <c:pt idx="33">
                  <c:v>0.11653635372499922</c:v>
                </c:pt>
                <c:pt idx="34">
                  <c:v>0.18808533389823312</c:v>
                </c:pt>
                <c:pt idx="35">
                  <c:v>0.09782781949019109</c:v>
                </c:pt>
                <c:pt idx="36">
                  <c:v>0.24415820629963264</c:v>
                </c:pt>
                <c:pt idx="37">
                  <c:v>0.14908296051231826</c:v>
                </c:pt>
                <c:pt idx="38">
                  <c:v>0.10829400236367363</c:v>
                </c:pt>
                <c:pt idx="39">
                  <c:v>0.12080631337795754</c:v>
                </c:pt>
                <c:pt idx="40">
                  <c:v>0.09708500374766131</c:v>
                </c:pt>
                <c:pt idx="41">
                  <c:v>0.1386503755266552</c:v>
                </c:pt>
                <c:pt idx="42">
                  <c:v>0.2785308513415538</c:v>
                </c:pt>
                <c:pt idx="43">
                  <c:v>0.1027151656765284</c:v>
                </c:pt>
                <c:pt idx="44">
                  <c:v>-0.12140385759879402</c:v>
                </c:pt>
                <c:pt idx="45">
                  <c:v>0.06678861872961227</c:v>
                </c:pt>
                <c:pt idx="46">
                  <c:v>0.1515983401159681</c:v>
                </c:pt>
                <c:pt idx="47">
                  <c:v>0.16063497863935508</c:v>
                </c:pt>
                <c:pt idx="48">
                  <c:v>0.08707731886738104</c:v>
                </c:pt>
                <c:pt idx="49">
                  <c:v>0.10392797936170381</c:v>
                </c:pt>
                <c:pt idx="50">
                  <c:v>0.1493995583261749</c:v>
                </c:pt>
                <c:pt idx="51">
                  <c:v>0.09947959298997161</c:v>
                </c:pt>
                <c:pt idx="52">
                  <c:v>0.19502686205755906</c:v>
                </c:pt>
                <c:pt idx="53">
                  <c:v>0.16461626335198384</c:v>
                </c:pt>
                <c:pt idx="54">
                  <c:v>0.1944230577288627</c:v>
                </c:pt>
                <c:pt idx="55">
                  <c:v>0.09947629762074169</c:v>
                </c:pt>
                <c:pt idx="56">
                  <c:v>0.10752945243458013</c:v>
                </c:pt>
                <c:pt idx="57">
                  <c:v>0.10908155144884864</c:v>
                </c:pt>
                <c:pt idx="58">
                  <c:v>0.09155509341618172</c:v>
                </c:pt>
                <c:pt idx="59">
                  <c:v>0.1507809869898581</c:v>
                </c:pt>
                <c:pt idx="60">
                  <c:v>0.11332222771439661</c:v>
                </c:pt>
                <c:pt idx="61">
                  <c:v>0.16885294977121698</c:v>
                </c:pt>
                <c:pt idx="62">
                  <c:v>0.1848063669759649</c:v>
                </c:pt>
                <c:pt idx="63">
                  <c:v>0.20243130047917152</c:v>
                </c:pt>
                <c:pt idx="64">
                  <c:v>0.13882467675418597</c:v>
                </c:pt>
                <c:pt idx="65">
                  <c:v>0.14328401764675675</c:v>
                </c:pt>
                <c:pt idx="66">
                  <c:v>0.18128697373606195</c:v>
                </c:pt>
                <c:pt idx="67">
                  <c:v>0.1063154978751159</c:v>
                </c:pt>
                <c:pt idx="68">
                  <c:v>0.22645563813103747</c:v>
                </c:pt>
                <c:pt idx="69">
                  <c:v>0.03307710164664349</c:v>
                </c:pt>
                <c:pt idx="70">
                  <c:v>0.13092494895925197</c:v>
                </c:pt>
                <c:pt idx="71">
                  <c:v>0.2301508382487291</c:v>
                </c:pt>
                <c:pt idx="72">
                  <c:v>0.10090142506925313</c:v>
                </c:pt>
                <c:pt idx="73">
                  <c:v>0.10566029260070144</c:v>
                </c:pt>
                <c:pt idx="74">
                  <c:v>0.09332564538294205</c:v>
                </c:pt>
                <c:pt idx="75">
                  <c:v>0.029436827651960304</c:v>
                </c:pt>
                <c:pt idx="76">
                  <c:v>0.09569338331851678</c:v>
                </c:pt>
                <c:pt idx="77">
                  <c:v>0.08273296383030283</c:v>
                </c:pt>
                <c:pt idx="78">
                  <c:v>0.05844372044395382</c:v>
                </c:pt>
                <c:pt idx="79">
                  <c:v>0.20881288516397947</c:v>
                </c:pt>
                <c:pt idx="80">
                  <c:v>0.17378308851784977</c:v>
                </c:pt>
                <c:pt idx="81">
                  <c:v>0.008463639723306687</c:v>
                </c:pt>
                <c:pt idx="82">
                  <c:v>0.10446527493005553</c:v>
                </c:pt>
                <c:pt idx="83">
                  <c:v>0.10194677183092142</c:v>
                </c:pt>
                <c:pt idx="84">
                  <c:v>0.091489610391712</c:v>
                </c:pt>
                <c:pt idx="85">
                  <c:v>0.09816420498227421</c:v>
                </c:pt>
              </c:numCache>
            </c:numRef>
          </c:xVal>
          <c:yVal>
            <c:numRef>
              <c:f>Sheet1!$B$2:$B$87</c:f>
              <c:numCache>
                <c:formatCode>General</c:formatCode>
                <c:ptCount val="86"/>
                <c:pt idx="0">
                  <c:v>0.4338186077643909</c:v>
                </c:pt>
                <c:pt idx="1">
                  <c:v>6.4670263788968825</c:v>
                </c:pt>
                <c:pt idx="2">
                  <c:v>0.6793363764044944</c:v>
                </c:pt>
                <c:pt idx="3">
                  <c:v>3.2666267225883763</c:v>
                </c:pt>
                <c:pt idx="4">
                  <c:v>0.7542342978122795</c:v>
                </c:pt>
                <c:pt idx="5">
                  <c:v>2.968500443655723</c:v>
                </c:pt>
                <c:pt idx="6">
                  <c:v>5.21301775147929</c:v>
                </c:pt>
                <c:pt idx="7">
                  <c:v>1.2258004119078825</c:v>
                </c:pt>
                <c:pt idx="8">
                  <c:v>1.7460815047021943</c:v>
                </c:pt>
                <c:pt idx="9">
                  <c:v>2.433852140077821</c:v>
                </c:pt>
                <c:pt idx="10">
                  <c:v>1.6110772976262933</c:v>
                </c:pt>
                <c:pt idx="11">
                  <c:v>1.8081145584725538</c:v>
                </c:pt>
                <c:pt idx="12">
                  <c:v>1.035727508330248</c:v>
                </c:pt>
                <c:pt idx="13">
                  <c:v>1.0623806492679821</c:v>
                </c:pt>
                <c:pt idx="14">
                  <c:v>2.5896387184730743</c:v>
                </c:pt>
                <c:pt idx="15">
                  <c:v>1.850346878097126</c:v>
                </c:pt>
                <c:pt idx="16">
                  <c:v>2.725531914893617</c:v>
                </c:pt>
                <c:pt idx="17">
                  <c:v>0.7601547388781431</c:v>
                </c:pt>
                <c:pt idx="18">
                  <c:v>3.895408163265306</c:v>
                </c:pt>
                <c:pt idx="19">
                  <c:v>4.963106796116505</c:v>
                </c:pt>
                <c:pt idx="20">
                  <c:v>1.447408536585366</c:v>
                </c:pt>
                <c:pt idx="21">
                  <c:v>0.8256735340729001</c:v>
                </c:pt>
                <c:pt idx="22">
                  <c:v>3.6072072072072072</c:v>
                </c:pt>
                <c:pt idx="23">
                  <c:v>2.1204188481675392</c:v>
                </c:pt>
                <c:pt idx="24">
                  <c:v>2.9718649045521293</c:v>
                </c:pt>
                <c:pt idx="25">
                  <c:v>2.156716417910448</c:v>
                </c:pt>
                <c:pt idx="26">
                  <c:v>3.7529411764705882</c:v>
                </c:pt>
                <c:pt idx="27">
                  <c:v>3.112781954887218</c:v>
                </c:pt>
                <c:pt idx="28">
                  <c:v>1.5551330798479088</c:v>
                </c:pt>
                <c:pt idx="29">
                  <c:v>2.3879003558718863</c:v>
                </c:pt>
                <c:pt idx="30">
                  <c:v>1.022625160462131</c:v>
                </c:pt>
                <c:pt idx="31">
                  <c:v>3.3313253012048194</c:v>
                </c:pt>
                <c:pt idx="32">
                  <c:v>2.2589873417721518</c:v>
                </c:pt>
                <c:pt idx="33">
                  <c:v>0.8913043478260869</c:v>
                </c:pt>
                <c:pt idx="34">
                  <c:v>3.729268292682927</c:v>
                </c:pt>
                <c:pt idx="35">
                  <c:v>0.5802792321116929</c:v>
                </c:pt>
                <c:pt idx="36">
                  <c:v>1.6608375517717442</c:v>
                </c:pt>
                <c:pt idx="37">
                  <c:v>4.330882352941177</c:v>
                </c:pt>
                <c:pt idx="38">
                  <c:v>3.103448275862069</c:v>
                </c:pt>
                <c:pt idx="39">
                  <c:v>3.1301775147928996</c:v>
                </c:pt>
                <c:pt idx="40">
                  <c:v>4.631147540983607</c:v>
                </c:pt>
                <c:pt idx="41">
                  <c:v>0.8723989006674518</c:v>
                </c:pt>
                <c:pt idx="42">
                  <c:v>10.208053691275168</c:v>
                </c:pt>
                <c:pt idx="43">
                  <c:v>0.8380112269446672</c:v>
                </c:pt>
                <c:pt idx="44">
                  <c:v>5.457516339869281</c:v>
                </c:pt>
                <c:pt idx="45">
                  <c:v>4.121212121212121</c:v>
                </c:pt>
                <c:pt idx="46">
                  <c:v>1.3857142857142857</c:v>
                </c:pt>
                <c:pt idx="47">
                  <c:v>1.8061002178649237</c:v>
                </c:pt>
                <c:pt idx="48">
                  <c:v>2.084967320261438</c:v>
                </c:pt>
                <c:pt idx="49">
                  <c:v>1.5594855305466238</c:v>
                </c:pt>
                <c:pt idx="50">
                  <c:v>1.3897058823529411</c:v>
                </c:pt>
                <c:pt idx="51">
                  <c:v>0.8598901098901099</c:v>
                </c:pt>
                <c:pt idx="52">
                  <c:v>1.5711009174311927</c:v>
                </c:pt>
                <c:pt idx="53">
                  <c:v>0.9724256785868161</c:v>
                </c:pt>
                <c:pt idx="54">
                  <c:v>4.380281690140845</c:v>
                </c:pt>
                <c:pt idx="55">
                  <c:v>0.6964184195565662</c:v>
                </c:pt>
                <c:pt idx="56">
                  <c:v>1.5461741424802111</c:v>
                </c:pt>
                <c:pt idx="57">
                  <c:v>1.3157894736842106</c:v>
                </c:pt>
                <c:pt idx="58">
                  <c:v>1.981818181818182</c:v>
                </c:pt>
                <c:pt idx="59">
                  <c:v>2.0</c:v>
                </c:pt>
                <c:pt idx="60">
                  <c:v>1.71875</c:v>
                </c:pt>
                <c:pt idx="61">
                  <c:v>1.3482565789473684</c:v>
                </c:pt>
                <c:pt idx="62">
                  <c:v>3.694267515923567</c:v>
                </c:pt>
                <c:pt idx="63">
                  <c:v>2.504201680672269</c:v>
                </c:pt>
                <c:pt idx="64">
                  <c:v>1.0010616438356164</c:v>
                </c:pt>
                <c:pt idx="65">
                  <c:v>1.5072463768115942</c:v>
                </c:pt>
                <c:pt idx="66">
                  <c:v>2.2175438596491226</c:v>
                </c:pt>
                <c:pt idx="67">
                  <c:v>0.8244274809160306</c:v>
                </c:pt>
                <c:pt idx="68">
                  <c:v>1.8258164852255054</c:v>
                </c:pt>
                <c:pt idx="69">
                  <c:v>1.331360946745562</c:v>
                </c:pt>
                <c:pt idx="70">
                  <c:v>2.3442622950819674</c:v>
                </c:pt>
                <c:pt idx="71">
                  <c:v>2.8840579710144927</c:v>
                </c:pt>
                <c:pt idx="72">
                  <c:v>0.05555555555555555</c:v>
                </c:pt>
                <c:pt idx="73">
                  <c:v>1.1223300970873786</c:v>
                </c:pt>
                <c:pt idx="74">
                  <c:v>2.608695652173913</c:v>
                </c:pt>
                <c:pt idx="75">
                  <c:v>3.216666666666667</c:v>
                </c:pt>
                <c:pt idx="76">
                  <c:v>1.2091503267973855</c:v>
                </c:pt>
                <c:pt idx="77">
                  <c:v>1.3333333333333333</c:v>
                </c:pt>
                <c:pt idx="78">
                  <c:v>3.8125</c:v>
                </c:pt>
                <c:pt idx="79">
                  <c:v>1.3501628664495113</c:v>
                </c:pt>
                <c:pt idx="80">
                  <c:v>2.1129032258064515</c:v>
                </c:pt>
                <c:pt idx="81">
                  <c:v>2.289473684210526</c:v>
                </c:pt>
                <c:pt idx="82">
                  <c:v>1.621212121212121</c:v>
                </c:pt>
                <c:pt idx="83">
                  <c:v>1.043859649122807</c:v>
                </c:pt>
                <c:pt idx="84">
                  <c:v>2.2830188679245285</c:v>
                </c:pt>
                <c:pt idx="85">
                  <c:v>1.8392857142857142</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3423702160986457"/>
          <c:min val="-0.0971230860790352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2.2496644295302"/>
          <c:min val="0.04444444444444444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MG ROEDERER BRUT COLLECT 244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82440552-06C8-4440-9329-282CB4E397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8</c:f>
              <c:numCache>
                <c:formatCode>General</c:formatCode>
                <c:ptCount val="47"/>
                <c:pt idx="0">
                  <c:v>0.09485688052410324</c:v>
                </c:pt>
                <c:pt idx="1">
                  <c:v>0.2602555957766711</c:v>
                </c:pt>
                <c:pt idx="2">
                  <c:v>0.09508475694652663</c:v>
                </c:pt>
                <c:pt idx="3">
                  <c:v>0.16096261471472262</c:v>
                </c:pt>
                <c:pt idx="4">
                  <c:v>0.11884937167079353</c:v>
                </c:pt>
                <c:pt idx="5">
                  <c:v>0.19015350536348524</c:v>
                </c:pt>
                <c:pt idx="6">
                  <c:v>0.15377962994505903</c:v>
                </c:pt>
                <c:pt idx="7">
                  <c:v>0.09807402877761258</c:v>
                </c:pt>
                <c:pt idx="8">
                  <c:v>0.1039165780812792</c:v>
                </c:pt>
                <c:pt idx="9">
                  <c:v>0.21083318631641298</c:v>
                </c:pt>
                <c:pt idx="10">
                  <c:v>0.08376733435800414</c:v>
                </c:pt>
                <c:pt idx="11">
                  <c:v>0.10076866437207051</c:v>
                </c:pt>
                <c:pt idx="12">
                  <c:v>0.12157083675882133</c:v>
                </c:pt>
                <c:pt idx="13">
                  <c:v>0.10035409800114196</c:v>
                </c:pt>
                <c:pt idx="14">
                  <c:v>0.14864321116192505</c:v>
                </c:pt>
                <c:pt idx="15">
                  <c:v>0.0986824184219392</c:v>
                </c:pt>
                <c:pt idx="16">
                  <c:v>0.09683264284078699</c:v>
                </c:pt>
                <c:pt idx="17">
                  <c:v>0.11270748626838299</c:v>
                </c:pt>
                <c:pt idx="18">
                  <c:v>0.1846945111421783</c:v>
                </c:pt>
                <c:pt idx="19">
                  <c:v>-0.15263831786819626</c:v>
                </c:pt>
                <c:pt idx="20">
                  <c:v>0.10387572496876774</c:v>
                </c:pt>
                <c:pt idx="21">
                  <c:v>0.2178711317777762</c:v>
                </c:pt>
                <c:pt idx="22">
                  <c:v>0.11784045601060644</c:v>
                </c:pt>
                <c:pt idx="23">
                  <c:v>0.0690658880508925</c:v>
                </c:pt>
                <c:pt idx="24">
                  <c:v>0.09080411908187755</c:v>
                </c:pt>
                <c:pt idx="25">
                  <c:v>0.10933310506651131</c:v>
                </c:pt>
                <c:pt idx="26">
                  <c:v>0.16675314716705347</c:v>
                </c:pt>
                <c:pt idx="27">
                  <c:v>0.024565027327384817</c:v>
                </c:pt>
                <c:pt idx="28">
                  <c:v>0.1198553733223908</c:v>
                </c:pt>
                <c:pt idx="29">
                  <c:v>0.01982817725298926</c:v>
                </c:pt>
                <c:pt idx="30">
                  <c:v>0.11141201160939192</c:v>
                </c:pt>
                <c:pt idx="31">
                  <c:v>0.09446278653144263</c:v>
                </c:pt>
                <c:pt idx="32">
                  <c:v>0.1387322492295862</c:v>
                </c:pt>
                <c:pt idx="33">
                  <c:v>-0.1980504528381583</c:v>
                </c:pt>
                <c:pt idx="34">
                  <c:v>0.13462263580185097</c:v>
                </c:pt>
                <c:pt idx="35">
                  <c:v>0.08430431200333849</c:v>
                </c:pt>
                <c:pt idx="36">
                  <c:v>0.18397123338376772</c:v>
                </c:pt>
                <c:pt idx="37">
                  <c:v>0.10624015857565329</c:v>
                </c:pt>
                <c:pt idx="38">
                  <c:v>0.16374313714235642</c:v>
                </c:pt>
                <c:pt idx="39">
                  <c:v>0.15718611255710613</c:v>
                </c:pt>
                <c:pt idx="40">
                  <c:v>0.17542261869729944</c:v>
                </c:pt>
                <c:pt idx="41">
                  <c:v>0.307151232658935</c:v>
                </c:pt>
                <c:pt idx="42">
                  <c:v>0.25268325481035686</c:v>
                </c:pt>
                <c:pt idx="43">
                  <c:v>-0.006430352376367821</c:v>
                </c:pt>
                <c:pt idx="44">
                  <c:v>0.1644244525343139</c:v>
                </c:pt>
                <c:pt idx="45">
                  <c:v>0.16108437956872954</c:v>
                </c:pt>
                <c:pt idx="46">
                  <c:v>0.11510244965292898</c:v>
                </c:pt>
              </c:numCache>
            </c:numRef>
          </c:xVal>
          <c:yVal>
            <c:numRef>
              <c:f>Sheet1!$B$2:$B$48</c:f>
              <c:numCache>
                <c:formatCode>General</c:formatCode>
                <c:ptCount val="47"/>
                <c:pt idx="0">
                  <c:v>0.6935991605456453</c:v>
                </c:pt>
                <c:pt idx="1">
                  <c:v>10.246781115879829</c:v>
                </c:pt>
                <c:pt idx="2">
                  <c:v>1.5191489361702128</c:v>
                </c:pt>
                <c:pt idx="3">
                  <c:v>4.21025641025641</c:v>
                </c:pt>
                <c:pt idx="4">
                  <c:v>1.0761828388131516</c:v>
                </c:pt>
                <c:pt idx="5">
                  <c:v>4.34965034965035</c:v>
                </c:pt>
                <c:pt idx="6">
                  <c:v>1.5655471289274105</c:v>
                </c:pt>
                <c:pt idx="7">
                  <c:v>2.27027027027027</c:v>
                </c:pt>
                <c:pt idx="8">
                  <c:v>1.4726989079563182</c:v>
                </c:pt>
                <c:pt idx="9">
                  <c:v>5.82084690553746</c:v>
                </c:pt>
                <c:pt idx="10">
                  <c:v>2.1653846153846152</c:v>
                </c:pt>
                <c:pt idx="11">
                  <c:v>0.9925595238095238</c:v>
                </c:pt>
                <c:pt idx="12">
                  <c:v>2.798941798941799</c:v>
                </c:pt>
                <c:pt idx="13">
                  <c:v>1.7048192771084338</c:v>
                </c:pt>
                <c:pt idx="14">
                  <c:v>4.281914893617022</c:v>
                </c:pt>
                <c:pt idx="15">
                  <c:v>0.9713467048710601</c:v>
                </c:pt>
                <c:pt idx="16">
                  <c:v>2.1869158878504673</c:v>
                </c:pt>
                <c:pt idx="17">
                  <c:v>1.9116022099447514</c:v>
                </c:pt>
                <c:pt idx="18">
                  <c:v>2.4814814814814814</c:v>
                </c:pt>
                <c:pt idx="19">
                  <c:v>6.306451612903226</c:v>
                </c:pt>
                <c:pt idx="20">
                  <c:v>2.1283185840707963</c:v>
                </c:pt>
                <c:pt idx="21">
                  <c:v>1.6475349521707137</c:v>
                </c:pt>
                <c:pt idx="22">
                  <c:v>3.03125</c:v>
                </c:pt>
                <c:pt idx="23">
                  <c:v>4.117647058823529</c:v>
                </c:pt>
                <c:pt idx="24">
                  <c:v>4.6422018348623855</c:v>
                </c:pt>
                <c:pt idx="25">
                  <c:v>1.3909090909090909</c:v>
                </c:pt>
                <c:pt idx="26">
                  <c:v>2.3582089552238807</c:v>
                </c:pt>
                <c:pt idx="27">
                  <c:v>2.963636363636364</c:v>
                </c:pt>
                <c:pt idx="28">
                  <c:v>0.9483568075117371</c:v>
                </c:pt>
                <c:pt idx="29">
                  <c:v>4.416666666666667</c:v>
                </c:pt>
                <c:pt idx="30">
                  <c:v>1.3984063745019921</c:v>
                </c:pt>
                <c:pt idx="31">
                  <c:v>2.857142857142857</c:v>
                </c:pt>
                <c:pt idx="32">
                  <c:v>6.683333333333334</c:v>
                </c:pt>
                <c:pt idx="33">
                  <c:v>6.103448275862069</c:v>
                </c:pt>
                <c:pt idx="34">
                  <c:v>1.2035398230088497</c:v>
                </c:pt>
                <c:pt idx="35">
                  <c:v>1.9090909090909092</c:v>
                </c:pt>
                <c:pt idx="36">
                  <c:v>1.6111111111111112</c:v>
                </c:pt>
                <c:pt idx="37">
                  <c:v>3.0634920634920637</c:v>
                </c:pt>
                <c:pt idx="38">
                  <c:v>6.066666666666666</c:v>
                </c:pt>
                <c:pt idx="39">
                  <c:v>4.018518518518518</c:v>
                </c:pt>
                <c:pt idx="40">
                  <c:v>3.2222222222222223</c:v>
                </c:pt>
                <c:pt idx="41">
                  <c:v>5.666666666666667</c:v>
                </c:pt>
                <c:pt idx="42">
                  <c:v>1.521472392638037</c:v>
                </c:pt>
                <c:pt idx="43">
                  <c:v>1.1157894736842104</c:v>
                </c:pt>
                <c:pt idx="44">
                  <c:v>4.642857142857143</c:v>
                </c:pt>
                <c:pt idx="45">
                  <c:v>1.75</c:v>
                </c:pt>
                <c:pt idx="46">
                  <c:v>0.8518518518518519</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68581479190722"/>
          <c:min val="-0.15844036227052666"/>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2.296137339055795"/>
          <c:min val="0.554879328436516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MALARD GRAND CRU BLC DE NOIR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r>
                      <a:t>CHAMPAGNE CH DE BLIGNY BLC/BLC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r>
                      <a:t>CHAMPAGNE NICOLAS 1ERE CUVEE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dLbl>
              <c:idx val="50"/>
              <c:tx>
                <c:rich>
                  <a:bodyPr/>
                  <a:lstStyle/>
                  <a:p>
                    <a:r>
                      <a:t>1/2 CANARD DUCHENE CUVEE LEONI 1CT X 375ML</a:t>
                    </a:r>
                  </a:p>
                </c:rich>
              </c:tx>
              <c:dLblPos val="t"/>
              <c:showLegendKey val="0"/>
              <c:showVal val="1"/>
              <c:showCatName val="0"/>
              <c:showSerName val="0"/>
              <c:showPercent val="0"/>
              <c:showBubbleSize val="0"/>
            </c:dLbl>
            <c:dLbl>
              <c:idx val="51"/>
              <c:tx>
                <c:rich>
                  <a:bodyPr/>
                  <a:lstStyle/>
                  <a:p>
                    <a:r>
                      <a:t>MOET &amp; CHANDON RES IMP EB ETUI 1CT X 750ML</a:t>
                    </a:r>
                  </a:p>
                </c:rich>
              </c:tx>
              <c:dLblPos val="t"/>
              <c:showLegendKey val="0"/>
              <c:showVal val="1"/>
              <c:showCatName val="0"/>
              <c:showSerName val="0"/>
              <c:showPercent val="0"/>
              <c:showBubbleSize val="0"/>
            </c:dLbl>
            <c:dLbl>
              <c:idx val="52"/>
              <c:tx>
                <c:rich>
                  <a:bodyPr/>
                  <a:lstStyle/>
                  <a:p>
                    <a:r>
                      <a:t>MG CANARD DUCHENE CUV LEONIE E 1CT X 1500ML</a:t>
                    </a:r>
                  </a:p>
                </c:rich>
              </c:tx>
              <c:dLblPos val="t"/>
              <c:showLegendKey val="0"/>
              <c:showVal val="1"/>
              <c:showCatName val="0"/>
              <c:showSerName val="0"/>
              <c:showPercent val="0"/>
              <c:showBubbleSize val="0"/>
            </c:dLbl>
            <c:dLbl>
              <c:idx val="53"/>
              <c:tx>
                <c:rich>
                  <a:bodyPr/>
                  <a:lstStyle/>
                  <a:p>
                    <a:r>
                      <a:t>VRANKEN BRUT NATURE 1CT X 750ML</a:t>
                    </a:r>
                  </a:p>
                </c:rich>
              </c:tx>
              <c:dLblPos val="t"/>
              <c:showLegendKey val="0"/>
              <c:showVal val="1"/>
              <c:showCatName val="0"/>
              <c:showSerName val="0"/>
              <c:showPercent val="0"/>
              <c:showBubbleSize val="0"/>
            </c:dLbl>
            <c:dLbl>
              <c:idx val="54"/>
              <c:tx>
                <c:rich>
                  <a:bodyPr/>
                  <a:lstStyle/>
                  <a:p>
                    <a:r>
                      <a:t>DE VENOGE PRINCES BLC DE BLCS 1CT X 750ML</a:t>
                    </a:r>
                  </a:p>
                </c:rich>
              </c:tx>
              <c:dLblPos val="t"/>
              <c:showLegendKey val="0"/>
              <c:showVal val="1"/>
              <c:showCatName val="0"/>
              <c:showSerName val="0"/>
              <c:showPercent val="0"/>
              <c:showBubbleSize val="0"/>
            </c:dLbl>
            <c:dLbl>
              <c:idx val="55"/>
              <c:tx>
                <c:rich>
                  <a:bodyPr/>
                  <a:lstStyle/>
                  <a:p>
                    <a:r>
                      <a:t>DOM PERIGNON 2013 1CT X 750ML</a:t>
                    </a:r>
                  </a:p>
                </c:rich>
              </c:tx>
              <c:dLblPos val="t"/>
              <c:showLegendKey val="0"/>
              <c:showVal val="1"/>
              <c:showCatName val="0"/>
              <c:showSerName val="0"/>
              <c:showPercent val="0"/>
              <c:showBubbleSize val="0"/>
            </c:dLbl>
            <c:dLbl>
              <c:idx val="56"/>
              <c:tx>
                <c:rich>
                  <a:bodyPr/>
                  <a:lstStyle/>
                  <a:p>
                    <a:r>
                      <a:t>LOUIS MARTIN BRUT PREMIER CRU 1CT X 750ML</a:t>
                    </a:r>
                  </a:p>
                </c:rich>
              </c:tx>
              <c:dLblPos val="t"/>
              <c:showLegendKey val="0"/>
              <c:showVal val="1"/>
              <c:showCatName val="0"/>
              <c:showSerName val="0"/>
              <c:showPercent val="0"/>
              <c:showBubbleSize val="0"/>
            </c:dLbl>
            <c:dLbl>
              <c:idx val="57"/>
              <c:tx>
                <c:rich>
                  <a:bodyPr/>
                  <a:lstStyle/>
                  <a:p>
                    <a:r>
                      <a:t>CHAMPAGNE CH DE BLIGNY 6CEPAGE 1CT X 750ML</a:t>
                    </a:r>
                  </a:p>
                </c:rich>
              </c:tx>
              <c:dLblPos val="t"/>
              <c:showLegendKey val="0"/>
              <c:showVal val="1"/>
              <c:showCatName val="0"/>
              <c:showSerName val="0"/>
              <c:showPercent val="0"/>
              <c:showBubbleSize val="0"/>
            </c:dLbl>
            <c:dLbl>
              <c:idx val="58"/>
              <c:tx>
                <c:rich>
                  <a:bodyPr/>
                  <a:lstStyle/>
                  <a:p>
                    <a:r>
                      <a:t>MALARD ROSE 1ER CRU 1CT X 750ML</a:t>
                    </a:r>
                  </a:p>
                </c:rich>
              </c:tx>
              <c:dLblPos val="t"/>
              <c:showLegendKey val="0"/>
              <c:showVal val="1"/>
              <c:showCatName val="0"/>
              <c:showSerName val="0"/>
              <c:showPercent val="0"/>
              <c:showBubbleSize val="0"/>
            </c:dLbl>
            <c:dLbl>
              <c:idx val="59"/>
              <c:tx>
                <c:rich>
                  <a:bodyPr/>
                  <a:lstStyle/>
                  <a:p>
                    <a:r>
                      <a:t>RUINART BRUT (NUE) 2015 1CT X 750ML</a:t>
                    </a:r>
                  </a:p>
                </c:rich>
              </c:tx>
              <c:dLblPos val="t"/>
              <c:showLegendKey val="0"/>
              <c:showVal val="1"/>
              <c:showCatName val="0"/>
              <c:showSerName val="0"/>
              <c:showPercent val="0"/>
              <c:showBubbleSize val="0"/>
            </c:dLbl>
            <c:dLbl>
              <c:idx val="60"/>
              <c:tx>
                <c:rich>
                  <a:bodyPr/>
                  <a:lstStyle/>
                  <a:p>
                    <a:r>
                      <a:t>1/2 HENRIOT BRUT 1CT X 375ML</a:t>
                    </a:r>
                  </a:p>
                </c:rich>
              </c:tx>
              <c:dLblPos val="t"/>
              <c:showLegendKey val="0"/>
              <c:showVal val="1"/>
              <c:showCatName val="0"/>
              <c:showSerName val="0"/>
              <c:showPercent val="0"/>
              <c:showBubbleSize val="0"/>
            </c:dLbl>
            <c:dLbl>
              <c:idx val="61"/>
              <c:tx>
                <c:rich>
                  <a:bodyPr/>
                  <a:lstStyle/>
                  <a:p>
                    <a:r>
                      <a:t>MOET &amp; CHANDON RES IMP EX BRUT 1CT X 750ML</a:t>
                    </a:r>
                  </a:p>
                </c:rich>
              </c:tx>
              <c:dLblPos val="t"/>
              <c:showLegendKey val="0"/>
              <c:showVal val="1"/>
              <c:showCatName val="0"/>
              <c:showSerName val="0"/>
              <c:showPercent val="0"/>
              <c:showBubbleSize val="0"/>
            </c:dLbl>
            <c:dLbl>
              <c:idx val="62"/>
              <c:tx>
                <c:rich>
                  <a:bodyPr/>
                  <a:lstStyle/>
                  <a:p>
                    <a:r>
                      <a:t>PROSECCO SAVIAN EXTRA DRY ITA 1CT X 750ML</a:t>
                    </a:r>
                  </a:p>
                </c:rich>
              </c:tx>
              <c:dLblPos val="t"/>
              <c:showLegendKey val="0"/>
              <c:showVal val="1"/>
              <c:showCatName val="0"/>
              <c:showSerName val="0"/>
              <c:showPercent val="0"/>
              <c:showBubbleSize val="0"/>
            </c:dLbl>
            <c:dLbl>
              <c:idx val="63"/>
              <c:tx>
                <c:rich>
                  <a:bodyPr/>
                  <a:lstStyle/>
                  <a:p>
                    <a:r>
                      <a:t>PROSECCO VINO DEI POETI ITA 1CT X 750ML</a:t>
                    </a:r>
                  </a:p>
                </c:rich>
              </c:tx>
              <c:dLblPos val="t"/>
              <c:showLegendKey val="0"/>
              <c:showVal val="1"/>
              <c:showCatName val="0"/>
              <c:showSerName val="0"/>
              <c:showPercent val="0"/>
              <c:showBubbleSize val="0"/>
            </c:dLbl>
            <c:dLbl>
              <c:idx val="64"/>
              <c:tx>
                <c:rich>
                  <a:bodyPr/>
                  <a:lstStyle/>
                  <a:p>
                    <a:r>
                      <a:t>MG DE VENOGE CORDON BLEU BRUT 1CT X 1500ML</a:t>
                    </a:r>
                  </a:p>
                </c:rich>
              </c:tx>
              <c:dLblPos val="t"/>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6</c:f>
              <c:numCache>
                <c:formatCode>General</c:formatCode>
                <c:ptCount val="65"/>
                <c:pt idx="0">
                  <c:v>0.09301642038810021</c:v>
                </c:pt>
                <c:pt idx="1">
                  <c:v>0.2521180593154589</c:v>
                </c:pt>
                <c:pt idx="2">
                  <c:v>0.11622807428243577</c:v>
                </c:pt>
                <c:pt idx="3">
                  <c:v>0.1538637901322891</c:v>
                </c:pt>
                <c:pt idx="4">
                  <c:v>0.10070433914400502</c:v>
                </c:pt>
                <c:pt idx="5">
                  <c:v>0.21853902167819494</c:v>
                </c:pt>
                <c:pt idx="6">
                  <c:v>0.18904719186622906</c:v>
                </c:pt>
                <c:pt idx="7">
                  <c:v>0.10206653718848378</c:v>
                </c:pt>
                <c:pt idx="8">
                  <c:v>0.12227970160656604</c:v>
                </c:pt>
                <c:pt idx="9">
                  <c:v>0.16239299431890056</c:v>
                </c:pt>
                <c:pt idx="10">
                  <c:v>0.10310279149361766</c:v>
                </c:pt>
                <c:pt idx="11">
                  <c:v>0.09965083531345513</c:v>
                </c:pt>
                <c:pt idx="12">
                  <c:v>0.09530705098342558</c:v>
                </c:pt>
                <c:pt idx="13">
                  <c:v>0.10680915773058335</c:v>
                </c:pt>
                <c:pt idx="14">
                  <c:v>0.10534239133317849</c:v>
                </c:pt>
                <c:pt idx="15">
                  <c:v>0.1368212693021829</c:v>
                </c:pt>
                <c:pt idx="16">
                  <c:v>0.11404711856767898</c:v>
                </c:pt>
                <c:pt idx="17">
                  <c:v>0.10456583829784273</c:v>
                </c:pt>
                <c:pt idx="18">
                  <c:v>0.10930939674764284</c:v>
                </c:pt>
                <c:pt idx="19">
                  <c:v>0.09536312028652028</c:v>
                </c:pt>
                <c:pt idx="20">
                  <c:v>0.0958303931155163</c:v>
                </c:pt>
                <c:pt idx="21">
                  <c:v>0.09891707962826524</c:v>
                </c:pt>
                <c:pt idx="22">
                  <c:v>0.08848020785479295</c:v>
                </c:pt>
                <c:pt idx="23">
                  <c:v>0.1127237699086889</c:v>
                </c:pt>
                <c:pt idx="24">
                  <c:v>0.11413349698355041</c:v>
                </c:pt>
                <c:pt idx="25">
                  <c:v>0.12490979072476256</c:v>
                </c:pt>
                <c:pt idx="26">
                  <c:v>0.15893228285359448</c:v>
                </c:pt>
                <c:pt idx="27">
                  <c:v>0.12311045144985218</c:v>
                </c:pt>
                <c:pt idx="28">
                  <c:v>0.182743112912719</c:v>
                </c:pt>
                <c:pt idx="29">
                  <c:v>0.24887436965112658</c:v>
                </c:pt>
                <c:pt idx="30">
                  <c:v>0.0496979273258506</c:v>
                </c:pt>
                <c:pt idx="31">
                  <c:v>0.108400737687051</c:v>
                </c:pt>
                <c:pt idx="32">
                  <c:v>0.15595512803389175</c:v>
                </c:pt>
                <c:pt idx="33">
                  <c:v>0.09278670443140612</c:v>
                </c:pt>
                <c:pt idx="34">
                  <c:v>0.1000793156662509</c:v>
                </c:pt>
                <c:pt idx="35">
                  <c:v>0.18463991496173318</c:v>
                </c:pt>
                <c:pt idx="36">
                  <c:v>0.08981040952987995</c:v>
                </c:pt>
                <c:pt idx="37">
                  <c:v>0.20928952361168252</c:v>
                </c:pt>
                <c:pt idx="38">
                  <c:v>0.17113935614739267</c:v>
                </c:pt>
                <c:pt idx="39">
                  <c:v>0.08805396514068944</c:v>
                </c:pt>
                <c:pt idx="40">
                  <c:v>0.14140975973818332</c:v>
                </c:pt>
                <c:pt idx="41">
                  <c:v>0.09960626852286444</c:v>
                </c:pt>
                <c:pt idx="42">
                  <c:v>0.11792198120039031</c:v>
                </c:pt>
                <c:pt idx="43">
                  <c:v>0.08391230310585807</c:v>
                </c:pt>
                <c:pt idx="44">
                  <c:v>0.13502218572178257</c:v>
                </c:pt>
                <c:pt idx="45">
                  <c:v>0.09284471527602568</c:v>
                </c:pt>
                <c:pt idx="46">
                  <c:v>-0.1270067445616035</c:v>
                </c:pt>
                <c:pt idx="47">
                  <c:v>0.15568010479944105</c:v>
                </c:pt>
                <c:pt idx="48">
                  <c:v>0.16537061298069486</c:v>
                </c:pt>
                <c:pt idx="49">
                  <c:v>0.24750367628973322</c:v>
                </c:pt>
                <c:pt idx="50">
                  <c:v>0.1909649780331952</c:v>
                </c:pt>
                <c:pt idx="51">
                  <c:v>0.02358549456620288</c:v>
                </c:pt>
                <c:pt idx="52">
                  <c:v>0.1360766677559952</c:v>
                </c:pt>
                <c:pt idx="53">
                  <c:v>0.11112981866965058</c:v>
                </c:pt>
                <c:pt idx="54">
                  <c:v>0.14728260918229996</c:v>
                </c:pt>
                <c:pt idx="55">
                  <c:v>0.1459860646441159</c:v>
                </c:pt>
                <c:pt idx="56">
                  <c:v>0.09416048206796025</c:v>
                </c:pt>
                <c:pt idx="57">
                  <c:v>0.16733663062325813</c:v>
                </c:pt>
                <c:pt idx="58">
                  <c:v>0.09401848632945403</c:v>
                </c:pt>
                <c:pt idx="59">
                  <c:v>0.1755059363602014</c:v>
                </c:pt>
                <c:pt idx="60">
                  <c:v>0.14768750909806047</c:v>
                </c:pt>
                <c:pt idx="61">
                  <c:v>0.08432137686614598</c:v>
                </c:pt>
                <c:pt idx="62">
                  <c:v>0.17199367480231842</c:v>
                </c:pt>
                <c:pt idx="63">
                  <c:v>0.09986491824849678</c:v>
                </c:pt>
                <c:pt idx="64">
                  <c:v>0.12372807241024059</c:v>
                </c:pt>
              </c:numCache>
            </c:numRef>
          </c:xVal>
          <c:yVal>
            <c:numRef>
              <c:f>Sheet1!$B$2:$B$66</c:f>
              <c:numCache>
                <c:formatCode>General</c:formatCode>
                <c:ptCount val="65"/>
                <c:pt idx="0">
                  <c:v>0.5064745196324144</c:v>
                </c:pt>
                <c:pt idx="1">
                  <c:v>6.664952870608397</c:v>
                </c:pt>
                <c:pt idx="2">
                  <c:v>0.5464343040587021</c:v>
                </c:pt>
                <c:pt idx="3">
                  <c:v>1.2150537634408602</c:v>
                </c:pt>
                <c:pt idx="4">
                  <c:v>0.9421397379912664</c:v>
                </c:pt>
                <c:pt idx="5">
                  <c:v>4.88504326328801</c:v>
                </c:pt>
                <c:pt idx="6">
                  <c:v>2.4312210200927358</c:v>
                </c:pt>
                <c:pt idx="7">
                  <c:v>1.8111353711790392</c:v>
                </c:pt>
                <c:pt idx="8">
                  <c:v>2.263215859030837</c:v>
                </c:pt>
                <c:pt idx="9">
                  <c:v>2.888888888888889</c:v>
                </c:pt>
                <c:pt idx="10">
                  <c:v>1.8855534709193247</c:v>
                </c:pt>
                <c:pt idx="11">
                  <c:v>1.1092057761732852</c:v>
                </c:pt>
                <c:pt idx="12">
                  <c:v>0.9789325842696629</c:v>
                </c:pt>
                <c:pt idx="13">
                  <c:v>2.0798771121351765</c:v>
                </c:pt>
                <c:pt idx="14">
                  <c:v>2.4932038834951458</c:v>
                </c:pt>
                <c:pt idx="15">
                  <c:v>2.483375959079284</c:v>
                </c:pt>
                <c:pt idx="16">
                  <c:v>2.9186991869918697</c:v>
                </c:pt>
                <c:pt idx="17">
                  <c:v>1.4982698961937717</c:v>
                </c:pt>
                <c:pt idx="18">
                  <c:v>1.2581818181818183</c:v>
                </c:pt>
                <c:pt idx="19">
                  <c:v>2.2287581699346406</c:v>
                </c:pt>
                <c:pt idx="20">
                  <c:v>1.0521541950113378</c:v>
                </c:pt>
                <c:pt idx="21">
                  <c:v>2.520661157024793</c:v>
                </c:pt>
                <c:pt idx="22">
                  <c:v>2.834224598930481</c:v>
                </c:pt>
                <c:pt idx="23">
                  <c:v>2.538152610441767</c:v>
                </c:pt>
                <c:pt idx="24">
                  <c:v>2.6510416666666665</c:v>
                </c:pt>
                <c:pt idx="25">
                  <c:v>3.871165644171779</c:v>
                </c:pt>
                <c:pt idx="26">
                  <c:v>2.4367338709677417</c:v>
                </c:pt>
                <c:pt idx="27">
                  <c:v>3.810945273631841</c:v>
                </c:pt>
                <c:pt idx="28">
                  <c:v>1.090218423551757</c:v>
                </c:pt>
                <c:pt idx="29">
                  <c:v>1.8103254769921437</c:v>
                </c:pt>
                <c:pt idx="30">
                  <c:v>4.36</c:v>
                </c:pt>
                <c:pt idx="31">
                  <c:v>1.4911660777385158</c:v>
                </c:pt>
                <c:pt idx="32">
                  <c:v>2.2139303482587063</c:v>
                </c:pt>
                <c:pt idx="33">
                  <c:v>0.8100263852242744</c:v>
                </c:pt>
                <c:pt idx="34">
                  <c:v>5.768421052631579</c:v>
                </c:pt>
                <c:pt idx="35">
                  <c:v>3.3372093023255816</c:v>
                </c:pt>
                <c:pt idx="36">
                  <c:v>1.2927835051546392</c:v>
                </c:pt>
                <c:pt idx="37">
                  <c:v>4.846846846846847</c:v>
                </c:pt>
                <c:pt idx="38">
                  <c:v>4.134615384615385</c:v>
                </c:pt>
                <c:pt idx="39">
                  <c:v>2.1973684210526314</c:v>
                </c:pt>
                <c:pt idx="40">
                  <c:v>1.4536928487690504</c:v>
                </c:pt>
                <c:pt idx="41">
                  <c:v>2.7777777777777777</c:v>
                </c:pt>
                <c:pt idx="42">
                  <c:v>2.052023121387283</c:v>
                </c:pt>
                <c:pt idx="43">
                  <c:v>1.3831168831168832</c:v>
                </c:pt>
                <c:pt idx="44">
                  <c:v>1.8159203980099503</c:v>
                </c:pt>
                <c:pt idx="45">
                  <c:v>0.9815950920245399</c:v>
                </c:pt>
                <c:pt idx="46">
                  <c:v>7.375</c:v>
                </c:pt>
                <c:pt idx="47">
                  <c:v>3.0549450549450547</c:v>
                </c:pt>
                <c:pt idx="48">
                  <c:v>4.066666666666666</c:v>
                </c:pt>
                <c:pt idx="49">
                  <c:v>10.73913043478261</c:v>
                </c:pt>
                <c:pt idx="50">
                  <c:v>1.7793103448275862</c:v>
                </c:pt>
                <c:pt idx="51">
                  <c:v>0.9032258064516129</c:v>
                </c:pt>
                <c:pt idx="52">
                  <c:v>3.2962962962962963</c:v>
                </c:pt>
                <c:pt idx="53">
                  <c:v>1.4172185430463575</c:v>
                </c:pt>
                <c:pt idx="54">
                  <c:v>1.2588235294117647</c:v>
                </c:pt>
                <c:pt idx="55">
                  <c:v>2.5714285714285716</c:v>
                </c:pt>
                <c:pt idx="56">
                  <c:v>1.929078014184397</c:v>
                </c:pt>
                <c:pt idx="57">
                  <c:v>1.75</c:v>
                </c:pt>
                <c:pt idx="58">
                  <c:v>0.9886363636363636</c:v>
                </c:pt>
                <c:pt idx="59">
                  <c:v>6.764705882352941</c:v>
                </c:pt>
                <c:pt idx="60">
                  <c:v>1.256198347107438</c:v>
                </c:pt>
                <c:pt idx="61">
                  <c:v>3.303030303030303</c:v>
                </c:pt>
                <c:pt idx="62">
                  <c:v>0.956738768718802</c:v>
                </c:pt>
                <c:pt idx="63">
                  <c:v>0.6563706563706564</c:v>
                </c:pt>
                <c:pt idx="64">
                  <c:v>1.924050632911392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0254167117855063"/>
          <c:min val="-0.1016053956492828"/>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2.886956521739132"/>
          <c:min val="0.4051796157059315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CREMANT BOURG PATRIARCH ROS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CREMANT LOIRE NATURE 2015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321D5B49-930A-4BDB-9F73-2AB7966685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EBE4F524-D332-41BD-8308-FE6DB01F56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0F7A12BE-641D-4BFB-A807-39B7DC1863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8FA2C4C-3FC6-45C6-8284-051428E639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F420E54B-7EC6-4ABC-8E58-1C93FF88FB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97E6E04-96DF-4219-8BC4-61112E545E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15C62D37-37C8-47BA-AA4E-42783DF261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83AA0ECC-9E6E-4703-9EDF-082BF2D01E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78590874-E445-4790-B9BA-3023E224DA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AE3860D2-C91C-4CFA-871C-03CD8C0ADA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A393A0A6-2A02-48AE-A5E5-FD6D067DEF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A5F8403A-3C9F-4F7A-BC42-E7F78841C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D6FA367-D9D9-4E1D-9640-16B615F5B1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D225BCEC-E9C7-4E9A-B5D1-80355F3552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A08B138-FF17-4037-96D8-15F7188697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F88140ED-2113-49E5-BEFA-A323DEC0D6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63D0E82-E1E3-4E32-A7AD-453C27136F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C62C16DC-2556-45A9-8C69-BFD9E376DD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1786D5B-028D-46EB-9B5A-197342F8C8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E38DFC2-4D23-4E74-8A63-B5FAA9A976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36D34D60-341A-4421-A67C-1852D053FE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DA46038D-D448-41A6-A0AD-6C7AE7F6AD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96E34E53-402F-4755-8D23-278B34B3864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B2246B0-909F-4C69-9C3A-578BE5BB52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9D4AEAD-27E8-4C31-B2BB-646DAC9155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01A217E0-BCC1-4B26-AAC7-E8E42984A0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4B6C8864-D4C6-4EAF-A42E-1DDD14CFAD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5DD58642-01C1-42D8-8D76-A25F6DA077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634FEC7C-6C7F-4558-8141-B98C213362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0F0021B6-1BFC-4FD8-85F2-42646F496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CDEABC4-2499-4F24-A648-FEE9C42939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58AAA00B-14EB-4730-AA2B-6299D47F23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B65B412-07DA-4E35-91DC-DBA9636388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B4F837B-CB88-4D8D-A72A-2E2BA709DA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2FA0FF34-265E-442C-82C8-C07766A713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0CF50810-69B6-421E-B197-DC3A97D0B6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F4CE11D0-6909-43F3-A1E0-0898005F09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4F536F6B-9E4C-455F-A702-82D337CFD5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FE1D979C-52DB-4BB6-B34A-5CFCC9882E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EF98A248-6D66-4948-A261-BCD7031287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38F1F863-307F-49B3-A60B-7937581275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0969734627652076</c:v>
                </c:pt>
                <c:pt idx="1">
                  <c:v>0.24102890459377596</c:v>
                </c:pt>
                <c:pt idx="2">
                  <c:v>0.13970874913601927</c:v>
                </c:pt>
                <c:pt idx="3">
                  <c:v>0.09712188891799889</c:v>
                </c:pt>
                <c:pt idx="4">
                  <c:v>0.17116251564557367</c:v>
                </c:pt>
                <c:pt idx="5">
                  <c:v>0.22570868758705745</c:v>
                </c:pt>
                <c:pt idx="6">
                  <c:v>0.1781585117485478</c:v>
                </c:pt>
              </c:numCache>
            </c:numRef>
          </c:xVal>
          <c:yVal>
            <c:numRef>
              <c:f>Sheet1!$B$2:$B$8</c:f>
              <c:numCache>
                <c:formatCode>General</c:formatCode>
                <c:ptCount val="7"/>
                <c:pt idx="0">
                  <c:v>1.0237999193223073</c:v>
                </c:pt>
                <c:pt idx="1">
                  <c:v>1.8888888888888888</c:v>
                </c:pt>
                <c:pt idx="2">
                  <c:v>1.1619348054679286</c:v>
                </c:pt>
                <c:pt idx="3">
                  <c:v>0.6377952755905512</c:v>
                </c:pt>
                <c:pt idx="4">
                  <c:v>1.1947040498442367</c:v>
                </c:pt>
                <c:pt idx="5">
                  <c:v>1.6023738872403561</c:v>
                </c:pt>
                <c:pt idx="6">
                  <c:v>3.942857142857143</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892346855125311"/>
          <c:min val="0.07769751113439911"/>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731428571428571"/>
          <c:min val="0.51023622047244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MALARD GRAND CRU BLC DE NOIR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MOET &amp; CHANDON RES IMP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r>
                      <a:t>MG ROEDERER BRUT COLLECT 244 1CT X 150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dLbl>
              <c:idx val="50"/>
              <c:tx>
                <c:rich>
                  <a:bodyPr/>
                  <a:lstStyle/>
                  <a:p>
                    <a:r>
                      <a:t>VRANKEN BRUT NATURE 1CT X 750ML</a:t>
                    </a:r>
                  </a:p>
                </c:rich>
              </c:tx>
              <c:dLblPos val="t"/>
              <c:showLegendKey val="0"/>
              <c:showVal val="1"/>
              <c:showCatName val="0"/>
              <c:showSerName val="0"/>
              <c:showPercent val="0"/>
              <c:showBubbleSize val="0"/>
            </c:dLbl>
            <c:dLbl>
              <c:idx val="51"/>
              <c:tx>
                <c:rich>
                  <a:bodyPr/>
                  <a:lstStyle/>
                  <a:p>
                    <a:r>
                      <a:t>1/2 HENRIOT BRUT 1CT X 375ML</a:t>
                    </a:r>
                  </a:p>
                </c:rich>
              </c:tx>
              <c:dLblPos val="t"/>
              <c:showLegendKey val="0"/>
              <c:showVal val="1"/>
              <c:showCatName val="0"/>
              <c:showSerName val="0"/>
              <c:showPercent val="0"/>
              <c:showBubbleSize val="0"/>
            </c:dLbl>
            <c:dLbl>
              <c:idx val="52"/>
              <c:tx>
                <c:rich>
                  <a:bodyPr/>
                  <a:lstStyle/>
                  <a:p>
                    <a:r>
                      <a:t>ROEDERER CRISTAL BRUT 2016 1CT X 750ML</a:t>
                    </a:r>
                  </a:p>
                </c:rich>
              </c:tx>
              <c:dLblPos val="t"/>
              <c:showLegendKey val="0"/>
              <c:showVal val="1"/>
              <c:showCatName val="0"/>
              <c:showSerName val="0"/>
              <c:showPercent val="0"/>
              <c:showBubbleSize val="0"/>
            </c:dLbl>
            <c:dLbl>
              <c:idx val="53"/>
              <c:tx>
                <c:rich>
                  <a:bodyPr/>
                  <a:lstStyle/>
                  <a:p>
                    <a:r>
                      <a:t>1/2 CANARD DUCHENE CUVEE LEONI 1CT X 375ML</a:t>
                    </a:r>
                  </a:p>
                </c:rich>
              </c:tx>
              <c:dLblPos val="t"/>
              <c:showLegendKey val="0"/>
              <c:showVal val="1"/>
              <c:showCatName val="0"/>
              <c:showSerName val="0"/>
              <c:showPercent val="0"/>
              <c:showBubbleSize val="0"/>
            </c:dLbl>
            <c:dLbl>
              <c:idx val="54"/>
              <c:tx>
                <c:rich>
                  <a:bodyPr/>
                  <a:lstStyle/>
                  <a:p>
                    <a:r>
                      <a:t>NICOLAS FEUILLATTE RES EX ROSE 1CT X 750ML</a:t>
                    </a:r>
                  </a:p>
                </c:rich>
              </c:tx>
              <c:dLblPos val="t"/>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6</c:f>
              <c:numCache>
                <c:formatCode>General</c:formatCode>
                <c:ptCount val="55"/>
                <c:pt idx="0">
                  <c:v>0.09483960839161133</c:v>
                </c:pt>
                <c:pt idx="1">
                  <c:v>0.25724534681256744</c:v>
                </c:pt>
                <c:pt idx="2">
                  <c:v>0.11905930681636206</c:v>
                </c:pt>
                <c:pt idx="3">
                  <c:v>0.16250405793974218</c:v>
                </c:pt>
                <c:pt idx="4">
                  <c:v>0.18690992141694293</c:v>
                </c:pt>
                <c:pt idx="5">
                  <c:v>0.10770253755850154</c:v>
                </c:pt>
                <c:pt idx="6">
                  <c:v>0.10618023549458525</c:v>
                </c:pt>
                <c:pt idx="7">
                  <c:v>0.10095934328013345</c:v>
                </c:pt>
                <c:pt idx="8">
                  <c:v>0.15310746511665574</c:v>
                </c:pt>
                <c:pt idx="9">
                  <c:v>0.21456658431692324</c:v>
                </c:pt>
                <c:pt idx="10">
                  <c:v>0.10662801400399713</c:v>
                </c:pt>
                <c:pt idx="11">
                  <c:v>0.10235179489406282</c:v>
                </c:pt>
                <c:pt idx="12">
                  <c:v>0.1143615348802493</c:v>
                </c:pt>
                <c:pt idx="13">
                  <c:v>0.1392345444275087</c:v>
                </c:pt>
                <c:pt idx="14">
                  <c:v>0.09871111413678577</c:v>
                </c:pt>
                <c:pt idx="15">
                  <c:v>0.10409651934892705</c:v>
                </c:pt>
                <c:pt idx="16">
                  <c:v>0.11128638080455397</c:v>
                </c:pt>
                <c:pt idx="17">
                  <c:v>0.08382895342772574</c:v>
                </c:pt>
                <c:pt idx="18">
                  <c:v>0.10315682556546454</c:v>
                </c:pt>
                <c:pt idx="19">
                  <c:v>0.09261889909824961</c:v>
                </c:pt>
                <c:pt idx="20">
                  <c:v>0.10289639745213477</c:v>
                </c:pt>
                <c:pt idx="21">
                  <c:v>0.14528514197494713</c:v>
                </c:pt>
                <c:pt idx="22">
                  <c:v>0.10972655180040795</c:v>
                </c:pt>
                <c:pt idx="23">
                  <c:v>0.11751791958406568</c:v>
                </c:pt>
                <c:pt idx="24">
                  <c:v>0.1650911294276004</c:v>
                </c:pt>
                <c:pt idx="25">
                  <c:v>0.10314764799319467</c:v>
                </c:pt>
                <c:pt idx="26">
                  <c:v>0.16795670498149987</c:v>
                </c:pt>
                <c:pt idx="27">
                  <c:v>0.14446594274962238</c:v>
                </c:pt>
                <c:pt idx="28">
                  <c:v>0.1286527549165437</c:v>
                </c:pt>
                <c:pt idx="29">
                  <c:v>0.11651200473570307</c:v>
                </c:pt>
                <c:pt idx="30">
                  <c:v>0.11338640130153299</c:v>
                </c:pt>
                <c:pt idx="31">
                  <c:v>0.10260805853140467</c:v>
                </c:pt>
                <c:pt idx="32">
                  <c:v>0.16853873799405036</c:v>
                </c:pt>
                <c:pt idx="33">
                  <c:v>0.11094627375095774</c:v>
                </c:pt>
                <c:pt idx="34">
                  <c:v>0.19622462890341535</c:v>
                </c:pt>
                <c:pt idx="35">
                  <c:v>0.10248996034087346</c:v>
                </c:pt>
                <c:pt idx="36">
                  <c:v>0.12227023268514181</c:v>
                </c:pt>
                <c:pt idx="37">
                  <c:v>0.24278399908011322</c:v>
                </c:pt>
                <c:pt idx="38">
                  <c:v>0.09352196450828408</c:v>
                </c:pt>
                <c:pt idx="39">
                  <c:v>0.10320348053502904</c:v>
                </c:pt>
                <c:pt idx="40">
                  <c:v>0.1068940111341252</c:v>
                </c:pt>
                <c:pt idx="41">
                  <c:v>0.12529673925335078</c:v>
                </c:pt>
                <c:pt idx="42">
                  <c:v>0.09578963717579402</c:v>
                </c:pt>
                <c:pt idx="43">
                  <c:v>0.024010174533953054</c:v>
                </c:pt>
                <c:pt idx="44">
                  <c:v>0.06988502361740469</c:v>
                </c:pt>
                <c:pt idx="45">
                  <c:v>0.07357660434012891</c:v>
                </c:pt>
                <c:pt idx="46">
                  <c:v>0.12629367710226094</c:v>
                </c:pt>
                <c:pt idx="47">
                  <c:v>0.14870699283496033</c:v>
                </c:pt>
                <c:pt idx="48">
                  <c:v>0.032724239259147705</c:v>
                </c:pt>
                <c:pt idx="49">
                  <c:v>-0.0320505630262983</c:v>
                </c:pt>
                <c:pt idx="50">
                  <c:v>0.12986311223902633</c:v>
                </c:pt>
                <c:pt idx="51">
                  <c:v>0.12974911347240586</c:v>
                </c:pt>
                <c:pt idx="52">
                  <c:v>0.17140683411869853</c:v>
                </c:pt>
                <c:pt idx="53">
                  <c:v>0.16223406381038755</c:v>
                </c:pt>
                <c:pt idx="54">
                  <c:v>0.10181121850877364</c:v>
                </c:pt>
              </c:numCache>
            </c:numRef>
          </c:xVal>
          <c:yVal>
            <c:numRef>
              <c:f>Sheet1!$B$2:$B$56</c:f>
              <c:numCache>
                <c:formatCode>General</c:formatCode>
                <c:ptCount val="55"/>
                <c:pt idx="0">
                  <c:v>0.3394495412844037</c:v>
                </c:pt>
                <c:pt idx="1">
                  <c:v>13.66564417177914</c:v>
                </c:pt>
                <c:pt idx="2">
                  <c:v>0.9849424269264836</c:v>
                </c:pt>
                <c:pt idx="3">
                  <c:v>3.567260940032415</c:v>
                </c:pt>
                <c:pt idx="4">
                  <c:v>3.516297262059974</c:v>
                </c:pt>
                <c:pt idx="5">
                  <c:v>1.4242424242424243</c:v>
                </c:pt>
                <c:pt idx="6">
                  <c:v>1.0608397600685517</c:v>
                </c:pt>
                <c:pt idx="7">
                  <c:v>0.8042394014962594</c:v>
                </c:pt>
                <c:pt idx="8">
                  <c:v>1.3088467614533965</c:v>
                </c:pt>
                <c:pt idx="9">
                  <c:v>6.081005586592179</c:v>
                </c:pt>
                <c:pt idx="10">
                  <c:v>1.3302752293577982</c:v>
                </c:pt>
                <c:pt idx="11">
                  <c:v>0.9329742669060442</c:v>
                </c:pt>
                <c:pt idx="12">
                  <c:v>2.3033980582524274</c:v>
                </c:pt>
                <c:pt idx="13">
                  <c:v>2.3</c:v>
                </c:pt>
                <c:pt idx="14">
                  <c:v>2.1551724137931036</c:v>
                </c:pt>
                <c:pt idx="15">
                  <c:v>1.3827956989247312</c:v>
                </c:pt>
                <c:pt idx="16">
                  <c:v>2.364485981308411</c:v>
                </c:pt>
                <c:pt idx="17">
                  <c:v>1.6080402010050252</c:v>
                </c:pt>
                <c:pt idx="18">
                  <c:v>4.074561403508772</c:v>
                </c:pt>
                <c:pt idx="19">
                  <c:v>0.5807174887892377</c:v>
                </c:pt>
                <c:pt idx="20">
                  <c:v>3.37</c:v>
                </c:pt>
                <c:pt idx="21">
                  <c:v>3.4424242424242424</c:v>
                </c:pt>
                <c:pt idx="22">
                  <c:v>2.707317073170732</c:v>
                </c:pt>
                <c:pt idx="23">
                  <c:v>1.1303030303030304</c:v>
                </c:pt>
                <c:pt idx="24">
                  <c:v>4.613636363636363</c:v>
                </c:pt>
                <c:pt idx="25">
                  <c:v>1.8087431693989071</c:v>
                </c:pt>
                <c:pt idx="26">
                  <c:v>2.923076923076923</c:v>
                </c:pt>
                <c:pt idx="27">
                  <c:v>2.8551724137931034</c:v>
                </c:pt>
                <c:pt idx="28">
                  <c:v>2.4457831325301207</c:v>
                </c:pt>
                <c:pt idx="29">
                  <c:v>1.3769633507853403</c:v>
                </c:pt>
                <c:pt idx="30">
                  <c:v>0.9660377358490566</c:v>
                </c:pt>
                <c:pt idx="31">
                  <c:v>2.184</c:v>
                </c:pt>
                <c:pt idx="32">
                  <c:v>3.088</c:v>
                </c:pt>
                <c:pt idx="33">
                  <c:v>4.534653465346534</c:v>
                </c:pt>
                <c:pt idx="34">
                  <c:v>3.5142857142857142</c:v>
                </c:pt>
                <c:pt idx="35">
                  <c:v>0.8806584362139918</c:v>
                </c:pt>
                <c:pt idx="36">
                  <c:v>1.25</c:v>
                </c:pt>
                <c:pt idx="37">
                  <c:v>2.75</c:v>
                </c:pt>
                <c:pt idx="38">
                  <c:v>1.4938271604938271</c:v>
                </c:pt>
                <c:pt idx="39">
                  <c:v>1.171003717472119</c:v>
                </c:pt>
                <c:pt idx="40">
                  <c:v>1.694915254237288</c:v>
                </c:pt>
                <c:pt idx="41">
                  <c:v>2.6630434782608696</c:v>
                </c:pt>
                <c:pt idx="42">
                  <c:v>3.8970588235294117</c:v>
                </c:pt>
                <c:pt idx="43">
                  <c:v>1.3305084745762712</c:v>
                </c:pt>
                <c:pt idx="44">
                  <c:v>4.0625</c:v>
                </c:pt>
                <c:pt idx="45">
                  <c:v>0.9823008849557522</c:v>
                </c:pt>
                <c:pt idx="46">
                  <c:v>0.6153846153846154</c:v>
                </c:pt>
                <c:pt idx="47">
                  <c:v>1.9357798165137614</c:v>
                </c:pt>
                <c:pt idx="48">
                  <c:v>2.711864406779661</c:v>
                </c:pt>
                <c:pt idx="49">
                  <c:v>1.8148148148148149</c:v>
                </c:pt>
                <c:pt idx="50">
                  <c:v>1.0387596899224807</c:v>
                </c:pt>
                <c:pt idx="51">
                  <c:v>1.3505154639175259</c:v>
                </c:pt>
                <c:pt idx="52">
                  <c:v>6.5</c:v>
                </c:pt>
                <c:pt idx="53">
                  <c:v>1.627659574468085</c:v>
                </c:pt>
                <c:pt idx="54">
                  <c:v>2.0617283950617282</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086944161750809"/>
          <c:min val="-0.025640450421038644"/>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6.398773006134967"/>
          <c:min val="0.2715596330275229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Laurent Perrier</c:v>
                </c:pt>
                <c:pt idx="2">
                  <c:v>Malard</c:v>
                </c:pt>
                <c:pt idx="3">
                  <c:v>Nicolas Feuillatte</c:v>
                </c:pt>
                <c:pt idx="4">
                  <c:v>Nicolas</c:v>
                </c:pt>
              </c:strCache>
            </c:strRef>
          </c:cat>
          <c:val>
            <c:numRef>
              <c:f>Sheet1!$B$2:$B$6</c:f>
              <c:numCache>
                <c:formatCode>General</c:formatCode>
                <c:ptCount val="5"/>
                <c:pt idx="0">
                  <c:v>5.5</c:v>
                </c:pt>
                <c:pt idx="1">
                  <c:v>-0.02100000000000002</c:v>
                </c:pt>
                <c:pt idx="2">
                  <c:v>-0.05700000000000005</c:v>
                </c:pt>
                <c:pt idx="3">
                  <c:v>0.028999999999999915</c:v>
                </c:pt>
                <c:pt idx="4">
                  <c:v>-0.332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MALARD GRAND CRU BLC DE NOIR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MOET &amp; CHANDON RES IMP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CHAMPAGNE NICOLAS 1ERE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dLbl>
              <c:idx val="50"/>
              <c:tx>
                <c:rich>
                  <a:bodyPr/>
                  <a:lstStyle/>
                  <a:p>
                    <a:r>
                      <a:t>1/2 HENRIOT BRUT 1CT X 375ML</a:t>
                    </a:r>
                  </a:p>
                </c:rich>
              </c:tx>
              <c:dLblPos val="t"/>
              <c:showLegendKey val="0"/>
              <c:showVal val="1"/>
              <c:showCatName val="0"/>
              <c:showSerName val="0"/>
              <c:showPercent val="0"/>
              <c:showBubbleSize val="0"/>
            </c:dLbl>
            <c:dLbl>
              <c:idx val="51"/>
              <c:tx>
                <c:rich>
                  <a:bodyPr/>
                  <a:lstStyle/>
                  <a:p>
                    <a:r>
                      <a:t>1/2 CANARD DUCHENE CUVEE LEONI 1CT X 375ML</a:t>
                    </a:r>
                  </a:p>
                </c:rich>
              </c:tx>
              <c:dLblPos val="t"/>
              <c:showLegendKey val="0"/>
              <c:showVal val="1"/>
              <c:showCatName val="0"/>
              <c:showSerName val="0"/>
              <c:showPercent val="0"/>
              <c:showBubbleSize val="0"/>
            </c:dLbl>
            <c:dLbl>
              <c:idx val="52"/>
              <c:tx>
                <c:rich>
                  <a:bodyPr/>
                  <a:lstStyle/>
                  <a:p>
                    <a:r>
                      <a:t>MALARD ROSE 1ER CRU 1CT X 750ML</a:t>
                    </a:r>
                  </a:p>
                </c:rich>
              </c:tx>
              <c:dLblPos val="t"/>
              <c:showLegendKey val="0"/>
              <c:showVal val="1"/>
              <c:showCatName val="0"/>
              <c:showSerName val="0"/>
              <c:showPercent val="0"/>
              <c:showBubbleSize val="0"/>
            </c:dLbl>
            <c:dLbl>
              <c:idx val="53"/>
              <c:tx>
                <c:rich>
                  <a:bodyPr/>
                  <a:lstStyle/>
                  <a:p>
                    <a:r>
                      <a:t>VRANKEN BRUT NATURE 1CT X 750ML</a:t>
                    </a:r>
                  </a:p>
                </c:rich>
              </c:tx>
              <c:dLblPos val="t"/>
              <c:showLegendKey val="0"/>
              <c:showVal val="1"/>
              <c:showCatName val="0"/>
              <c:showSerName val="0"/>
              <c:showPercent val="0"/>
              <c:showBubbleSize val="0"/>
            </c:dLbl>
            <c:dLbl>
              <c:idx val="54"/>
              <c:tx>
                <c:rich>
                  <a:bodyPr/>
                  <a:lstStyle/>
                  <a:p>
                    <a:r>
                      <a:t>HENRIOT BLANC DE BLANCS 1CT X 750ML</a:t>
                    </a:r>
                  </a:p>
                </c:rich>
              </c:tx>
              <c:dLblPos val="t"/>
              <c:showLegendKey val="0"/>
              <c:showVal val="1"/>
              <c:showCatName val="0"/>
              <c:showSerName val="0"/>
              <c:showPercent val="0"/>
              <c:showBubbleSize val="0"/>
            </c:dLbl>
            <c:dLbl>
              <c:idx val="55"/>
              <c:tx>
                <c:rich>
                  <a:bodyPr/>
                  <a:lstStyle/>
                  <a:p>
                    <a:r>
                      <a:t>DE VENOGE PRINCES BLC DE BLCS 1CT X 750ML</a:t>
                    </a:r>
                  </a:p>
                </c:rich>
              </c:tx>
              <c:dLblPos val="t"/>
              <c:showLegendKey val="0"/>
              <c:showVal val="1"/>
              <c:showCatName val="0"/>
              <c:showSerName val="0"/>
              <c:showPercent val="0"/>
              <c:showBubbleSize val="0"/>
            </c:dLbl>
            <c:dLbl>
              <c:idx val="56"/>
              <c:tx>
                <c:rich>
                  <a:bodyPr/>
                  <a:lstStyle/>
                  <a:p>
                    <a:r>
                      <a:t>NICOLAS FEUILLATTE RES EX ROSE 1CT X 750ML</a:t>
                    </a:r>
                  </a:p>
                </c:rich>
              </c:tx>
              <c:dLblPos val="t"/>
              <c:showLegendKey val="0"/>
              <c:showVal val="1"/>
              <c:showCatName val="0"/>
              <c:showSerName val="0"/>
              <c:showPercent val="0"/>
              <c:showBubbleSize val="0"/>
            </c:dLbl>
            <c:dLbl>
              <c:idx val="57"/>
              <c:tx>
                <c:rich>
                  <a:bodyPr/>
                  <a:lstStyle/>
                  <a:p>
                    <a:r>
                      <a:t>CHAMPAGNE CH DE BLIGNY BLC/BLC 1CT X 750ML</a:t>
                    </a:r>
                  </a:p>
                </c:rich>
              </c:tx>
              <c:dLblPos val="t"/>
              <c:showLegendKey val="0"/>
              <c:showVal val="1"/>
              <c:showCatName val="0"/>
              <c:showSerName val="0"/>
              <c:showPercent val="0"/>
              <c:showBubbleSize val="0"/>
            </c:dLbl>
            <c:dLbl>
              <c:idx val="58"/>
              <c:tx>
                <c:rich>
                  <a:bodyPr/>
                  <a:lstStyle/>
                  <a:p>
                    <a:r>
                      <a:t>MG DE VENOGE CORDON BLEU BRUT 1CT X 1500ML</a:t>
                    </a:r>
                  </a:p>
                </c:rich>
              </c:tx>
              <c:dLblPos val="t"/>
              <c:showLegendKey val="0"/>
              <c:showVal val="1"/>
              <c:showCatName val="0"/>
              <c:showSerName val="0"/>
              <c:showPercent val="0"/>
              <c:showBubbleSize val="0"/>
            </c:dLbl>
            <c:dLbl>
              <c:idx val="59"/>
              <c:tx>
                <c:rich>
                  <a:bodyPr/>
                  <a:lstStyle/>
                  <a:p>
                    <a:r>
                      <a:t>MG CANARD DUCHENE CUV LEONIE E 1CT X 1500ML</a:t>
                    </a:r>
                  </a:p>
                </c:rich>
              </c:tx>
              <c:dLblPos val="t"/>
              <c:showLegendKey val="0"/>
              <c:showVal val="1"/>
              <c:showCatName val="0"/>
              <c:showSerName val="0"/>
              <c:showPercent val="0"/>
              <c:showBubbleSize val="0"/>
            </c:dLbl>
            <c:dLbl>
              <c:idx val="60"/>
              <c:tx>
                <c:rich>
                  <a:bodyPr/>
                  <a:lstStyle/>
                  <a:p>
                    <a:r>
                      <a:t>1/2 DE VENOGE CORDON BLEU BRUT 1CT X 375ML</a:t>
                    </a:r>
                  </a:p>
                </c:rich>
              </c:tx>
              <c:dLblPos val="t"/>
              <c:showLegendKey val="0"/>
              <c:showVal val="1"/>
              <c:showCatName val="0"/>
              <c:showSerName val="0"/>
              <c:showPercent val="0"/>
              <c:showBubbleSize val="0"/>
            </c:dLbl>
            <c:dLbl>
              <c:idx val="61"/>
              <c:tx>
                <c:rich>
                  <a:bodyPr/>
                  <a:lstStyle/>
                  <a:p>
                    <a:r>
                      <a:t>RUINART BRUT (NUE) 2015 1CT X 750ML</a:t>
                    </a:r>
                  </a:p>
                </c:rich>
              </c:tx>
              <c:dLblPos val="t"/>
              <c:showLegendKey val="0"/>
              <c:showVal val="1"/>
              <c:showCatName val="0"/>
              <c:showSerName val="0"/>
              <c:showPercent val="0"/>
              <c:showBubbleSize val="0"/>
            </c:dLbl>
            <c:dLbl>
              <c:idx val="62"/>
              <c:tx>
                <c:rich>
                  <a:bodyPr/>
                  <a:lstStyle/>
                  <a:p>
                    <a:r>
                      <a:t>1/2 DEUTZ CLASSIC BRUT 1CT X 375ML</a:t>
                    </a:r>
                  </a:p>
                </c:rich>
              </c:tx>
              <c:dLblPos val="t"/>
              <c:showLegendKey val="0"/>
              <c:showVal val="1"/>
              <c:showCatName val="0"/>
              <c:showSerName val="0"/>
              <c:showPercent val="0"/>
              <c:showBubbleSize val="0"/>
            </c:dLbl>
            <c:dLbl>
              <c:idx val="63"/>
              <c:tx>
                <c:rich>
                  <a:bodyPr/>
                  <a:lstStyle/>
                  <a:p>
                    <a:r>
                      <a:t>MOET &amp; CHANDON IMPERIAL ED JO 1CT X 750ML</a:t>
                    </a:r>
                  </a:p>
                </c:rich>
              </c:tx>
              <c:dLblPos val="t"/>
              <c:showLegendKey val="0"/>
              <c:showVal val="1"/>
              <c:showCatName val="0"/>
              <c:showSerName val="0"/>
              <c:showPercent val="0"/>
              <c:showBubbleSize val="0"/>
            </c:dLbl>
            <c:dLbl>
              <c:idx val="64"/>
              <c:tx>
                <c:rich>
                  <a:bodyPr/>
                  <a:lstStyle/>
                  <a:p>
                    <a:r>
                      <a:t>MG ROEDERER BRUT COLLECT 243 1CT X 1500ML</a:t>
                    </a:r>
                  </a:p>
                </c:rich>
              </c:tx>
              <c:dLblPos val="t"/>
              <c:showLegendKey val="0"/>
              <c:showVal val="1"/>
              <c:showCatName val="0"/>
              <c:showSerName val="0"/>
              <c:showPercent val="0"/>
              <c:showBubbleSize val="0"/>
            </c:dLbl>
            <c:dLbl>
              <c:idx val="65"/>
              <c:tx>
                <c:rich>
                  <a:bodyPr/>
                  <a:lstStyle/>
                  <a:p>
                    <a:r>
                      <a:t>ROEDERER BRUT 2015 1CT X 750ML</a:t>
                    </a:r>
                  </a:p>
                </c:rich>
              </c:tx>
              <c:dLblPos val="t"/>
              <c:showLegendKey val="0"/>
              <c:showVal val="1"/>
              <c:showCatName val="0"/>
              <c:showSerName val="0"/>
              <c:showPercent val="0"/>
              <c:showBubbleSize val="0"/>
            </c:dLbl>
            <c:dLbl>
              <c:idx val="66"/>
              <c:tx>
                <c:rich>
                  <a:bodyPr/>
                  <a:lstStyle/>
                  <a:p>
                    <a:r>
                      <a:t>MG ROEDERER BRUT COLLECT 244 1CT X 1500ML</a:t>
                    </a:r>
                  </a:p>
                </c:rich>
              </c:tx>
              <c:dLblPos val="t"/>
              <c:showLegendKey val="0"/>
              <c:showVal val="1"/>
              <c:showCatName val="0"/>
              <c:showSerName val="0"/>
              <c:showPercent val="0"/>
              <c:showBubbleSize val="0"/>
            </c:dLbl>
            <c:dLbl>
              <c:idx val="67"/>
              <c:tx>
                <c:rich>
                  <a:bodyPr/>
                  <a:lstStyle/>
                  <a:p>
                    <a:r>
                      <a:t>CHAMPAGNE CH DE BLIGNY 6CEPAGE 1CT X 750ML</a:t>
                    </a:r>
                  </a:p>
                </c:rich>
              </c:tx>
              <c:dLblPos val="t"/>
              <c:showLegendKey val="0"/>
              <c:showVal val="1"/>
              <c:showCatName val="0"/>
              <c:showSerName val="0"/>
              <c:showPercent val="0"/>
              <c:showBubbleSize val="0"/>
            </c:dLbl>
            <c:dLbl>
              <c:idx val="68"/>
              <c:tx>
                <c:rich>
                  <a:bodyPr/>
                  <a:lstStyle/>
                  <a:p>
                    <a:r>
                      <a:t>BESSERAT BELLEFON BLC DE BLCS 1CT X 750ML</a:t>
                    </a:r>
                  </a:p>
                </c:rich>
              </c:tx>
              <c:dLblPos val="t"/>
              <c:showLegendKey val="0"/>
              <c:showVal val="1"/>
              <c:showCatName val="0"/>
              <c:showSerName val="0"/>
              <c:showPercent val="0"/>
              <c:showBubbleSize val="0"/>
            </c:dLbl>
            <c:dLbl>
              <c:idx val="69"/>
              <c:tx>
                <c:rich>
                  <a:bodyPr/>
                  <a:lstStyle/>
                  <a:p>
                    <a:r>
                      <a:t>MG CANARD DUCHENE CUVEE LEONIE 1CT X 1500ML</a:t>
                    </a:r>
                  </a:p>
                </c:rich>
              </c:tx>
              <c:dLblPos val="t"/>
              <c:showLegendKey val="0"/>
              <c:showVal val="1"/>
              <c:showCatName val="0"/>
              <c:showSerName val="0"/>
              <c:showPercent val="0"/>
              <c:showBubbleSize val="0"/>
            </c:dLbl>
            <c:dLbl>
              <c:idx val="70"/>
              <c:tx>
                <c:rich>
                  <a:bodyPr/>
                  <a:lstStyle/>
                  <a:p>
                    <a:r>
                      <a:t>ROEDERER ROSE 2016 1CT X 750ML</a:t>
                    </a:r>
                  </a:p>
                </c:rich>
              </c:tx>
              <c:dLblPos val="t"/>
              <c:showLegendKey val="0"/>
              <c:showVal val="1"/>
              <c:showCatName val="0"/>
              <c:showSerName val="0"/>
              <c:showPercent val="0"/>
              <c:showBubbleSize val="0"/>
            </c:dLbl>
            <c:dLbl>
              <c:idx val="71"/>
              <c:tx>
                <c:rich>
                  <a:bodyPr/>
                  <a:lstStyle/>
                  <a:p>
                    <a:r>
                      <a:t>BESSERAT BELLEFON ROSE 1CT X 750ML</a:t>
                    </a:r>
                  </a:p>
                </c:rich>
              </c:tx>
              <c:dLblPos val="t"/>
              <c:showLegendKey val="0"/>
              <c:showVal val="1"/>
              <c:showCatName val="0"/>
              <c:showSerName val="0"/>
              <c:showPercent val="0"/>
              <c:showBubbleSize val="0"/>
            </c:dLbl>
            <c:dLbl>
              <c:idx val="72"/>
              <c:tx>
                <c:rich>
                  <a:bodyPr/>
                  <a:lstStyle/>
                  <a:p>
                    <a:r>
                      <a:t>CHAMPAGNE LALLIER SERIE R.020 1CT X 750ML</a:t>
                    </a:r>
                  </a:p>
                </c:rich>
              </c:tx>
              <c:dLblPos val="t"/>
              <c:showLegendKey val="0"/>
              <c:showVal val="1"/>
              <c:showCatName val="0"/>
              <c:showSerName val="0"/>
              <c:showPercent val="0"/>
              <c:showBubbleSize val="0"/>
            </c:dLbl>
            <c:dLbl>
              <c:idx val="73"/>
              <c:tx>
                <c:rich>
                  <a:bodyPr/>
                  <a:lstStyle/>
                  <a:p>
                    <a:r>
                      <a:t>MG RUINART ROSE SECOND SKIN 1CT X 1500ML</a:t>
                    </a:r>
                  </a:p>
                </c:rich>
              </c:tx>
              <c:dLblPos val="t"/>
              <c:showLegendKey val="0"/>
              <c:showVal val="1"/>
              <c:showCatName val="0"/>
              <c:showSerName val="0"/>
              <c:showPercent val="0"/>
              <c:showBubbleSize val="0"/>
            </c:dLbl>
            <c:dLbl>
              <c:idx val="74"/>
              <c:tx>
                <c:rich>
                  <a:bodyPr/>
                  <a:lstStyle/>
                  <a:p>
                    <a:r>
                      <a:t>VRANKEN CUVEE DIAMANT BRUT 1CT X 750ML</a:t>
                    </a:r>
                  </a:p>
                </c:rich>
              </c:tx>
              <c:dLblPos val="t"/>
              <c:showLegendKey val="0"/>
              <c:showVal val="1"/>
              <c:showCatName val="0"/>
              <c:showSerName val="0"/>
              <c:showPercent val="0"/>
              <c:showBubbleSize val="0"/>
            </c:dLbl>
            <c:dLbl>
              <c:idx val="75"/>
              <c:tx>
                <c:rich>
                  <a:bodyPr/>
                  <a:lstStyle/>
                  <a:p>
                    <a:r>
                      <a:t>1/2 ROEDERER BRUT COLLECT 245 1CT X 375ML</a:t>
                    </a:r>
                  </a:p>
                </c:rich>
              </c:tx>
              <c:dLblPos val="t"/>
              <c:showLegendKey val="0"/>
              <c:showVal val="1"/>
              <c:showCatName val="0"/>
              <c:showSerName val="0"/>
              <c:showPercent val="0"/>
              <c:showBubbleSize val="0"/>
            </c:dLbl>
            <c:dLbl>
              <c:idx val="76"/>
              <c:tx>
                <c:rich>
                  <a:bodyPr/>
                  <a:lstStyle/>
                  <a:p>
                    <a:r>
                      <a:t>1/2 DEUTZ ROSE 1CT X 375ML</a:t>
                    </a:r>
                  </a:p>
                </c:rich>
              </c:tx>
              <c:dLblPos val="t"/>
              <c:showLegendKey val="0"/>
              <c:showVal val="1"/>
              <c:showCatName val="0"/>
              <c:showSerName val="0"/>
              <c:showPercent val="0"/>
              <c:showBubbleSize val="0"/>
            </c:dLbl>
            <c:dLbl>
              <c:idx val="77"/>
              <c:tx>
                <c:rich>
                  <a:bodyPr/>
                  <a:lstStyle/>
                  <a:p>
                    <a:r>
                      <a:t>1/2 RUINART BRUT (NUE) 1CT X 375ML</a:t>
                    </a:r>
                  </a:p>
                </c:rich>
              </c:tx>
              <c:dLblPos val="t"/>
              <c:showLegendKey val="0"/>
              <c:showVal val="1"/>
              <c:showCatName val="0"/>
              <c:showSerName val="0"/>
              <c:showPercent val="0"/>
              <c:showBubbleSize val="0"/>
            </c:dLbl>
            <c:dLbl>
              <c:idx val="78"/>
              <c:tx>
                <c:rich>
                  <a:bodyPr/>
                  <a:lstStyle/>
                  <a:p>
                    <a:r>
                      <a:t>LOUIS MARTIN BRUT GRAND CRU 1CT X 750ML</a:t>
                    </a:r>
                  </a:p>
                </c:rich>
              </c:tx>
              <c:dLblPos val="t"/>
              <c:showLegendKey val="0"/>
              <c:showVal val="1"/>
              <c:showCatName val="0"/>
              <c:showSerName val="0"/>
              <c:showPercent val="0"/>
              <c:showBubbleSize val="0"/>
            </c:dLbl>
            <c:dLbl>
              <c:idx val="79"/>
              <c:tx>
                <c:rich>
                  <a:bodyPr/>
                  <a:lstStyle/>
                  <a:p>
                    <a:r>
                      <a:t>CHAMPAGNE NICOLAS ROSE 1ERE CU 1CT X 750ML</a:t>
                    </a:r>
                  </a:p>
                </c:rich>
              </c:tx>
              <c:dLblPos val="t"/>
              <c:showLegendKey val="0"/>
              <c:showVal val="1"/>
              <c:showCatName val="0"/>
              <c:showSerName val="0"/>
              <c:showPercent val="0"/>
              <c:showBubbleSize val="0"/>
            </c:dLbl>
            <c:dLbl>
              <c:idx val="80"/>
              <c:tx>
                <c:rich>
                  <a:bodyPr/>
                  <a:lstStyle/>
                  <a:p>
                    <a:r>
                      <a:t>BARONS ROTHSCHILD CONCORDIA 1CT X 750ML</a:t>
                    </a:r>
                  </a:p>
                </c:rich>
              </c:tx>
              <c:dLblPos val="t"/>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2</c:f>
              <c:numCache>
                <c:formatCode>General</c:formatCode>
                <c:ptCount val="81"/>
                <c:pt idx="0">
                  <c:v>0.09181380866966941</c:v>
                </c:pt>
                <c:pt idx="1">
                  <c:v>0.2543342402038765</c:v>
                </c:pt>
                <c:pt idx="2">
                  <c:v>0.116248224206256</c:v>
                </c:pt>
                <c:pt idx="3">
                  <c:v>0.18357410524113596</c:v>
                </c:pt>
                <c:pt idx="4">
                  <c:v>0.15839492540353067</c:v>
                </c:pt>
                <c:pt idx="5">
                  <c:v>0.101925936625568</c:v>
                </c:pt>
                <c:pt idx="6">
                  <c:v>0.22475237113842628</c:v>
                </c:pt>
                <c:pt idx="7">
                  <c:v>0.10388529773625027</c:v>
                </c:pt>
                <c:pt idx="8">
                  <c:v>0.15684784698829984</c:v>
                </c:pt>
                <c:pt idx="9">
                  <c:v>0.11769658125549134</c:v>
                </c:pt>
                <c:pt idx="10">
                  <c:v>0.10404688277514165</c:v>
                </c:pt>
                <c:pt idx="11">
                  <c:v>0.0990039255036335</c:v>
                </c:pt>
                <c:pt idx="12">
                  <c:v>0.10114525415417489</c:v>
                </c:pt>
                <c:pt idx="13">
                  <c:v>0.10142767576118196</c:v>
                </c:pt>
                <c:pt idx="14">
                  <c:v>0.10132316738300798</c:v>
                </c:pt>
                <c:pt idx="15">
                  <c:v>0.10036390031981028</c:v>
                </c:pt>
                <c:pt idx="16">
                  <c:v>0.138885948459359</c:v>
                </c:pt>
                <c:pt idx="17">
                  <c:v>0.10191944538629504</c:v>
                </c:pt>
                <c:pt idx="18">
                  <c:v>0.10260126846626684</c:v>
                </c:pt>
                <c:pt idx="19">
                  <c:v>0.10417117550103226</c:v>
                </c:pt>
                <c:pt idx="20">
                  <c:v>0.12418826792525402</c:v>
                </c:pt>
                <c:pt idx="21">
                  <c:v>0.10366940081068998</c:v>
                </c:pt>
                <c:pt idx="22">
                  <c:v>0.09272399434775956</c:v>
                </c:pt>
                <c:pt idx="23">
                  <c:v>0.16188983549194239</c:v>
                </c:pt>
                <c:pt idx="24">
                  <c:v>0.13948256240053591</c:v>
                </c:pt>
                <c:pt idx="25">
                  <c:v>0.08214655018901729</c:v>
                </c:pt>
                <c:pt idx="26">
                  <c:v>0.10093864624970711</c:v>
                </c:pt>
                <c:pt idx="27">
                  <c:v>0.10503064038838858</c:v>
                </c:pt>
                <c:pt idx="28">
                  <c:v>0.14964037971439884</c:v>
                </c:pt>
                <c:pt idx="29">
                  <c:v>0.10159888302277942</c:v>
                </c:pt>
                <c:pt idx="30">
                  <c:v>0.11728291530511707</c:v>
                </c:pt>
                <c:pt idx="31">
                  <c:v>0.1822564337684738</c:v>
                </c:pt>
                <c:pt idx="32">
                  <c:v>0.0967995381772401</c:v>
                </c:pt>
                <c:pt idx="33">
                  <c:v>0.185124089688318</c:v>
                </c:pt>
                <c:pt idx="34">
                  <c:v>0.09934336800854104</c:v>
                </c:pt>
                <c:pt idx="35">
                  <c:v>0.1624422062217965</c:v>
                </c:pt>
                <c:pt idx="36">
                  <c:v>0.11416512926582595</c:v>
                </c:pt>
                <c:pt idx="37">
                  <c:v>0.10925311305318164</c:v>
                </c:pt>
                <c:pt idx="38">
                  <c:v>0.09166959883500811</c:v>
                </c:pt>
                <c:pt idx="39">
                  <c:v>0.14294707431515746</c:v>
                </c:pt>
                <c:pt idx="40">
                  <c:v>0.09025618569507854</c:v>
                </c:pt>
                <c:pt idx="41">
                  <c:v>0.10106043572784473</c:v>
                </c:pt>
                <c:pt idx="42">
                  <c:v>0.10359757924046324</c:v>
                </c:pt>
                <c:pt idx="43">
                  <c:v>0.3078245694183354</c:v>
                </c:pt>
                <c:pt idx="44">
                  <c:v>0.16208387200205285</c:v>
                </c:pt>
                <c:pt idx="45">
                  <c:v>0.10164399688946353</c:v>
                </c:pt>
                <c:pt idx="46">
                  <c:v>0.09770124722792994</c:v>
                </c:pt>
                <c:pt idx="47">
                  <c:v>0.15861273785920948</c:v>
                </c:pt>
                <c:pt idx="48">
                  <c:v>0.13311449590082067</c:v>
                </c:pt>
                <c:pt idx="49">
                  <c:v>0.09799744889784268</c:v>
                </c:pt>
                <c:pt idx="50">
                  <c:v>0.1392467876209022</c:v>
                </c:pt>
                <c:pt idx="51">
                  <c:v>0.18907995734894723</c:v>
                </c:pt>
                <c:pt idx="52">
                  <c:v>0.10035916112352225</c:v>
                </c:pt>
                <c:pt idx="53">
                  <c:v>0.11120149063987435</c:v>
                </c:pt>
                <c:pt idx="54">
                  <c:v>0.1440604026501708</c:v>
                </c:pt>
                <c:pt idx="55">
                  <c:v>0.1465007252037346</c:v>
                </c:pt>
                <c:pt idx="56">
                  <c:v>0.10539841429937709</c:v>
                </c:pt>
                <c:pt idx="57">
                  <c:v>0.18165332817802946</c:v>
                </c:pt>
                <c:pt idx="58">
                  <c:v>0.1431242827861731</c:v>
                </c:pt>
                <c:pt idx="59">
                  <c:v>0.18607280675163715</c:v>
                </c:pt>
                <c:pt idx="60">
                  <c:v>0.1510591018960223</c:v>
                </c:pt>
                <c:pt idx="61">
                  <c:v>0.09118693092388777</c:v>
                </c:pt>
                <c:pt idx="62">
                  <c:v>0.09953845757664392</c:v>
                </c:pt>
                <c:pt idx="63">
                  <c:v>0.043591608963886315</c:v>
                </c:pt>
                <c:pt idx="64">
                  <c:v>0.10641277608251304</c:v>
                </c:pt>
                <c:pt idx="65">
                  <c:v>0.1100627269141127</c:v>
                </c:pt>
                <c:pt idx="66">
                  <c:v>0.1022444402766535</c:v>
                </c:pt>
                <c:pt idx="67">
                  <c:v>0.13603604634381353</c:v>
                </c:pt>
                <c:pt idx="68">
                  <c:v>0.09805989607880282</c:v>
                </c:pt>
                <c:pt idx="69">
                  <c:v>0.15217584822271435</c:v>
                </c:pt>
                <c:pt idx="70">
                  <c:v>0.08922044301911111</c:v>
                </c:pt>
                <c:pt idx="71">
                  <c:v>0.09181598387095323</c:v>
                </c:pt>
                <c:pt idx="72">
                  <c:v>0.10013786607552824</c:v>
                </c:pt>
                <c:pt idx="73">
                  <c:v>0.12852546960148387</c:v>
                </c:pt>
                <c:pt idx="74">
                  <c:v>0.08350704227749646</c:v>
                </c:pt>
                <c:pt idx="75">
                  <c:v>0.0767417948237889</c:v>
                </c:pt>
                <c:pt idx="76">
                  <c:v>0.07817901829262607</c:v>
                </c:pt>
                <c:pt idx="77">
                  <c:v>0.09484258858528052</c:v>
                </c:pt>
                <c:pt idx="78">
                  <c:v>0.09196372418058367</c:v>
                </c:pt>
                <c:pt idx="79">
                  <c:v>0.26669898449848267</c:v>
                </c:pt>
                <c:pt idx="80">
                  <c:v>0.1337000747694261</c:v>
                </c:pt>
              </c:numCache>
            </c:numRef>
          </c:xVal>
          <c:yVal>
            <c:numRef>
              <c:f>Sheet1!$B$2:$B$82</c:f>
              <c:numCache>
                <c:formatCode>General</c:formatCode>
                <c:ptCount val="81"/>
                <c:pt idx="0">
                  <c:v>0.45600208768267225</c:v>
                </c:pt>
                <c:pt idx="1">
                  <c:v>5.936016511867905</c:v>
                </c:pt>
                <c:pt idx="2">
                  <c:v>0.6988066825775656</c:v>
                </c:pt>
                <c:pt idx="3">
                  <c:v>3.2837735849056604</c:v>
                </c:pt>
                <c:pt idx="4">
                  <c:v>3.2222222222222223</c:v>
                </c:pt>
                <c:pt idx="5">
                  <c:v>0.7574147305981216</c:v>
                </c:pt>
                <c:pt idx="6">
                  <c:v>6.153205661948376</c:v>
                </c:pt>
                <c:pt idx="7">
                  <c:v>1.8231847133757961</c:v>
                </c:pt>
                <c:pt idx="8">
                  <c:v>1.2286055459731988</c:v>
                </c:pt>
                <c:pt idx="9">
                  <c:v>2.429123711340206</c:v>
                </c:pt>
                <c:pt idx="10">
                  <c:v>1.609076433121019</c:v>
                </c:pt>
                <c:pt idx="11">
                  <c:v>1.0152976388427004</c:v>
                </c:pt>
                <c:pt idx="12">
                  <c:v>1.0520833333333333</c:v>
                </c:pt>
                <c:pt idx="13">
                  <c:v>1.6964285714285714</c:v>
                </c:pt>
                <c:pt idx="14">
                  <c:v>2.375536480686695</c:v>
                </c:pt>
                <c:pt idx="15">
                  <c:v>2.2636961285609933</c:v>
                </c:pt>
                <c:pt idx="16">
                  <c:v>2.625727213962508</c:v>
                </c:pt>
                <c:pt idx="17">
                  <c:v>0.8796007485963818</c:v>
                </c:pt>
                <c:pt idx="18">
                  <c:v>0.7385702410640067</c:v>
                </c:pt>
                <c:pt idx="19">
                  <c:v>4.8</c:v>
                </c:pt>
                <c:pt idx="20">
                  <c:v>4.239054290718038</c:v>
                </c:pt>
                <c:pt idx="21">
                  <c:v>1.4883374689826303</c:v>
                </c:pt>
                <c:pt idx="22">
                  <c:v>2.1484992101105846</c:v>
                </c:pt>
                <c:pt idx="23">
                  <c:v>2.724340175953079</c:v>
                </c:pt>
                <c:pt idx="24">
                  <c:v>3.634663341645885</c:v>
                </c:pt>
                <c:pt idx="25">
                  <c:v>3.7900172117039586</c:v>
                </c:pt>
                <c:pt idx="26">
                  <c:v>2.3648535564853557</c:v>
                </c:pt>
                <c:pt idx="27">
                  <c:v>1.6624040920716112</c:v>
                </c:pt>
                <c:pt idx="28">
                  <c:v>3.164560622914349</c:v>
                </c:pt>
                <c:pt idx="29">
                  <c:v>2.243124312431243</c:v>
                </c:pt>
                <c:pt idx="30">
                  <c:v>0.8130263896687254</c:v>
                </c:pt>
                <c:pt idx="31">
                  <c:v>3.7070422535211267</c:v>
                </c:pt>
                <c:pt idx="32">
                  <c:v>0.7172972972972973</c:v>
                </c:pt>
                <c:pt idx="33">
                  <c:v>3.540059347181009</c:v>
                </c:pt>
                <c:pt idx="34">
                  <c:v>2.2647928176795578</c:v>
                </c:pt>
                <c:pt idx="35">
                  <c:v>7.595744680851064</c:v>
                </c:pt>
                <c:pt idx="36">
                  <c:v>3.0463576158940397</c:v>
                </c:pt>
                <c:pt idx="37">
                  <c:v>3.450479233226837</c:v>
                </c:pt>
                <c:pt idx="38">
                  <c:v>2.1952861952861955</c:v>
                </c:pt>
                <c:pt idx="39">
                  <c:v>3.4857142857142858</c:v>
                </c:pt>
                <c:pt idx="40">
                  <c:v>4.822033898305085</c:v>
                </c:pt>
                <c:pt idx="41">
                  <c:v>5.752</c:v>
                </c:pt>
                <c:pt idx="42">
                  <c:v>3.1159090909090907</c:v>
                </c:pt>
                <c:pt idx="43">
                  <c:v>11.5</c:v>
                </c:pt>
                <c:pt idx="44">
                  <c:v>0.9635036496350365</c:v>
                </c:pt>
                <c:pt idx="45">
                  <c:v>0.8472156116135173</c:v>
                </c:pt>
                <c:pt idx="46">
                  <c:v>1.53</c:v>
                </c:pt>
                <c:pt idx="47">
                  <c:v>1.6836461126005362</c:v>
                </c:pt>
                <c:pt idx="48">
                  <c:v>3.580858085808581</c:v>
                </c:pt>
                <c:pt idx="49">
                  <c:v>0.7028862478777589</c:v>
                </c:pt>
                <c:pt idx="50">
                  <c:v>1.3781942078364566</c:v>
                </c:pt>
                <c:pt idx="51">
                  <c:v>1.472817133443163</c:v>
                </c:pt>
                <c:pt idx="52">
                  <c:v>1.4297800338409477</c:v>
                </c:pt>
                <c:pt idx="53">
                  <c:v>1.340567612687813</c:v>
                </c:pt>
                <c:pt idx="54">
                  <c:v>2.0759493670886076</c:v>
                </c:pt>
                <c:pt idx="55">
                  <c:v>1.6437246963562753</c:v>
                </c:pt>
                <c:pt idx="56">
                  <c:v>1.7956521739130435</c:v>
                </c:pt>
                <c:pt idx="57">
                  <c:v>3.7130434782608694</c:v>
                </c:pt>
                <c:pt idx="58">
                  <c:v>2.462841726618705</c:v>
                </c:pt>
                <c:pt idx="59">
                  <c:v>2.9464882943143813</c:v>
                </c:pt>
                <c:pt idx="60">
                  <c:v>1.0609429280397022</c:v>
                </c:pt>
                <c:pt idx="61">
                  <c:v>4.061538461538461</c:v>
                </c:pt>
                <c:pt idx="62">
                  <c:v>0.6850605652759085</c:v>
                </c:pt>
                <c:pt idx="63">
                  <c:v>1.462809917355372</c:v>
                </c:pt>
                <c:pt idx="64">
                  <c:v>1.2897727272727273</c:v>
                </c:pt>
                <c:pt idx="65">
                  <c:v>1.8224299065420562</c:v>
                </c:pt>
                <c:pt idx="66">
                  <c:v>4.182926829268292</c:v>
                </c:pt>
                <c:pt idx="67">
                  <c:v>1.872340425531915</c:v>
                </c:pt>
                <c:pt idx="68">
                  <c:v>2.3813559322033897</c:v>
                </c:pt>
                <c:pt idx="69">
                  <c:v>3.4753086419753085</c:v>
                </c:pt>
                <c:pt idx="70">
                  <c:v>2.1645569620253164</c:v>
                </c:pt>
                <c:pt idx="71">
                  <c:v>1.345132743362832</c:v>
                </c:pt>
                <c:pt idx="72">
                  <c:v>0.020905923344947737</c:v>
                </c:pt>
                <c:pt idx="73">
                  <c:v>2.3384615384615386</c:v>
                </c:pt>
                <c:pt idx="74">
                  <c:v>2.845360824742268</c:v>
                </c:pt>
                <c:pt idx="75">
                  <c:v>1.504950495049505</c:v>
                </c:pt>
                <c:pt idx="76">
                  <c:v>0.8383233532934131</c:v>
                </c:pt>
                <c:pt idx="77">
                  <c:v>0.5064935064935064</c:v>
                </c:pt>
                <c:pt idx="78">
                  <c:v>0.4238095238095238</c:v>
                </c:pt>
                <c:pt idx="79">
                  <c:v>7.324324324324325</c:v>
                </c:pt>
                <c:pt idx="80">
                  <c:v>1.7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693894833020025"/>
          <c:min val="0.0348732871711090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799999999999999"/>
          <c:min val="0.0167247386759581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MG ROEDERER BRUT COLLECT 244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81937563-CB84-4921-BA24-F536E26186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3EF90FD-9270-498D-949A-27A65394CC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21D4B749-F444-4592-8EAF-43974C4E2D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6</c:f>
              <c:numCache>
                <c:formatCode>General</c:formatCode>
                <c:ptCount val="45"/>
                <c:pt idx="0">
                  <c:v>0.09485688052410324</c:v>
                </c:pt>
                <c:pt idx="1">
                  <c:v>0.2602555957766711</c:v>
                </c:pt>
                <c:pt idx="2">
                  <c:v>0.09508475694652663</c:v>
                </c:pt>
                <c:pt idx="3">
                  <c:v>0.16096261471472262</c:v>
                </c:pt>
                <c:pt idx="4">
                  <c:v>0.11884937167079353</c:v>
                </c:pt>
                <c:pt idx="5">
                  <c:v>0.19015350536348524</c:v>
                </c:pt>
                <c:pt idx="6">
                  <c:v>0.15377962994505903</c:v>
                </c:pt>
                <c:pt idx="7">
                  <c:v>0.09807402877761258</c:v>
                </c:pt>
                <c:pt idx="8">
                  <c:v>0.1039165780812792</c:v>
                </c:pt>
                <c:pt idx="9">
                  <c:v>0.21083318631641298</c:v>
                </c:pt>
                <c:pt idx="10">
                  <c:v>0.08376733435800414</c:v>
                </c:pt>
                <c:pt idx="11">
                  <c:v>0.10076866437207051</c:v>
                </c:pt>
                <c:pt idx="12">
                  <c:v>0.12157083675882133</c:v>
                </c:pt>
                <c:pt idx="13">
                  <c:v>0.10035409800114196</c:v>
                </c:pt>
                <c:pt idx="14">
                  <c:v>0.14864321116192505</c:v>
                </c:pt>
                <c:pt idx="15">
                  <c:v>0.0986824184219392</c:v>
                </c:pt>
                <c:pt idx="16">
                  <c:v>0.09683264284078699</c:v>
                </c:pt>
                <c:pt idx="17">
                  <c:v>0.11270748626838299</c:v>
                </c:pt>
                <c:pt idx="18">
                  <c:v>0.1846945111421783</c:v>
                </c:pt>
                <c:pt idx="19">
                  <c:v>-0.15263831786819626</c:v>
                </c:pt>
                <c:pt idx="20">
                  <c:v>0.10387572496876774</c:v>
                </c:pt>
                <c:pt idx="21">
                  <c:v>0.11784045601060644</c:v>
                </c:pt>
                <c:pt idx="22">
                  <c:v>0.0690658880508925</c:v>
                </c:pt>
                <c:pt idx="23">
                  <c:v>0.09080411908187755</c:v>
                </c:pt>
                <c:pt idx="24">
                  <c:v>0.10933310506651131</c:v>
                </c:pt>
                <c:pt idx="25">
                  <c:v>0.16675314716705347</c:v>
                </c:pt>
                <c:pt idx="26">
                  <c:v>0.024565027327384817</c:v>
                </c:pt>
                <c:pt idx="27">
                  <c:v>0.1198553733223908</c:v>
                </c:pt>
                <c:pt idx="28">
                  <c:v>0.01982817725298926</c:v>
                </c:pt>
                <c:pt idx="29">
                  <c:v>0.11141201160939192</c:v>
                </c:pt>
                <c:pt idx="30">
                  <c:v>0.09446278653144263</c:v>
                </c:pt>
                <c:pt idx="31">
                  <c:v>0.1387322492295862</c:v>
                </c:pt>
                <c:pt idx="32">
                  <c:v>-0.1980504528381583</c:v>
                </c:pt>
                <c:pt idx="33">
                  <c:v>0.13462263580185097</c:v>
                </c:pt>
                <c:pt idx="34">
                  <c:v>0.08430431200333849</c:v>
                </c:pt>
                <c:pt idx="35">
                  <c:v>0.18397123338376772</c:v>
                </c:pt>
                <c:pt idx="36">
                  <c:v>0.10624015857565329</c:v>
                </c:pt>
                <c:pt idx="37">
                  <c:v>0.16374313714235642</c:v>
                </c:pt>
                <c:pt idx="38">
                  <c:v>0.15718611255710613</c:v>
                </c:pt>
                <c:pt idx="39">
                  <c:v>0.17542261869729944</c:v>
                </c:pt>
                <c:pt idx="40">
                  <c:v>0.307151232658935</c:v>
                </c:pt>
                <c:pt idx="41">
                  <c:v>-0.006430352376367821</c:v>
                </c:pt>
                <c:pt idx="42">
                  <c:v>0.1644244525343139</c:v>
                </c:pt>
                <c:pt idx="43">
                  <c:v>0.16108437956872954</c:v>
                </c:pt>
                <c:pt idx="44">
                  <c:v>0.11510244965292898</c:v>
                </c:pt>
              </c:numCache>
            </c:numRef>
          </c:xVal>
          <c:yVal>
            <c:numRef>
              <c:f>Sheet1!$B$2:$B$46</c:f>
              <c:numCache>
                <c:formatCode>General</c:formatCode>
                <c:ptCount val="45"/>
                <c:pt idx="0">
                  <c:v>0.6935991605456453</c:v>
                </c:pt>
                <c:pt idx="1">
                  <c:v>10.246781115879829</c:v>
                </c:pt>
                <c:pt idx="2">
                  <c:v>1.5191489361702128</c:v>
                </c:pt>
                <c:pt idx="3">
                  <c:v>4.21025641025641</c:v>
                </c:pt>
                <c:pt idx="4">
                  <c:v>1.0761828388131516</c:v>
                </c:pt>
                <c:pt idx="5">
                  <c:v>4.34965034965035</c:v>
                </c:pt>
                <c:pt idx="6">
                  <c:v>1.5655471289274105</c:v>
                </c:pt>
                <c:pt idx="7">
                  <c:v>2.27027027027027</c:v>
                </c:pt>
                <c:pt idx="8">
                  <c:v>1.4726989079563182</c:v>
                </c:pt>
                <c:pt idx="9">
                  <c:v>5.82084690553746</c:v>
                </c:pt>
                <c:pt idx="10">
                  <c:v>2.1653846153846152</c:v>
                </c:pt>
                <c:pt idx="11">
                  <c:v>0.9925595238095238</c:v>
                </c:pt>
                <c:pt idx="12">
                  <c:v>2.798941798941799</c:v>
                </c:pt>
                <c:pt idx="13">
                  <c:v>1.7048192771084338</c:v>
                </c:pt>
                <c:pt idx="14">
                  <c:v>4.281914893617022</c:v>
                </c:pt>
                <c:pt idx="15">
                  <c:v>0.9713467048710601</c:v>
                </c:pt>
                <c:pt idx="16">
                  <c:v>2.1869158878504673</c:v>
                </c:pt>
                <c:pt idx="17">
                  <c:v>1.9116022099447514</c:v>
                </c:pt>
                <c:pt idx="18">
                  <c:v>2.4814814814814814</c:v>
                </c:pt>
                <c:pt idx="19">
                  <c:v>6.306451612903226</c:v>
                </c:pt>
                <c:pt idx="20">
                  <c:v>2.1283185840707963</c:v>
                </c:pt>
                <c:pt idx="21">
                  <c:v>3.03125</c:v>
                </c:pt>
                <c:pt idx="22">
                  <c:v>4.117647058823529</c:v>
                </c:pt>
                <c:pt idx="23">
                  <c:v>4.6422018348623855</c:v>
                </c:pt>
                <c:pt idx="24">
                  <c:v>1.3909090909090909</c:v>
                </c:pt>
                <c:pt idx="25">
                  <c:v>2.3582089552238807</c:v>
                </c:pt>
                <c:pt idx="26">
                  <c:v>2.963636363636364</c:v>
                </c:pt>
                <c:pt idx="27">
                  <c:v>0.9483568075117371</c:v>
                </c:pt>
                <c:pt idx="28">
                  <c:v>4.416666666666667</c:v>
                </c:pt>
                <c:pt idx="29">
                  <c:v>1.3984063745019921</c:v>
                </c:pt>
                <c:pt idx="30">
                  <c:v>2.857142857142857</c:v>
                </c:pt>
                <c:pt idx="31">
                  <c:v>6.683333333333334</c:v>
                </c:pt>
                <c:pt idx="32">
                  <c:v>6.103448275862069</c:v>
                </c:pt>
                <c:pt idx="33">
                  <c:v>1.2035398230088497</c:v>
                </c:pt>
                <c:pt idx="34">
                  <c:v>1.9090909090909092</c:v>
                </c:pt>
                <c:pt idx="35">
                  <c:v>1.6111111111111112</c:v>
                </c:pt>
                <c:pt idx="36">
                  <c:v>3.0634920634920637</c:v>
                </c:pt>
                <c:pt idx="37">
                  <c:v>6.066666666666666</c:v>
                </c:pt>
                <c:pt idx="38">
                  <c:v>4.018518518518518</c:v>
                </c:pt>
                <c:pt idx="39">
                  <c:v>3.2222222222222223</c:v>
                </c:pt>
                <c:pt idx="40">
                  <c:v>5.666666666666667</c:v>
                </c:pt>
                <c:pt idx="41">
                  <c:v>1.1157894736842104</c:v>
                </c:pt>
                <c:pt idx="42">
                  <c:v>4.642857142857143</c:v>
                </c:pt>
                <c:pt idx="43">
                  <c:v>1.75</c:v>
                </c:pt>
                <c:pt idx="44">
                  <c:v>0.8518518518518519</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68581479190722"/>
          <c:min val="-0.15844036227052666"/>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2.296137339055795"/>
          <c:min val="0.554879328436516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4.333</c:v>
                </c:pt>
                <c:pt idx="1">
                  <c:v>-0.07499999999999996</c:v>
                </c:pt>
                <c:pt idx="2">
                  <c:v>-0.062000000000000055</c:v>
                </c:pt>
                <c:pt idx="3">
                  <c:v>0.028999999999999915</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Laurent Perrier</c:v>
                </c:pt>
                <c:pt idx="2">
                  <c:v>Malard</c:v>
                </c:pt>
                <c:pt idx="3">
                  <c:v>Nicolas Feuillatte</c:v>
                </c:pt>
                <c:pt idx="4">
                  <c:v>Nicolas</c:v>
                </c:pt>
              </c:strCache>
            </c:strRef>
          </c:cat>
          <c:val>
            <c:numRef>
              <c:f>Sheet1!$B$2:$B$6</c:f>
              <c:numCache>
                <c:formatCode>General</c:formatCode>
                <c:ptCount val="5"/>
                <c:pt idx="0">
                  <c:v>0.20707363495156406</c:v>
                </c:pt>
                <c:pt idx="1">
                  <c:v>0.0038368504494603606</c:v>
                </c:pt>
                <c:pt idx="2">
                  <c:v>-0.32970787942973034</c:v>
                </c:pt>
                <c:pt idx="3">
                  <c:v>-0.18838250521752664</c:v>
                </c:pt>
                <c:pt idx="4">
                  <c:v>1.42634108762476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2D33CFEA-C809-4A7B-957D-4C8A8B0F86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37979764-4226-44E1-B0B5-131D118EC3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DE452F8-021F-4B94-BD59-CBAA166846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966111E-DE87-4CD9-A244-6ABF160BE1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F071901-DE91-49E1-8A95-6E21BB7757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01419EC6-F8DB-4381-B048-42F5A2FCE5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67239D6-1A81-43D1-BE9E-8F587381AE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428FF753-25FF-4D7C-AE3D-2729F24C55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664C0563-FA06-4685-B28F-77F7DB4134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268797F2-0C2B-4517-B30A-2A47374955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D275D577-CB47-4E10-81C0-E041162771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6B25EBD3-39ED-477E-8892-9AF8E780DC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B029D87-BCC3-472F-A576-2B44D918F4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FE0A2A7E-5379-4D4B-AF8D-29AB63A1A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093CCA7-2AFD-41E3-A439-63B270967D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9CD61B1-4DC4-40D8-9386-CE4A8816BD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BD5F3A5E-DF66-40BE-97D7-5D6FFD6F19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10047478-2E2D-46C3-BAC7-FB8218C04E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3EB7D4E-7D56-4D00-A99F-9F3F15588F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74EC573F-CB86-4E47-A7C6-69B1A4B68B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3489605E-4AEB-4528-A5A6-19DCD01817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F0E1920A-31AE-4FE3-8C44-9DFEC76BEE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DBDF7173-1E71-4F12-8243-158DE931C1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D8304BE6-670E-4F2B-9D59-911FBC2A89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7A17576F-F17D-420C-B6EA-3D258B061C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B5B09A20-15D8-43CB-AFCD-B0D59FB7C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1E0053B5-8229-403A-B23C-A20A199650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3816CFC7-7E4E-4157-8B38-618C15A5E6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D50E48B9-9465-4032-94F3-A4B818D748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1659F264-0E23-42BE-9C0E-B660055C71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7A6E8C33-41AA-4DB9-9F85-9158544C13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06EF51BF-1276-46A5-AA47-E50D56CB45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9CD1079-4808-491A-ABA2-7A1C5A5927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F5B079D1-6353-49D4-BCA9-E8D3BA352D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9B73665C-1912-48AB-9AB8-56AFD343A3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2536154-C4A4-42F9-89BA-832646CF56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91D83836-9E36-4F4D-8B98-B5E0F90173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5D4F0D8-B0EA-4C81-A1B5-26A9E52BB0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B650800A-6361-4DFB-B582-476B8C88A8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75A59998-DE8C-4D79-A485-5FDDDA4681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355689F2-6BCD-4FCF-8E12-FCC6126183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0607593-7B9A-408B-A2AB-01FD2D1F46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4ECF537C-AF34-4B2A-98C8-C9983A850D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0512540794712478</c:v>
                </c:pt>
                <c:pt idx="1">
                  <c:v>0.24649291015885574</c:v>
                </c:pt>
                <c:pt idx="2">
                  <c:v>0.14157458884850535</c:v>
                </c:pt>
                <c:pt idx="3">
                  <c:v>0.09811849706835538</c:v>
                </c:pt>
                <c:pt idx="4">
                  <c:v>0.16179948513587164</c:v>
                </c:pt>
              </c:numCache>
            </c:numRef>
          </c:xVal>
          <c:yVal>
            <c:numRef>
              <c:f>Sheet1!$B$2:$B$6</c:f>
              <c:numCache>
                <c:formatCode>General</c:formatCode>
                <c:ptCount val="5"/>
                <c:pt idx="0">
                  <c:v>1.232753449310138</c:v>
                </c:pt>
                <c:pt idx="1">
                  <c:v>1.8068535825545171</c:v>
                </c:pt>
                <c:pt idx="2">
                  <c:v>1.211139896373057</c:v>
                </c:pt>
                <c:pt idx="3">
                  <c:v>0.6007751937984496</c:v>
                </c:pt>
                <c:pt idx="4">
                  <c:v>1.27539062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957914921906269"/>
          <c:min val="0.07849479765468431"/>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1682242990654204"/>
          <c:min val="0.4806201550387596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MALARD GRAND CRU BLC DE NOIR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r>
                      <a:t>CHAMPAGNE CH DE BLIGNY BLC/BL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r>
                      <a:t>CHAMPAGNE NICOLAS 1ERE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r>
                      <a:t>1/2 CANARD DUCHENE CUVEE LEONI 1CT X 375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r>
                      <a:t>MG CANARD DUCHENE CUV LEONIE E 1CT X 1500ML</a:t>
                    </a:r>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dLbl>
              <c:idx val="50"/>
              <c:tx>
                <c:rich>
                  <a:bodyPr/>
                  <a:lstStyle/>
                  <a:p>
                    <a:r>
                      <a:t>VRANKEN BRUT NATURE 1CT X 750ML</a:t>
                    </a:r>
                  </a:p>
                </c:rich>
              </c:tx>
              <c:dLblPos val="t"/>
              <c:showLegendKey val="0"/>
              <c:showVal val="1"/>
              <c:showCatName val="0"/>
              <c:showSerName val="0"/>
              <c:showPercent val="0"/>
              <c:showBubbleSize val="0"/>
            </c:dLbl>
            <c:dLbl>
              <c:idx val="51"/>
              <c:tx>
                <c:rich>
                  <a:bodyPr/>
                  <a:lstStyle/>
                  <a:p>
                    <a:r>
                      <a:t>DE VENOGE PRINCES BLC DE BLCS 1CT X 750ML</a:t>
                    </a:r>
                  </a:p>
                </c:rich>
              </c:tx>
              <c:dLblPos val="t"/>
              <c:showLegendKey val="0"/>
              <c:showVal val="1"/>
              <c:showCatName val="0"/>
              <c:showSerName val="0"/>
              <c:showPercent val="0"/>
              <c:showBubbleSize val="0"/>
            </c:dLbl>
            <c:dLbl>
              <c:idx val="52"/>
              <c:tx>
                <c:rich>
                  <a:bodyPr/>
                  <a:lstStyle/>
                  <a:p>
                    <a:r>
                      <a:t>DOM PERIGNON 2013 1CT X 750ML</a:t>
                    </a:r>
                  </a:p>
                </c:rich>
              </c:tx>
              <c:dLblPos val="t"/>
              <c:showLegendKey val="0"/>
              <c:showVal val="1"/>
              <c:showCatName val="0"/>
              <c:showSerName val="0"/>
              <c:showPercent val="0"/>
              <c:showBubbleSize val="0"/>
            </c:dLbl>
            <c:dLbl>
              <c:idx val="53"/>
              <c:tx>
                <c:rich>
                  <a:bodyPr/>
                  <a:lstStyle/>
                  <a:p>
                    <a:r>
                      <a:t>LOUIS MARTIN BRUT PREMIER CRU 1CT X 750ML</a:t>
                    </a:r>
                  </a:p>
                </c:rich>
              </c:tx>
              <c:dLblPos val="t"/>
              <c:showLegendKey val="0"/>
              <c:showVal val="1"/>
              <c:showCatName val="0"/>
              <c:showSerName val="0"/>
              <c:showPercent val="0"/>
              <c:showBubbleSize val="0"/>
            </c:dLbl>
            <c:dLbl>
              <c:idx val="54"/>
              <c:tx>
                <c:rich>
                  <a:bodyPr/>
                  <a:lstStyle/>
                  <a:p>
                    <a:r>
                      <a:t>CHAMPAGNE CH DE BLIGNY 6CEPAGE 1CT X 750ML</a:t>
                    </a:r>
                  </a:p>
                </c:rich>
              </c:tx>
              <c:dLblPos val="t"/>
              <c:showLegendKey val="0"/>
              <c:showVal val="1"/>
              <c:showCatName val="0"/>
              <c:showSerName val="0"/>
              <c:showPercent val="0"/>
              <c:showBubbleSize val="0"/>
            </c:dLbl>
            <c:dLbl>
              <c:idx val="55"/>
              <c:tx>
                <c:rich>
                  <a:bodyPr/>
                  <a:lstStyle/>
                  <a:p>
                    <a:r>
                      <a:t>MALARD ROSE 1ER CRU 1CT X 750ML</a:t>
                    </a:r>
                  </a:p>
                </c:rich>
              </c:tx>
              <c:dLblPos val="t"/>
              <c:showLegendKey val="0"/>
              <c:showVal val="1"/>
              <c:showCatName val="0"/>
              <c:showSerName val="0"/>
              <c:showPercent val="0"/>
              <c:showBubbleSize val="0"/>
            </c:dLbl>
            <c:dLbl>
              <c:idx val="56"/>
              <c:tx>
                <c:rich>
                  <a:bodyPr/>
                  <a:lstStyle/>
                  <a:p>
                    <a:r>
                      <a:t>RUINART BRUT (NUE) 2015 1CT X 750ML</a:t>
                    </a:r>
                  </a:p>
                </c:rich>
              </c:tx>
              <c:dLblPos val="t"/>
              <c:showLegendKey val="0"/>
              <c:showVal val="1"/>
              <c:showCatName val="0"/>
              <c:showSerName val="0"/>
              <c:showPercent val="0"/>
              <c:showBubbleSize val="0"/>
            </c:dLbl>
            <c:dLbl>
              <c:idx val="57"/>
              <c:tx>
                <c:rich>
                  <a:bodyPr/>
                  <a:lstStyle/>
                  <a:p>
                    <a:r>
                      <a:t>1/2 HENRIOT BRUT 1CT X 375ML</a:t>
                    </a:r>
                  </a:p>
                </c:rich>
              </c:tx>
              <c:dLblPos val="t"/>
              <c:showLegendKey val="0"/>
              <c:showVal val="1"/>
              <c:showCatName val="0"/>
              <c:showSerName val="0"/>
              <c:showPercent val="0"/>
              <c:showBubbleSize val="0"/>
            </c:dLbl>
            <c:dLbl>
              <c:idx val="58"/>
              <c:tx>
                <c:rich>
                  <a:bodyPr/>
                  <a:lstStyle/>
                  <a:p>
                    <a:r>
                      <a:t>MOET &amp; CHANDON RES IMP EX BRUT 1CT X 750ML</a:t>
                    </a:r>
                  </a:p>
                </c:rich>
              </c:tx>
              <c:dLblPos val="t"/>
              <c:showLegendKey val="0"/>
              <c:showVal val="1"/>
              <c:showCatName val="0"/>
              <c:showSerName val="0"/>
              <c:showPercent val="0"/>
              <c:showBubbleSize val="0"/>
            </c:dLbl>
            <c:dLbl>
              <c:idx val="59"/>
              <c:tx>
                <c:rich>
                  <a:bodyPr/>
                  <a:lstStyle/>
                  <a:p>
                    <a:r>
                      <a:t>MG DE VENOGE CORDON BLEU BRUT 1CT X 1500ML</a:t>
                    </a:r>
                  </a:p>
                </c:rich>
              </c:tx>
              <c:dLblPos val="t"/>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1</c:f>
              <c:numCache>
                <c:formatCode>General</c:formatCode>
                <c:ptCount val="60"/>
                <c:pt idx="0">
                  <c:v>0.09301642038810021</c:v>
                </c:pt>
                <c:pt idx="1">
                  <c:v>0.2521180593154589</c:v>
                </c:pt>
                <c:pt idx="2">
                  <c:v>0.11622807428243577</c:v>
                </c:pt>
                <c:pt idx="3">
                  <c:v>0.1538637901322891</c:v>
                </c:pt>
                <c:pt idx="4">
                  <c:v>0.10070433914400502</c:v>
                </c:pt>
                <c:pt idx="5">
                  <c:v>0.21853902167819494</c:v>
                </c:pt>
                <c:pt idx="6">
                  <c:v>0.18904719186622906</c:v>
                </c:pt>
                <c:pt idx="7">
                  <c:v>0.10206653718848378</c:v>
                </c:pt>
                <c:pt idx="8">
                  <c:v>0.12227970160656604</c:v>
                </c:pt>
                <c:pt idx="9">
                  <c:v>0.16239299431890056</c:v>
                </c:pt>
                <c:pt idx="10">
                  <c:v>0.10310279149361766</c:v>
                </c:pt>
                <c:pt idx="11">
                  <c:v>0.09965083531345513</c:v>
                </c:pt>
                <c:pt idx="12">
                  <c:v>0.09530705098342558</c:v>
                </c:pt>
                <c:pt idx="13">
                  <c:v>0.10680915773058335</c:v>
                </c:pt>
                <c:pt idx="14">
                  <c:v>0.10534239133317849</c:v>
                </c:pt>
                <c:pt idx="15">
                  <c:v>0.1368212693021829</c:v>
                </c:pt>
                <c:pt idx="16">
                  <c:v>0.11404711856767898</c:v>
                </c:pt>
                <c:pt idx="17">
                  <c:v>0.10456583829784273</c:v>
                </c:pt>
                <c:pt idx="18">
                  <c:v>0.10930939674764284</c:v>
                </c:pt>
                <c:pt idx="19">
                  <c:v>0.09536312028652028</c:v>
                </c:pt>
                <c:pt idx="20">
                  <c:v>0.0958303931155163</c:v>
                </c:pt>
                <c:pt idx="21">
                  <c:v>0.09891707962826524</c:v>
                </c:pt>
                <c:pt idx="22">
                  <c:v>0.08848020785479295</c:v>
                </c:pt>
                <c:pt idx="23">
                  <c:v>0.1127237699086889</c:v>
                </c:pt>
                <c:pt idx="24">
                  <c:v>0.11413349698355041</c:v>
                </c:pt>
                <c:pt idx="25">
                  <c:v>0.12490979072476256</c:v>
                </c:pt>
                <c:pt idx="26">
                  <c:v>0.15893228285359448</c:v>
                </c:pt>
                <c:pt idx="27">
                  <c:v>0.12311045144985218</c:v>
                </c:pt>
                <c:pt idx="28">
                  <c:v>0.0496979273258506</c:v>
                </c:pt>
                <c:pt idx="29">
                  <c:v>0.108400737687051</c:v>
                </c:pt>
                <c:pt idx="30">
                  <c:v>0.15595512803389175</c:v>
                </c:pt>
                <c:pt idx="31">
                  <c:v>0.09278670443140612</c:v>
                </c:pt>
                <c:pt idx="32">
                  <c:v>0.1000793156662509</c:v>
                </c:pt>
                <c:pt idx="33">
                  <c:v>0.18463991496173318</c:v>
                </c:pt>
                <c:pt idx="34">
                  <c:v>0.08981040952987995</c:v>
                </c:pt>
                <c:pt idx="35">
                  <c:v>0.20928952361168252</c:v>
                </c:pt>
                <c:pt idx="36">
                  <c:v>0.17113935614739267</c:v>
                </c:pt>
                <c:pt idx="37">
                  <c:v>0.08805396514068944</c:v>
                </c:pt>
                <c:pt idx="38">
                  <c:v>0.09960626852286444</c:v>
                </c:pt>
                <c:pt idx="39">
                  <c:v>0.11792198120039031</c:v>
                </c:pt>
                <c:pt idx="40">
                  <c:v>0.08391230310585807</c:v>
                </c:pt>
                <c:pt idx="41">
                  <c:v>0.13502218572178257</c:v>
                </c:pt>
                <c:pt idx="42">
                  <c:v>0.09284471527602568</c:v>
                </c:pt>
                <c:pt idx="43">
                  <c:v>-0.1270067445616035</c:v>
                </c:pt>
                <c:pt idx="44">
                  <c:v>0.15568010479944105</c:v>
                </c:pt>
                <c:pt idx="45">
                  <c:v>0.16537061298069486</c:v>
                </c:pt>
                <c:pt idx="46">
                  <c:v>0.24750367628973322</c:v>
                </c:pt>
                <c:pt idx="47">
                  <c:v>0.1909649780331952</c:v>
                </c:pt>
                <c:pt idx="48">
                  <c:v>0.02358549456620288</c:v>
                </c:pt>
                <c:pt idx="49">
                  <c:v>0.1360766677559952</c:v>
                </c:pt>
                <c:pt idx="50">
                  <c:v>0.11112981866965058</c:v>
                </c:pt>
                <c:pt idx="51">
                  <c:v>0.14728260918229996</c:v>
                </c:pt>
                <c:pt idx="52">
                  <c:v>0.1459860646441159</c:v>
                </c:pt>
                <c:pt idx="53">
                  <c:v>0.09416048206796025</c:v>
                </c:pt>
                <c:pt idx="54">
                  <c:v>0.16733663062325813</c:v>
                </c:pt>
                <c:pt idx="55">
                  <c:v>0.09401848632945403</c:v>
                </c:pt>
                <c:pt idx="56">
                  <c:v>0.1755059363602014</c:v>
                </c:pt>
                <c:pt idx="57">
                  <c:v>0.14768750909806047</c:v>
                </c:pt>
                <c:pt idx="58">
                  <c:v>0.08432137686614598</c:v>
                </c:pt>
                <c:pt idx="59">
                  <c:v>0.12372807241024059</c:v>
                </c:pt>
              </c:numCache>
            </c:numRef>
          </c:xVal>
          <c:yVal>
            <c:numRef>
              <c:f>Sheet1!$B$2:$B$61</c:f>
              <c:numCache>
                <c:formatCode>General</c:formatCode>
                <c:ptCount val="60"/>
                <c:pt idx="0">
                  <c:v>0.5064745196324144</c:v>
                </c:pt>
                <c:pt idx="1">
                  <c:v>6.664952870608397</c:v>
                </c:pt>
                <c:pt idx="2">
                  <c:v>0.5464343040587021</c:v>
                </c:pt>
                <c:pt idx="3">
                  <c:v>1.2150537634408602</c:v>
                </c:pt>
                <c:pt idx="4">
                  <c:v>0.9421397379912664</c:v>
                </c:pt>
                <c:pt idx="5">
                  <c:v>4.88504326328801</c:v>
                </c:pt>
                <c:pt idx="6">
                  <c:v>2.4312210200927358</c:v>
                </c:pt>
                <c:pt idx="7">
                  <c:v>1.8111353711790392</c:v>
                </c:pt>
                <c:pt idx="8">
                  <c:v>2.263215859030837</c:v>
                </c:pt>
                <c:pt idx="9">
                  <c:v>2.888888888888889</c:v>
                </c:pt>
                <c:pt idx="10">
                  <c:v>1.8855534709193247</c:v>
                </c:pt>
                <c:pt idx="11">
                  <c:v>1.1092057761732852</c:v>
                </c:pt>
                <c:pt idx="12">
                  <c:v>0.9789325842696629</c:v>
                </c:pt>
                <c:pt idx="13">
                  <c:v>2.0798771121351765</c:v>
                </c:pt>
                <c:pt idx="14">
                  <c:v>2.4932038834951458</c:v>
                </c:pt>
                <c:pt idx="15">
                  <c:v>2.483375959079284</c:v>
                </c:pt>
                <c:pt idx="16">
                  <c:v>2.9186991869918697</c:v>
                </c:pt>
                <c:pt idx="17">
                  <c:v>1.4982698961937717</c:v>
                </c:pt>
                <c:pt idx="18">
                  <c:v>1.2581818181818183</c:v>
                </c:pt>
                <c:pt idx="19">
                  <c:v>2.2287581699346406</c:v>
                </c:pt>
                <c:pt idx="20">
                  <c:v>1.0521541950113378</c:v>
                </c:pt>
                <c:pt idx="21">
                  <c:v>2.520661157024793</c:v>
                </c:pt>
                <c:pt idx="22">
                  <c:v>2.834224598930481</c:v>
                </c:pt>
                <c:pt idx="23">
                  <c:v>2.538152610441767</c:v>
                </c:pt>
                <c:pt idx="24">
                  <c:v>2.6510416666666665</c:v>
                </c:pt>
                <c:pt idx="25">
                  <c:v>3.871165644171779</c:v>
                </c:pt>
                <c:pt idx="26">
                  <c:v>2.4367338709677417</c:v>
                </c:pt>
                <c:pt idx="27">
                  <c:v>3.810945273631841</c:v>
                </c:pt>
                <c:pt idx="28">
                  <c:v>4.36</c:v>
                </c:pt>
                <c:pt idx="29">
                  <c:v>1.4911660777385158</c:v>
                </c:pt>
                <c:pt idx="30">
                  <c:v>2.2139303482587063</c:v>
                </c:pt>
                <c:pt idx="31">
                  <c:v>0.8100263852242744</c:v>
                </c:pt>
                <c:pt idx="32">
                  <c:v>5.768421052631579</c:v>
                </c:pt>
                <c:pt idx="33">
                  <c:v>3.3372093023255816</c:v>
                </c:pt>
                <c:pt idx="34">
                  <c:v>1.2927835051546392</c:v>
                </c:pt>
                <c:pt idx="35">
                  <c:v>4.846846846846847</c:v>
                </c:pt>
                <c:pt idx="36">
                  <c:v>4.134615384615385</c:v>
                </c:pt>
                <c:pt idx="37">
                  <c:v>2.1973684210526314</c:v>
                </c:pt>
                <c:pt idx="38">
                  <c:v>2.7777777777777777</c:v>
                </c:pt>
                <c:pt idx="39">
                  <c:v>2.052023121387283</c:v>
                </c:pt>
                <c:pt idx="40">
                  <c:v>1.3831168831168832</c:v>
                </c:pt>
                <c:pt idx="41">
                  <c:v>1.8159203980099503</c:v>
                </c:pt>
                <c:pt idx="42">
                  <c:v>0.9815950920245399</c:v>
                </c:pt>
                <c:pt idx="43">
                  <c:v>7.375</c:v>
                </c:pt>
                <c:pt idx="44">
                  <c:v>3.0549450549450547</c:v>
                </c:pt>
                <c:pt idx="45">
                  <c:v>4.066666666666666</c:v>
                </c:pt>
                <c:pt idx="46">
                  <c:v>10.73913043478261</c:v>
                </c:pt>
                <c:pt idx="47">
                  <c:v>1.7793103448275862</c:v>
                </c:pt>
                <c:pt idx="48">
                  <c:v>0.9032258064516129</c:v>
                </c:pt>
                <c:pt idx="49">
                  <c:v>3.2962962962962963</c:v>
                </c:pt>
                <c:pt idx="50">
                  <c:v>1.4172185430463575</c:v>
                </c:pt>
                <c:pt idx="51">
                  <c:v>1.2588235294117647</c:v>
                </c:pt>
                <c:pt idx="52">
                  <c:v>2.5714285714285716</c:v>
                </c:pt>
                <c:pt idx="53">
                  <c:v>1.929078014184397</c:v>
                </c:pt>
                <c:pt idx="54">
                  <c:v>1.75</c:v>
                </c:pt>
                <c:pt idx="55">
                  <c:v>0.9886363636363636</c:v>
                </c:pt>
                <c:pt idx="56">
                  <c:v>6.764705882352941</c:v>
                </c:pt>
                <c:pt idx="57">
                  <c:v>1.256198347107438</c:v>
                </c:pt>
                <c:pt idx="58">
                  <c:v>3.303030303030303</c:v>
                </c:pt>
                <c:pt idx="59">
                  <c:v>1.924050632911392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0254167117855063"/>
          <c:min val="-0.1016053956492828"/>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2.886956521739132"/>
          <c:min val="0.4051796157059315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8C0A5666-0A4A-470D-A0AD-5C4338B4D4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4CEC4ED-78B5-4936-AF01-8F2D7F4935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D2A231B-1140-4C2F-9610-1E1EAA194E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5311DA6-4B3F-4F70-8F62-4430A85525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13DDCA7-D3CB-4137-983E-E3607E688D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D399E541-EC3A-41EC-895E-886DE263C0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82A469C8-1C2D-4EC8-A22F-BBF6A1E55F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A9D5AE0-74C1-40A3-93B5-066042401C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0D2046D-6EC8-4BDC-9DFE-E15D746DCD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6408049C-2D60-434C-93C8-9AE76ABE45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6F814BED-2C5D-4D4A-A930-CBD9BABA36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C12224E-F49C-4333-BB05-D64E76A051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732F813-1A38-4C93-A083-0C0C043FBF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73FC397D-B24D-49FD-A830-CAFD10C6C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D0A6458-BFFC-4FA0-AF20-E211DDB36A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5D284218-B245-4BC8-BA7E-F372A0B410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30E6135-08A9-4462-BE29-275E5D6A44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A0C013A4-CE81-433A-A775-30ED012A81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B3B3072-3DCC-4C0E-B550-26FD808E24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42AB589-CCEC-475A-901C-45B7D8F646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70B5015-48A4-4871-8534-8854F39CE3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75FE9A78-8735-4D91-B98E-D3F784155C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65676BC3-0E41-46D7-9FB6-BA873B30BA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6FA4A825-007E-4B03-8375-3A02E4FFEB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7BCD38B1-D353-4644-9F9E-794237E1CD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FD0DD1E-0BE9-41E3-B5E5-5BA464F619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C0AA9810-AAA0-44AD-B49D-898972A6D4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624BF86C-1B45-4C88-BF7C-FFD3B76892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34FA07A-44AB-4DD9-8785-31593918FC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4B5C3C35-F458-4F1A-A81D-FBB5A34533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25A7C521-6FDB-408C-A039-425D85D19E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816F2C3F-C9E4-4868-8CF0-4EBA79F87B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13F09956-B242-4F21-A74A-90F89328AA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CCFCED34-B8EA-4D1F-86EE-BDEFD2DF5A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72956831-01B0-4FA6-B82D-4BE6B1C184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303525E-2E59-45B3-8BFD-83436A7A2F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1D1AE398-3A0C-495B-87D2-AB2390BBFD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7A7E72F-FA91-4A26-A6E3-57EB1EF272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B124C6D9-6E0F-4297-B511-761D2A085F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A2203A6A-8B46-4A98-A16C-6FF65E02BF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983A2257-E9BC-4B57-B71E-6EEBBB8CD4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3F9ECEA-C82B-43B1-BDC6-707A8AF1E6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2F42AE40-BC4C-4F76-A35C-0A3B138814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82743112912719</c:v>
                </c:pt>
                <c:pt idx="1">
                  <c:v>0.24887436965112658</c:v>
                </c:pt>
                <c:pt idx="2">
                  <c:v>0.14140975973818332</c:v>
                </c:pt>
                <c:pt idx="3">
                  <c:v>0.17199367480231842</c:v>
                </c:pt>
                <c:pt idx="4">
                  <c:v>0.09986491824849678</c:v>
                </c:pt>
              </c:numCache>
            </c:numRef>
          </c:xVal>
          <c:yVal>
            <c:numRef>
              <c:f>Sheet1!$B$2:$B$6</c:f>
              <c:numCache>
                <c:formatCode>General</c:formatCode>
                <c:ptCount val="5"/>
                <c:pt idx="0">
                  <c:v>1.090218423551757</c:v>
                </c:pt>
                <c:pt idx="1">
                  <c:v>1.8103254769921437</c:v>
                </c:pt>
                <c:pt idx="2">
                  <c:v>1.4536928487690504</c:v>
                </c:pt>
                <c:pt idx="3">
                  <c:v>0.956738768718802</c:v>
                </c:pt>
                <c:pt idx="4">
                  <c:v>0.656370656370656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9864924358135186"/>
          <c:min val="0.0798919345987974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1723905723905723"/>
          <c:min val="0.525096525096525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BRUT MILLESIM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DOM PERIGNON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DOM PERIGNON 201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ROEDERER BRUT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ROEDERER ROSE 2016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RUINART BRUT (NUE) 201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73424A0-FEF5-4654-A0F6-32BAB4DD99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4A2743AD-2C88-43C6-84FC-53060CE8F9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60F74F4-37BB-42C3-8322-714CC86D3B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DB27AD21-1255-402C-A757-C5A6365CBA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02B9A167-37D9-4E49-A4C4-F7370E5670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33DF44B9-25F0-4E60-81F8-DF992039A5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4A015D8A-89FD-407C-B87C-FF60873190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68581443-7343-419B-B397-D83E547833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D1D71C11-A882-4FC0-A6CF-B193FC10A1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9B2A479E-500F-4CF4-B1D3-1341F8A620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4F021717-61F1-4553-9E03-29A4FAF981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E5E7DCAA-7F98-4617-A995-31A02A37A3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B11DBBB2-F095-4935-B33D-B97DC36CE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77C0BEA-F05B-4998-A68E-860846A55D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2BC0DD2-A546-4162-AD82-6ACF57A77B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EE6BA18-F5F7-4DCF-B4E2-6C1A9ECB6A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007FC38-AC7D-4EFD-ACA5-7AEF6337BC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0183B9F5-725F-4162-B50D-531DA043A0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839E38D-0CC1-4973-9DD9-B419A82944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E4DE034-263B-4482-9DE9-14BE5B0A7E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7FB974C5-B17B-4DF5-8857-0C5EB670FA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C315CF0C-416F-4482-8562-00DDDEB1CD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52CE66E3-9C43-4217-9752-0FBFF1E284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884659FD-A36B-42E4-B392-9D552464AA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4693796-3F0D-458F-9C65-80C31068FE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C3A558DB-5BD3-4C35-B990-A08614170A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1D9860C7-5A17-4071-AD91-2DE0918EA6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E2429279-3DEA-43E2-9171-8839E6D6A6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72E1D82-1A24-4A4F-8BEB-308F112557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2D5BD962-61D4-4764-B885-F6D1233CEA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84A75DB6-BD4B-4E9D-822A-410F5AB098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AE9121E1-BBAE-4F88-BBBC-9856B73EBA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82545C5F-5384-4A32-9DA4-334C9366EC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5B3BC32D-C03B-4E3A-9968-778375C428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6694FB29-07B3-496C-99B5-0BB9F9A8D2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CCF1B874-BE1A-42E6-9D00-36B72B557B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9848EDB7-AA41-44FA-8825-B4607AB812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BA7E99F1-D0DB-46D2-B5C4-DA769AFC66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A0198C4A-1975-4A2E-A69D-FCBBA1D6B3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41F5D9B8-7239-4E38-A7C5-3AFBFFF0EA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BDF313AE-ADCE-42ED-8325-30F285A5F7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F37E5E6-F973-4270-B9D7-E9FE328064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9708500374766131</c:v>
                </c:pt>
                <c:pt idx="1">
                  <c:v>0.06678861872961227</c:v>
                </c:pt>
                <c:pt idx="2">
                  <c:v>0.1515983401159681</c:v>
                </c:pt>
                <c:pt idx="3">
                  <c:v>0.13092494895925197</c:v>
                </c:pt>
                <c:pt idx="4">
                  <c:v>0.09332564538294205</c:v>
                </c:pt>
                <c:pt idx="5">
                  <c:v>0.05844372044395382</c:v>
                </c:pt>
              </c:numCache>
            </c:numRef>
          </c:xVal>
          <c:yVal>
            <c:numRef>
              <c:f>Sheet1!$B$2:$B$7</c:f>
              <c:numCache>
                <c:formatCode>General</c:formatCode>
                <c:ptCount val="6"/>
                <c:pt idx="0">
                  <c:v>4.631147540983607</c:v>
                </c:pt>
                <c:pt idx="1">
                  <c:v>4.121212121212121</c:v>
                </c:pt>
                <c:pt idx="2">
                  <c:v>1.3857142857142857</c:v>
                </c:pt>
                <c:pt idx="3">
                  <c:v>2.3442622950819674</c:v>
                </c:pt>
                <c:pt idx="4">
                  <c:v>2.608695652173913</c:v>
                </c:pt>
                <c:pt idx="5">
                  <c:v>3.812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819180081391617"/>
          <c:min val="0.04675497635516306"/>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557377049180328"/>
          <c:min val="1.108571428571428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CREMANT BOURG PATRIARCHE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BOURG PATRIARCH ROS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0A1EBFA7-9AA1-45A8-B4F5-194A3895F9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C0C0E9A4-E3DC-4E62-B367-EFED20F12C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30119C39-8558-418C-8075-497B319E21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A05E8F04-3009-4383-A16D-20A58F448B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18D2385-FF9D-4D94-9EF7-3F13A59A8A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F3D4842-60DB-469F-B868-9AFED8A608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F045092-226A-490E-83D8-9BE6D244EE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F4E79398-755C-4C47-A243-EACFFDD7C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EED3D291-7150-4401-BDF1-DD98FE0888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F6207220-2AB3-4635-BB9D-08A2B91017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07532719-D846-448A-995E-2601E7115A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DC5BCB7E-7BC2-492C-8062-13E909F105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E1AE23A6-F93C-45CE-A9D6-B93622399C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1C593AD-0C54-47F7-BA89-B02A746153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08563158-3CBC-425B-92D3-14D5312D85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1400C830-4316-4B4E-A05E-60112A1270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59477310-4CF6-41E7-A9AC-9726AF1AC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1D1FBAAF-4022-4685-8D70-CFC9D9C2B2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DF9B1ECC-54E7-4C5B-949E-07D5FA0215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CAC7212-952D-433B-AA6B-558141F255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05CDA1D8-E626-4673-9836-B3CCB89609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07C98289-2570-4C71-A08D-81F26C686A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56626E9-7E42-4E2B-A88E-57A641CBFB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9007C457-E7C6-4273-88F8-4690D1540A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F0AB1C8-33DF-4092-9726-E173D0FBC0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49A164F3-9D10-4EBB-B775-564FC855AF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5CB8C8C5-983B-4977-B613-4DA9A64BA2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DF0EDC9F-9FA1-4005-A608-E6E439C24E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7B9A801D-222E-4118-90E0-C0980B5507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1B0FB3FF-7030-4FF2-BB7F-C03C330EE1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FDCE9429-992F-490B-A2EB-BC582F9E32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4EB1E5E7-C1AE-4746-8AF0-ECEBE1446B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2A383265-9213-4E72-9348-310C03D49E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D098D0B-EA0B-415C-8748-E4A27AED8B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ACF5C8B-2CAF-4357-AB82-1FEFCDD38D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7E446DAA-F865-4474-A552-420E900E4C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E24D2423-1E1A-455A-A3F4-3B0348F9A4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030D6C87-7355-4C89-82B6-4925E5F5A9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924B8CC-3C62-442F-A11A-C97F8FE68E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C817DAF0-DAF1-4529-83DC-C3B09E6784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7E3F0305-1154-43B7-A031-F30D8B9BF4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D9F81AB-15A4-45AC-89DC-4D5D7B7D63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B75773E-88D7-4F0B-A6B7-C8A1E76B01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5624ACE5-65AF-4BBB-84E1-6FC9B53F1D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4251F995-F025-4ACE-9213-FBABA11765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72600486-B17B-448B-9E0D-FBA98D2E60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4415820629963264</c:v>
                </c:pt>
                <c:pt idx="1">
                  <c:v>0.22645563813103747</c:v>
                </c:pt>
              </c:numCache>
            </c:numRef>
          </c:xVal>
          <c:yVal>
            <c:numRef>
              <c:f>Sheet1!$B$2:$B$3</c:f>
              <c:numCache>
                <c:formatCode>General</c:formatCode>
                <c:ptCount val="2"/>
                <c:pt idx="0">
                  <c:v>1.6608375517717442</c:v>
                </c:pt>
                <c:pt idx="1">
                  <c:v>1.825816485225505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9298984755955915"/>
          <c:min val="0.18116451050482998"/>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1909797822706065"/>
          <c:min val="1.328670041417395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CHAMPAGNE CH DE BLIGNY BLC/BL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DE VENOGE PRINCES BLC DE BL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HENRIOT BLAN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BESSERAT BELLEFON BLC DE BL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773D459-2F65-4384-BAF9-AA997DFCA2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189A742-7E91-4F6B-BA7A-E874FAAF1A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E5FC3C18-1AD6-4AC5-B8C5-809FF6B6BA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4CA70E1-7B49-47E6-BE3C-FBFE7BE9BC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8E6E896-390A-487D-AD7E-E6A40E8E6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F54372B-BAF2-4E40-A53C-53E4905696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E6EFF0F7-14BA-469A-A80A-885A9AE139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79F2CBE9-6057-4FDC-83A7-D6F9495F2C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C5053F5-1C6B-4596-9B85-F0A179E762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AC734B05-DCA0-4F3E-BCC3-49EE9B57F8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2703F920-1295-4141-8F48-1AF9C82DFF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5A6A7A7D-6D73-4036-8FEC-ABF9E2DB7A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E19D0EBE-889D-4E69-A1FF-0C5742BEB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F1CB1392-76C0-4CDC-AC9A-72E5E1F157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CB46596-389E-4D75-8C4F-B977A7C6A2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5C49195-80ED-49BF-AF5A-EB4291C95E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A0133F8C-5561-4A70-8D27-AD0AA7D992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2F36948-98B1-48F9-9FB5-35E776E34C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D1C6FE29-8666-4738-AF40-0798ECF0C1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3238690-BA04-4FDD-A3EF-5129B6034E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C7601555-3669-4D9D-A9D5-FB5DAE96DA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D3A2A110-B9BB-420D-8966-6042B71ABF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CCF3F2C4-6AEA-4B2B-910B-5485BA8CA2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6569DF6-BFA7-49F1-BB26-EA679B65E4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EE40FFFC-F11B-448D-866D-B74408C3F9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97B5BB0D-42C3-45B4-B189-59A727176F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D9998BB8-93EF-4B82-A2DD-32019BD12C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E8769472-8E9E-4BF6-9B1B-CC9796C45D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51BE5162-CB0A-4D19-A94B-EAF7568FA4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227CC00E-A196-4D52-8D15-633BA7E9EE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E2540265-AB9B-4BC7-9C3E-98D9A81295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33ECDDC-4E3B-45FC-9B57-16F6C02DD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79562ABD-8CBA-415B-A68A-10870CEC3D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7FCE5C84-D591-4057-AAAC-91CB9B6902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2AB49BC-CF76-44D4-BF5B-B95FA2DC2B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A8439B83-F38D-4ED1-ACBC-89F8958193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EF3ABC38-27E3-4AB2-B4DB-0B53214E9A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59BB5AD-713B-4B92-A54A-372746970F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EB095E2E-DD48-4392-B05C-67A1BF07AF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DE6CECA-BE44-4080-B632-9F55E7FE5A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DABB032-B7EA-48F8-9FCD-9956630A3E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9E3D9A70-C36C-4054-AEC9-BE2DA27A96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10534395833133577</c:v>
                </c:pt>
                <c:pt idx="1">
                  <c:v>0.20095354039737715</c:v>
                </c:pt>
                <c:pt idx="2">
                  <c:v>0.1496178383479038</c:v>
                </c:pt>
                <c:pt idx="3">
                  <c:v>0.0472176076311833</c:v>
                </c:pt>
                <c:pt idx="4">
                  <c:v>0.21862373326439327</c:v>
                </c:pt>
                <c:pt idx="5">
                  <c:v>0.11710594351828522</c:v>
                </c:pt>
              </c:numCache>
            </c:numRef>
          </c:xVal>
          <c:yVal>
            <c:numRef>
              <c:f>Sheet1!$B$2:$B$7</c:f>
              <c:numCache>
                <c:formatCode>General</c:formatCode>
                <c:ptCount val="6"/>
                <c:pt idx="0">
                  <c:v>1.916044776119403</c:v>
                </c:pt>
                <c:pt idx="1">
                  <c:v>6.0</c:v>
                </c:pt>
                <c:pt idx="2">
                  <c:v>3.121739130434783</c:v>
                </c:pt>
                <c:pt idx="3">
                  <c:v>2.5689655172413794</c:v>
                </c:pt>
                <c:pt idx="4">
                  <c:v>2.3783783783783785</c:v>
                </c:pt>
                <c:pt idx="5">
                  <c:v>2.9069767441860463</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623484799172719"/>
          <c:min val="0.0377740861049466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199999999999999"/>
          <c:min val="1.532835820895522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7B17CA5F-483F-483D-8FE8-9B2395DC0C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E599F0C8-8824-4C83-8169-05CBAAA59F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A0A6484D-D3FB-4528-B07E-CA75EC5728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CC27C50F-375C-4C57-A30B-119D4E4A53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7E1C290C-D6C8-46DA-8E61-FBDBF4B845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9795B3B-D9C6-48AA-8BB2-B17132DC7E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51DA8723-F3F4-45AC-8E52-9E5A9E8A71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C93E281B-CA62-4C33-9BA4-78C87BE074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1442070A-9B3D-4314-B186-9A66BAB889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237DC1E9-E4A8-4F3A-B4B5-31DEA61020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220960F4-CC97-44D4-8B74-BD6B69D4F8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14841FF5-6C96-4BAB-8524-88E0ACEBB7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E26AD56C-C218-4930-B54D-C6C0F90041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8D30EC6A-1306-4B80-891C-F1C217FF16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7D8FBAFA-5ABB-45B0-B1A0-A960EEA6A6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BEF4C31-C2E5-4FAC-BA3D-865E102F7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4BD8C223-D0CA-4610-8792-27FFA9431D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D5819B4B-0975-4933-BDAA-C0980B8B12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193D528C-CB1A-40D0-A332-A64AAB7612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E548AD6C-548C-4B2A-8FA6-569D1A8F94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FA48385-CC2C-4FFC-BEB4-CFCE9D3818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614DDE0-22A9-48A8-9076-DAC9EDEAD7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106C1CC4-31BD-4DB0-BDB4-6587662726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0C8056A0-54D7-48B7-9D11-6B30D6783D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2368CB5F-BB68-48B9-8578-6FF510C5C4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6E86186-E786-4DEC-930B-763BB86493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51CCEA1-08B2-4F66-8E64-4C4C31E0B1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76A104D-396C-41CA-AA4F-4A72A57B66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B0AA9324-CF4D-4EB1-AB39-97A02CF15B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BDA43B24-49F9-4582-8E25-17559884E6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BFC4884A-386E-40C0-A241-F989161EEE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09E73E34-5A95-4463-842C-2B0E654664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6171FA22-34EF-4CFE-9003-092EF2C724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99ACCB07-2691-4BE3-B2C7-ECBB5B3C03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61BDEE1-5F84-40F6-AF68-FADC94F81E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3A47DDDE-C4AF-4290-B397-3368AD6EA2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9FE48C7-0816-4EBB-AE11-F9E88C01FD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B107038C-273E-4F77-A4C5-D7E4F38D044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0968FD45-6C42-4217-BDD6-7BE94247E1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8FC66F1C-F75B-4A3F-95E8-4FE624ECB2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4DE01DA-0A20-4264-800C-E0D1DEB27A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7B32F95-2E33-4E24-A99C-95A3B2BB51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D7A51BFF-7F68-478B-A906-7DEC0135B3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7CDD5A9-97D7-4444-BEDE-860BF3E013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62FF43C7-35A9-4170-B534-4611D6C93A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11933019880805053</c:v>
                </c:pt>
                <c:pt idx="1">
                  <c:v>0.11187311118650316</c:v>
                </c:pt>
                <c:pt idx="2">
                  <c:v>0.11301109160637207</c:v>
                </c:pt>
              </c:numCache>
            </c:numRef>
          </c:xVal>
          <c:yVal>
            <c:numRef>
              <c:f>Sheet1!$B$2:$B$4</c:f>
              <c:numCache>
                <c:formatCode>General</c:formatCode>
                <c:ptCount val="3"/>
                <c:pt idx="0">
                  <c:v>0.7118800461361015</c:v>
                </c:pt>
                <c:pt idx="1">
                  <c:v>2.4791666666666665</c:v>
                </c:pt>
                <c:pt idx="2">
                  <c:v>4.02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4319623856966063"/>
          <c:min val="0.08949848894920254"/>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83"/>
          <c:min val="0.569504036908881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LOIRE NATURE 2015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CB34E18-FB6A-48F0-98B7-2F5669D3DE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AC5649BE-0A5F-479D-8DD7-F9EB6AA3E7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E9306507-FBF7-4BBF-8018-ADC3A0F2D8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332F2F76-865E-424E-92A9-6B96467FBB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FD1EDF15-7B49-4647-9C8D-BA926878FE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EA70DC6F-2262-453B-820C-CCADBEBBE9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7E2791D8-ADB3-4D60-B3E6-EEE69CE920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514473D9-8570-4077-98D4-D1DE259F7B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8F2683BC-DA93-4C1A-B68B-5FE31FCD1F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838432B-519F-4B84-8506-68BE8F6108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423F77D2-756C-4DF6-A772-6674BEA824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8F4DA776-F8EC-406E-B7B1-76288BD2A5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6D3B1BAE-F2C3-40BD-9CA6-25D51041DE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302CAFE8-FE1C-497E-B0C1-063169FDD7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888F4E86-93F7-4BD6-93C9-0BF1B78FBD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65D6D621-0F4A-4D95-840B-34452E9C2C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51EB663-DCE6-4E88-B75E-27A63F147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F8D01419-B609-4298-9583-8CB6778747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6C6AC42F-0AF9-408E-9328-15D2776249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8288286-CD65-4663-AAD7-3B92727463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126AF89E-0509-4576-97E2-9ABF428DF4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8E142FC-B4E6-4CE3-B475-76187201DC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9528D593-8849-4591-8EAA-32058BC75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B73626E-14B7-40AE-A7FA-6EA6D591B6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0A158B13-E063-47A0-BA85-D5D0514A68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495B863-7D8A-45E6-8D78-753DAE9B1A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23FE328-598E-42D0-8C89-1BF5A2CCEC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D01C25EF-F6E1-4B45-8C5E-57DC48DD35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E4657C80-D889-42A8-AF1F-4BD3F5FCFA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A7C4479A-0943-4F49-898D-DA94E5604F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6B046D27-CA72-410A-8C8F-CC33130784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DB24B64-1A20-40BD-96E4-755030771B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238C7C38-62BD-40CC-A677-70973AD80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8FC2F98D-7D13-4458-9710-471DACAB60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6DAE87B2-9926-419D-9846-105E9E462E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583FF73-6124-4820-B996-E32A3C5F5B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CBCBDA1C-E5DB-4016-BC83-04659FCD8D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102664D1-080B-425A-8E00-7DF3A78EDF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087121D-CF1C-45F3-883D-9049A0D521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0DAFDEC7-88F9-4E9F-9C23-83666AD1D1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6F9BF13-3B8E-412F-BF12-44195617AE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92AB58B2-C59F-4509-8EE3-D0E206BFEC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FEE3BDE-8FC2-4545-9E6E-1CD0996D36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0AD7DA17-537C-4F92-9E42-8DACCDB574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606912F8-7693-4264-AF14-837410E9C0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7FC53843-18D4-4A51-8FEB-6A18CEA5F1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970874913601927</c:v>
                </c:pt>
                <c:pt idx="1">
                  <c:v>0.1781585117485478</c:v>
                </c:pt>
              </c:numCache>
            </c:numRef>
          </c:xVal>
          <c:yVal>
            <c:numRef>
              <c:f>Sheet1!$B$2:$B$3</c:f>
              <c:numCache>
                <c:formatCode>General</c:formatCode>
                <c:ptCount val="2"/>
                <c:pt idx="0">
                  <c:v>1.1619348054679286</c:v>
                </c:pt>
                <c:pt idx="1">
                  <c:v>3.942857142857143</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1379021409825735"/>
          <c:min val="0.1117669993088154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731428571428571"/>
          <c:min val="0.929547844374342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DF36260C-0376-4BBD-BE17-04A0FE9A2B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E9384AA-02DC-4C08-8C30-4DB632FAD8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8F649743-429E-4A11-BF77-CCE392FCE9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B2EA2891-0B4F-451A-B7CD-A4607FC528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62AB7FF4-8F0D-4B79-A203-45D398A7B0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809683B-11BD-46CC-B619-A06B625A73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8FAA0409-8689-413E-A2B3-CB57DB2C63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7FD9127-882D-40DE-9039-A95486A52B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19E1593E-B8C7-40F0-84DA-DC43DE207C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660ADFB5-7DDF-4D2D-A289-EBDE1B9C96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52A5EA13-CE89-4BF0-9396-37FFCBD9B9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E783316A-0B5F-489C-87C2-42BBA553D1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1984B89E-755B-4E36-B625-C7540CAF9E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583D6D7-EA53-4116-B4A6-A2209B59DA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3F6214D1-3310-45C8-8EA5-1DD31AD623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9C14439-798B-4B19-9543-6959719BB7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DE0AF4F-7089-4608-B426-F68398C09D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42AFE13-C3FD-404F-9D6D-B208CB470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851F28F-5D4B-4569-AECC-D61A6E209F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A5FB7970-9DDB-46A6-8BB5-84B6D2430E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1582721-D5D8-4351-8C78-4721C498B9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38AB089A-16CC-47B6-BCED-4509BDD653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39082134-758D-450F-9226-7354B93877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456AA515-DA63-4710-A92A-A4067C0300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F2DCA907-E220-4771-B855-98C4A63C2B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4B6BE868-6776-4AFE-9C6E-58925077FC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FA5424A-588B-450D-BA26-1E1B069902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079D5BF-E896-49AB-BB86-DC015C9D6B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252EC9E-6C18-451F-BEAD-BF9F113B98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1B4C198-D682-436D-A37D-06020E17C1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BB4F752B-6D75-4415-BC42-E09C9B1D24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619DB154-CE86-4964-8BFA-3DE7F89E9B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6CE2A99-9340-49DD-BD00-CCB1EF932E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73EDA61A-BCB6-4320-86D2-9EF09CCECE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507D812-827A-4FC5-B031-116A05744A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A63491D6-F103-4B4C-A61B-7A2945017C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AEA9265-E2BF-4EEB-8739-0E8A59114F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366BCAC9-013F-483E-9A89-E422BBCF8B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974E22D9-09F7-4F91-9DD1-8D22D070DE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0D17B05-F375-4902-AF03-BB5D672D61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3AD4AB5-654A-4A30-A7B3-1868176010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2E721969-2404-493E-9F69-84EDAB72AD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0EFAD54-111F-4CC8-B8CC-5296AE4572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A97C3B0F-5603-4D65-ADDA-85DBF0D50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0312BD9D-6926-4A7E-860C-DA7778AA59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6A9C2225-9222-4CF7-BC1D-B21A6097DF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84A2D0AC-4119-400A-B55D-923E6AB9E9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2085568147230878</c:v>
                </c:pt>
              </c:numCache>
            </c:numRef>
          </c:xVal>
          <c:yVal>
            <c:numRef>
              <c:f>Sheet1!$B$2:$B$2</c:f>
              <c:numCache>
                <c:formatCode>General</c:formatCode>
                <c:ptCount val="1"/>
                <c:pt idx="0">
                  <c:v>1.6012269938650308</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4502681776677054"/>
          <c:min val="0.0966845451778470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214723926380368"/>
          <c:min val="1.2809815950920247"/>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284FA0BF-7957-4CD9-8218-0F96B3E042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1DF9B272-7F4D-48A1-A4DE-C14AD95EB3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38FBB235-BD7E-4F77-B174-C4132424FE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699B2F55-C353-4A59-BA12-FCF9D7786F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C917CF1-A165-4AD7-A1A5-AE677CD083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CE723676-2B75-4109-BCCB-1886B6C068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BC64DEC-D17D-4A9D-9413-3B460F608D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92996BB-3F2F-4CBF-BC88-1772201728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7CE7BF32-D129-431A-AED1-BCEB117531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34C5D94D-AE17-4742-ADE9-83FF140E9A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B16EC6E3-8E52-4695-8173-0FA938B9EA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78DB5C65-3CDF-4B30-BFA5-A876DFE434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F7E2DFA3-ECAA-46A2-A02A-F6388776F5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5F351ED7-5B76-4383-86AD-407B7D5B8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2006447-F9A6-4A99-B23B-6D05AA89B7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85ECFDB9-7685-4CE3-8D92-C8D62D776F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D8588A82-421D-4D8A-9603-6632B55BEA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45158BC7-481F-4979-B57E-334D610E46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F9F2EB92-9B21-4152-B762-CE8D8764FA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D7369752-B5A1-4E65-8E27-5FAA003E5D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5ED9A2FA-E76D-4C8A-90BE-4342A53F0A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8722B6E-C2BB-40FD-B844-5C978E0FB8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978EED24-AE85-4A5E-A94D-0DD0E058CA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AC978D1C-9DB8-413A-95F5-FC25328341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F0CF0FC-E2C8-4FE7-A0F7-F600CB161E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E0E0264-5211-4254-BF6E-7B98AACAEE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2E042303-A5F0-45EE-9FF4-78CEFBD9D6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554C310-69FA-4278-BD4D-0AFD58490E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E2ED7358-EC67-4FFB-84A1-D029CBE6B9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67A4E8B-DE8D-4885-B76A-C069D8771A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8DA033F-46C4-4D3E-A76A-4770344642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895D05E1-B597-4193-9A6D-105AA53947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72B6092A-535E-4258-88F4-36B6DD5DAB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7EF4287-53CA-4F00-9160-FCD63BA5DB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889CE9E-5668-4398-AD60-43E375FD9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F84863E-29DC-43E5-8B4C-8DFDBC8999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4BEAECD-DAE1-436C-B5F0-0522E7CCDF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3A82DD0F-E7E9-4F02-BC3D-02A6F3F05E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65600CC9-62DF-4B23-963D-B8A0CDD2E7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1611C5B4-CAA8-4E6C-8A67-0EE7E05731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FE5BF80-C6D0-427F-8524-9CF03A0EEF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90450C6B-0DBE-44F4-BF99-411AA65528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D44CA361-D0FD-4394-AEFB-7F49370D66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8162251026862336</c:v>
                </c:pt>
                <c:pt idx="1">
                  <c:v>0.1406522509249325</c:v>
                </c:pt>
                <c:pt idx="2">
                  <c:v>0.15195390726726313</c:v>
                </c:pt>
                <c:pt idx="3">
                  <c:v>0.05399806455546547</c:v>
                </c:pt>
                <c:pt idx="4">
                  <c:v>0.10650248738010629</c:v>
                </c:pt>
              </c:numCache>
            </c:numRef>
          </c:xVal>
          <c:yVal>
            <c:numRef>
              <c:f>Sheet1!$B$2:$B$6</c:f>
              <c:numCache>
                <c:formatCode>General</c:formatCode>
                <c:ptCount val="5"/>
                <c:pt idx="0">
                  <c:v>1.4285714285714286</c:v>
                </c:pt>
                <c:pt idx="1">
                  <c:v>3.0833333333333335</c:v>
                </c:pt>
                <c:pt idx="2">
                  <c:v>0.9328358208955224</c:v>
                </c:pt>
                <c:pt idx="3">
                  <c:v>2.1</c:v>
                </c:pt>
                <c:pt idx="4">
                  <c:v>2.22641509433962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8234468872071574"/>
          <c:min val="0.04319845164437238"/>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7"/>
          <c:min val="0.746268656716418"/>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3235EB73-6F3F-4A50-93AD-3BE20F7E28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0A33F927-4FEC-45CE-8512-D23ABFCF73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393A2D06-9857-4A21-941D-98E9D630BB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8F56C767-668A-4CDC-9F6B-D3AB934E47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47DB432-AC12-42C8-81D1-145BF836E1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7AF0211-B5FF-4433-A3A7-5A3B9D827C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09114750-52D8-4B28-8DEC-0F6FE2B74E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595AE8D1-EA4D-46C3-8305-88030B740E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E8C3A2F-7FFF-4BC2-8910-58AAC82262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7B7F963-831C-4A08-BA5B-53F7620823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1E8A6A78-14B8-415F-8164-F6B8573DA4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1D7D00D3-DFE4-4422-9041-30DBA5082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E7336D24-D26A-4ED8-8291-F0B3D34F99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1C4203C7-7E8B-414D-AC1F-0AA5EE4B9A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9BC41F8F-F553-40F5-97E5-E0EC07F8D7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39A5225F-27A8-428E-87D6-CB70802575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DC3AD876-59F9-4D44-A8A9-85E8950FFE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29C1E52E-4442-46AE-8A53-5612C56B1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C3CC025-544D-4338-BEB6-8FF8861BED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15F0E809-C171-4065-8EA7-219808D21C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A02048D4-6762-4ECE-BBEA-6186838F79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F47E3E0-679F-49CA-91AE-0A429F815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5F14F9B7-82C1-4EB7-AD0F-6F1CC86416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D09A177-5FB2-4C56-8D69-E48E65B9B5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611414A9-98DF-4946-A784-B13D100B26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F8160689-0815-4364-A8F0-DFE85D0248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5E9587B4-748F-444C-A80E-98D66A1BF8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1344684-0730-46B2-AF44-FA4E84B511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94AA2836-DDAA-484B-9AFE-2E21F6ABDB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0CB5B4B-00A7-4703-957F-D0BC0F97C8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EF760A19-A560-415D-BC18-DCE4294AB7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D906D8D0-1437-4E82-AE06-13625E4C69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6AC429C-98D2-4DC2-A443-1F85AF41AA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EE45FF1-94A4-4D75-A2B3-CDDC719ED5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AB8358D-E346-4C7D-B8D1-7C7EECE436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996C1772-05AA-493F-89DA-36EF97027E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47C09B3-840C-41CF-BB1A-06B5822167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AD45B4CC-A5A4-417E-A505-66BA559230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F406FD3-A201-4851-B998-B3E010D064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2BBA42E7-6D85-467E-A408-A37E70480B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59EB9977-535D-48AE-81E1-F828222539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3DC5F98E-0645-47BE-9164-101117BF81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7D0AAAF5-1682-4DCC-81FB-29B947906F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579669C-19A8-49AB-B909-8EAB4A901F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55D9652-5E95-47E8-8DAF-454C287682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E17009B-2DC8-4B75-92AE-4013629967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8B703D5C-91B2-4F58-92C7-62AFD5DEA6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1638903863968819</c:v>
                </c:pt>
              </c:numCache>
            </c:numRef>
          </c:xVal>
          <c:yVal>
            <c:numRef>
              <c:f>Sheet1!$B$2:$B$2</c:f>
              <c:numCache>
                <c:formatCode>General</c:formatCode>
                <c:ptCount val="1"/>
                <c:pt idx="0">
                  <c:v>0.1000953288846520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3966684636762583"/>
          <c:min val="0.0931112309117505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12011439466158244"/>
          <c:min val="0.0800762631077216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4F54DFBC-E1D8-4267-9B5D-887D9CA6A8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7E2B94A3-ADF7-47D3-B3C5-8D4F6D7BDC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FFF15DA8-5BF2-476C-82A7-53C1F42225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B6510B7-A760-4D33-92A5-8EF85CE544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C357432D-43C8-4B6B-94E0-931022ED0B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AD11B776-F6A7-4926-AF3D-25B39E1B1B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98CF884A-9B78-41A6-8880-0DA1C328F7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E5CD907E-3DE5-452E-BDEF-6905B096A0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59090941-8347-435D-AE2F-D9098D824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EB58825-4819-4C2D-8887-8CAD359F95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52D4F6E-C45B-42D8-8661-22D301D0B3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24EFF477-0C5F-4180-910B-0A6DD446AA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3C107DA-8648-4598-AFAD-AB0D36E332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4AADC99-D9E5-42F0-B975-6B285EBDDE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1370E95-271D-4A7E-B6D4-71D835B0C6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B429E4A2-F950-41AE-BAA6-728A95227E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B07B333-C022-42F9-93C5-E8292DEC42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6DFFDB81-CCDF-468D-9FB3-761DAAA6B1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69096304-22D0-4A05-A31A-73687D0E33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C624AA3-FDF9-43C3-9A08-F844166CE8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68684871-BAB5-471D-A042-1C9CE8625A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4226DA57-6C1B-459D-88D7-1609516811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D352DD73-AA95-40A6-965A-A9E173997A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AF82D19F-3642-485C-9D29-BC9C35A424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5642226-C62F-450D-A0DD-76906C2BA0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B082EF4B-71CC-4A05-94D5-C12B694E9B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32A96BB7-A087-4241-8F71-C59E37A4AD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0919024716872783</c:v>
                </c:pt>
                <c:pt idx="1">
                  <c:v>0.09770628413781382</c:v>
                </c:pt>
                <c:pt idx="2">
                  <c:v>0.24743816472363014</c:v>
                </c:pt>
                <c:pt idx="3">
                  <c:v>0.20679671457525814</c:v>
                </c:pt>
                <c:pt idx="4">
                  <c:v>0.06866542735013507</c:v>
                </c:pt>
                <c:pt idx="5">
                  <c:v>0.1597700653597343</c:v>
                </c:pt>
                <c:pt idx="6">
                  <c:v>0.13350170724110041</c:v>
                </c:pt>
                <c:pt idx="7">
                  <c:v>0.13028741408995034</c:v>
                </c:pt>
                <c:pt idx="8">
                  <c:v>0.09891252089006</c:v>
                </c:pt>
                <c:pt idx="9">
                  <c:v>0.11206587429102716</c:v>
                </c:pt>
                <c:pt idx="10">
                  <c:v>0.09140673693208552</c:v>
                </c:pt>
                <c:pt idx="11">
                  <c:v>0.11167823168038835</c:v>
                </c:pt>
                <c:pt idx="12">
                  <c:v>0.08610352721811564</c:v>
                </c:pt>
                <c:pt idx="13">
                  <c:v>-0.10207306525601945</c:v>
                </c:pt>
                <c:pt idx="14">
                  <c:v>0.04563775511176187</c:v>
                </c:pt>
                <c:pt idx="15">
                  <c:v>0.18790061892246554</c:v>
                </c:pt>
                <c:pt idx="16">
                  <c:v>0.10717505738874523</c:v>
                </c:pt>
                <c:pt idx="17">
                  <c:v>0.06754333610597466</c:v>
                </c:pt>
                <c:pt idx="18">
                  <c:v>-0.1402450407757031</c:v>
                </c:pt>
                <c:pt idx="19">
                  <c:v>0.16078178641460877</c:v>
                </c:pt>
                <c:pt idx="20">
                  <c:v>0.22125045227693677</c:v>
                </c:pt>
              </c:numCache>
            </c:numRef>
          </c:xVal>
          <c:yVal>
            <c:numRef>
              <c:f>Sheet1!$B$2:$B$22</c:f>
              <c:numCache>
                <c:formatCode>General</c:formatCode>
                <c:ptCount val="21"/>
                <c:pt idx="0">
                  <c:v>0.6113843991567112</c:v>
                </c:pt>
                <c:pt idx="1">
                  <c:v>2.1742627345844503</c:v>
                </c:pt>
                <c:pt idx="2">
                  <c:v>5.496710526315789</c:v>
                </c:pt>
                <c:pt idx="3">
                  <c:v>6.775147928994083</c:v>
                </c:pt>
                <c:pt idx="4">
                  <c:v>2.515837104072398</c:v>
                </c:pt>
                <c:pt idx="5">
                  <c:v>1.1749049429657794</c:v>
                </c:pt>
                <c:pt idx="6">
                  <c:v>5.517857142857143</c:v>
                </c:pt>
                <c:pt idx="7">
                  <c:v>1.9855072463768115</c:v>
                </c:pt>
                <c:pt idx="8">
                  <c:v>0.8073701842546064</c:v>
                </c:pt>
                <c:pt idx="9">
                  <c:v>2.8879310344827585</c:v>
                </c:pt>
                <c:pt idx="10">
                  <c:v>1.8644067796610169</c:v>
                </c:pt>
                <c:pt idx="11">
                  <c:v>1.2209302325581395</c:v>
                </c:pt>
                <c:pt idx="12">
                  <c:v>3.685185185185185</c:v>
                </c:pt>
                <c:pt idx="13">
                  <c:v>2.9134615384615383</c:v>
                </c:pt>
                <c:pt idx="14">
                  <c:v>6.946428571428571</c:v>
                </c:pt>
                <c:pt idx="15">
                  <c:v>5.203703703703703</c:v>
                </c:pt>
                <c:pt idx="16">
                  <c:v>1.5</c:v>
                </c:pt>
                <c:pt idx="17">
                  <c:v>2.9047619047619047</c:v>
                </c:pt>
                <c:pt idx="18">
                  <c:v>5.852941176470588</c:v>
                </c:pt>
                <c:pt idx="19">
                  <c:v>3.0684931506849313</c:v>
                </c:pt>
                <c:pt idx="20">
                  <c:v>3.48214285714285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9692579766835614"/>
          <c:min val="-0.11219603262056249"/>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335714285714285"/>
          <c:min val="0.48910751932536894"/>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F3DCA811-38AB-40E4-9F4E-E4C8FC0E7E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731B6DC-9E40-47F4-AB4A-C06D6B388C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1F65D202-6CD8-4173-AC69-4836D69F63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88E0CBBD-9763-40C0-B302-6FB4A1B946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784DE867-A59B-43D1-812D-E3460A966E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0C85E0EC-9AF6-4FBB-A3C0-D4675DFBAE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36F3519-9BF8-4F1C-887F-315668C565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7685D0E7-635D-445B-A6F3-0603AB731B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6FC85D66-6616-4224-AAF1-3982C0D27F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FAA1885-3135-4531-ADED-E4566ACFC9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EDC3F5A0-3AFB-4391-A8F9-9C48AA42B1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513A1130-7433-42F4-A664-4E7417DFB7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F12F81EF-F283-4DA7-8B9A-EABB012FA6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442F6DDD-5C71-47CD-B1DD-783052785A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C6311FCE-8C23-4C57-BC97-126BE36F5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A1547E03-8F4B-4DFF-9314-3A5FB85BD1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83A456B3-A1F1-4CFB-8652-C029A565C5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DD24548F-38B8-4D91-9A6B-E47DE32164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753ACE18-A8EF-4388-98F1-01CA67946F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1FD887E1-53F2-45A2-9449-2CB88668ED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6BF8C1B-B9E0-4B80-A9A7-B1BC4CF510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29795EB1-5311-47C9-A4EB-FEA5D73844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BAFFB1CE-5764-46AE-9049-E7B2A01F97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5A42471A-0C52-46FA-AECA-B766DB34A9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B23C8C3-804A-4225-95AC-E52AA6FAE3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E2B0FDF4-0855-4E01-AA73-369BDE2617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A012D364-5DC7-4D31-A269-1BB366F09D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CCC8F375-2950-4BB2-A079-1DB67E3C1F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5F21339A-1549-47E4-97D2-7C7DC26A87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E80E724-F24B-4F4E-B819-65FD48D641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8656DA25-9EB7-4BBA-8B59-E890844F08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AA0B54B0-A4D4-4802-A9E6-C59991D766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7112F8D-7BB3-4501-B48B-2939440083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E3DD9EA-A54C-4628-B6F1-8C628B1588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C3E518B0-59F3-45A6-BEAC-2814B0320A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8433B06-04F0-4E57-AF0D-DCC3280C56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D487FB80-B6CD-4B16-A0BA-F29FB6E89B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75A3123A-11F0-455F-A6A4-760B5DA5FE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7DBE1710-34C7-4DE7-85CF-E9ADD0509D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9D0C902-D347-476C-9383-EAF22F2A6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DB61FCB-F0F6-449F-B06F-768330B926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68BC58C7-F835-457C-BA85-A2C4CDE7BB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023E9D11-1AEE-4554-ACFD-ACAEC37F6A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05D2417F-B0D6-4098-8594-C3A729F8DA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1785596450324386</c:v>
                </c:pt>
                <c:pt idx="1">
                  <c:v>0.10946602625414678</c:v>
                </c:pt>
                <c:pt idx="2">
                  <c:v>0.10164224716981714</c:v>
                </c:pt>
                <c:pt idx="3">
                  <c:v>0.036445013657482934</c:v>
                </c:pt>
              </c:numCache>
            </c:numRef>
          </c:xVal>
          <c:yVal>
            <c:numRef>
              <c:f>Sheet1!$B$2:$B$5</c:f>
              <c:numCache>
                <c:formatCode>General</c:formatCode>
                <c:ptCount val="4"/>
                <c:pt idx="0">
                  <c:v>5.25</c:v>
                </c:pt>
                <c:pt idx="1">
                  <c:v>4.415584415584416</c:v>
                </c:pt>
                <c:pt idx="2">
                  <c:v>1.7142857142857142</c:v>
                </c:pt>
                <c:pt idx="3">
                  <c:v>2.212121212121212</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142715740389263"/>
          <c:min val="0.0291560109259863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6.3"/>
          <c:min val="1.3714285714285714"/>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GRAND CRU BL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NRIOT BLANC DE BLANCS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HENRIOT BLANC DE BLAN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DE VENOGE PRINCES BLC DE BL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CHAMPAGNE CH DE BLIGNY BLC/BL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BESSERAT BELLEFON BLC DE BLC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57611F43-D4B9-40B9-94C3-87C9537D6A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E262476-3E89-4064-BE1B-6FA0D5D80F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9BB3BD0B-B12C-4E3C-87CC-3BC6125D96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06AB1EB-6F29-48C6-8AFC-962D955F86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F3644E0F-1B84-4BFF-9CFA-813E3B4491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5EEE821-1E5D-45C0-A07C-76F91EE23C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B023A8D3-4874-44E5-9D59-F4BF93B822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ACDA4F97-073F-403F-B099-084D153E4F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7742F19A-D97C-4580-8425-C50AC2581C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19E2A3A-DAFE-4E15-AA55-1BE8334222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4828DB3A-8784-47E3-BD65-1D69900E0D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8B083846-967D-492E-B4DD-5C95BFFA6C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6D63702-EC02-4914-9AEF-E5CA6A625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1DEA544-A974-43AD-B0BE-E2154D0C99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5F6BC461-35CE-468F-A306-B7D61C1F79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4354D565-1D4D-4111-A547-49C87883A1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5326A9AA-7C3B-4859-A740-00E8A3CD53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459AAC67-BB57-4BEF-AD08-543D6D34E4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D860AC33-C6E2-4EA1-ABEB-2F58187D63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7237678B-F10D-436C-BCB6-E3D280B946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37EEFE88-D62B-4E20-824F-BDF303BB60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6B59F762-8E4A-4D1E-BD00-73AA6B24DF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5AAB4824-5986-4BAF-B7B0-6E5AFF9D79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3C0C443F-146F-4314-94F6-27A0895F59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7850118-2AE1-4CD3-B029-BCFDED8DF8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BB23348-8D33-4C78-B9DD-A9B7E3FA7F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AA113BAD-A34D-4C6F-8E2A-63F34E1831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5F6831B8-9A98-4903-912D-EBE87D25BA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A30DDB86-2048-4808-BA2C-47CDBDE252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EEEAC297-D6AA-4E82-99C9-40F510DC87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F414AE53-6BFE-468D-8EDC-E418AE74CA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D11DBC5B-7E08-4FBA-BDB5-D3126CFF38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5FC58175-2DBF-4A5B-B093-F63053F20F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E317BCD1-AB80-4971-A660-6079A3FAB5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7A711A9-B3B4-4049-8988-7F9275383B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2556629E-4336-43B2-BDE5-173546DD64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11D2F518-0331-4D3F-815E-48D1CCABC4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60FEAE7-9F4B-45DB-A146-2248C5454A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F0270EF5-D71C-4E16-AB3D-C691CA973E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72D2A63F-8778-422A-993A-C5113B7B26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3FE6C99F-7231-4E3B-BD2B-7CF773B4BE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9B48C98F-6C38-433B-9CC0-B3E8FA266A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10366940081068998</c:v>
                </c:pt>
                <c:pt idx="1">
                  <c:v>0.13311449590082067</c:v>
                </c:pt>
                <c:pt idx="2">
                  <c:v>0.1440604026501708</c:v>
                </c:pt>
                <c:pt idx="3">
                  <c:v>0.1465007252037346</c:v>
                </c:pt>
                <c:pt idx="4">
                  <c:v>0.18165332817802946</c:v>
                </c:pt>
                <c:pt idx="5">
                  <c:v>0.09805989607880282</c:v>
                </c:pt>
              </c:numCache>
            </c:numRef>
          </c:xVal>
          <c:yVal>
            <c:numRef>
              <c:f>Sheet1!$B$2:$B$7</c:f>
              <c:numCache>
                <c:formatCode>General</c:formatCode>
                <c:ptCount val="6"/>
                <c:pt idx="0">
                  <c:v>1.4883374689826303</c:v>
                </c:pt>
                <c:pt idx="1">
                  <c:v>3.580858085808581</c:v>
                </c:pt>
                <c:pt idx="2">
                  <c:v>2.0759493670886076</c:v>
                </c:pt>
                <c:pt idx="3">
                  <c:v>1.6437246963562753</c:v>
                </c:pt>
                <c:pt idx="4">
                  <c:v>3.7130434782608694</c:v>
                </c:pt>
                <c:pt idx="5">
                  <c:v>2.381355932203389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1798399381363534"/>
          <c:min val="0.07844791686304226"/>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455652173913043"/>
          <c:min val="1.190669975186104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19BCF5B-48A2-4980-B788-4013B9A9C2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D2945D08-56DF-464C-BA7D-1FAC4C0442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14F38D48-C394-434D-80B3-A0B4D821F7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30AC81AB-73A0-470D-9A49-88F2621A7C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EDC8B25-E7F2-42E6-8366-0B5F6A650E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1DDE929-8D82-4068-85B9-54DA152E19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60F6814F-7D10-401B-8F20-FFB890C251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7942967B-87D2-4CEC-AC0F-6AFDC56785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5FE3E6C3-ED29-49AB-90AD-A63725CFED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D3F0A5F0-CF4D-4ECF-B9DC-1A3447756E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13439CF5-8306-4921-AE70-BC698DDC20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C0F23EF1-CCED-4496-8A7F-AB8C7C12C5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DFE0A15-8B86-4305-B052-26C0A4369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B059F13-27CA-4A9C-AA4D-8EB80D3C6F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DD24688D-985D-4D2B-A856-1C2DE31B2A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D42CBC0A-C43F-4235-8163-DCCF4770BB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FC7CCD66-50CB-481F-A352-E116CBEC68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D6637218-27A8-430B-8DF3-BBC7D75998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92B51085-7A40-4738-B897-7792AF12F8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F0A8F22F-FD81-4E04-846A-1BF52E63C4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8400627E-B243-477C-A60A-7E6ADFD7D2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D7FF0690-E1BC-4726-AC03-A4EABDF38F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94D216A-11F9-49CC-816E-89402A4DA9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D7CB5E94-6F13-4139-BAEA-A841DD60E4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97E18D73-30F1-4480-B66A-AC29064A72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CE95F6E7-05AF-4190-8FCD-9D4441DDDF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33859CCE-8683-47F5-B4F7-BC27785AB4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A7505A79-CAA8-4856-A067-3976FE7310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6B29C212-3796-42D1-92AA-F94C1CF2AB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493E47E-4F0B-422A-82E9-3AE82F840F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3C1332D7-D84F-4CC3-A311-8A5A3BE733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97BA91B-764C-45B9-A63F-80158BD8CA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4E02047-8C0E-43B5-B191-5A41CB170A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D3640FFB-C62E-4FD5-B128-5775FA5B62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FFAA8F29-4706-4E43-98DA-B155905D3F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B2ADF763-254E-4353-8288-B3F64B89F6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84EFD050-2D61-465F-8B4C-E4A510DFF9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230A767-4377-4D57-936B-FB3C82BE3D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FB714AA-50A8-4B7A-9CB6-5A82AA3A3D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C7E2E0CB-0C9E-4EC3-806C-A5F76C3071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2106199-9701-4F35-A5D8-A7784BEE53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A38D250D-4387-468F-8988-B6A4BB87C2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9683264284078699</c:v>
                </c:pt>
                <c:pt idx="1">
                  <c:v>0.11784045601060644</c:v>
                </c:pt>
                <c:pt idx="2">
                  <c:v>0.0690658880508925</c:v>
                </c:pt>
                <c:pt idx="3">
                  <c:v>0.1198553733223908</c:v>
                </c:pt>
                <c:pt idx="4">
                  <c:v>0.13462263580185097</c:v>
                </c:pt>
                <c:pt idx="5">
                  <c:v>0.08430431200333849</c:v>
                </c:pt>
              </c:numCache>
            </c:numRef>
          </c:xVal>
          <c:yVal>
            <c:numRef>
              <c:f>Sheet1!$B$2:$B$7</c:f>
              <c:numCache>
                <c:formatCode>General</c:formatCode>
                <c:ptCount val="6"/>
                <c:pt idx="0">
                  <c:v>2.1869158878504673</c:v>
                </c:pt>
                <c:pt idx="1">
                  <c:v>3.03125</c:v>
                </c:pt>
                <c:pt idx="2">
                  <c:v>4.117647058823529</c:v>
                </c:pt>
                <c:pt idx="3">
                  <c:v>0.9483568075117371</c:v>
                </c:pt>
                <c:pt idx="4">
                  <c:v>1.2035398230088497</c:v>
                </c:pt>
                <c:pt idx="5">
                  <c:v>1.9090909090909092</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6154716296222116"/>
          <c:min val="0.055252710440714004"/>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941176470588235"/>
          <c:min val="0.7586854460093897"/>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A8DC118A-0979-424B-AA03-0F4B43A8CF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2D1B6FAD-9CF4-48E5-9051-8511046781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06A942B4-51A0-40BA-91E7-5E2E85E774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4A2C708-6F00-4399-B8E4-1C5F5B1AE6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F0F3261-8947-4161-9C67-53F42D73E3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FB80468-E719-406E-B89E-2C6CB9C81E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E400138-C6E0-4806-A723-58F4945606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8953C975-FA09-4DB3-B783-628063563A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301CC0A-7BA7-42CD-AA49-A78F9636E7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F0BDB4A-1B4B-4A83-A2F4-D9622C19AA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713A20A-92CF-4747-BA87-7D2C94D958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E5E11FE0-9C0D-4C2C-9888-A6F9D63D9F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3BDF3684-3311-4846-9866-7FA09498E6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1AB2D349-066E-4982-A0B8-85DE43E16E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91D161E-E379-4294-B65E-49D9BB6BA8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87FF1AC5-2619-4E62-BC96-3FECA384F5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CB43D418-7276-4F31-8D15-09F8A8936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08353C7-3B13-4A4B-BC90-0F4CCEBDEE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C3582574-EE84-44D3-922C-B6A7BBFFA5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E3F06B3-DA57-457A-B4F0-D16F72E1EA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1D1FE530-952E-46B1-A873-1A9A691119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66AE7519-57C1-4804-9FAD-6F3F0B91B0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6DC6C06-C4ED-43E9-885F-16212D2C88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24C9959-DB48-4B46-AC71-128C396E99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F69C1B30-6934-4CEC-B624-F2736BC066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FF45D33E-7801-4872-A4F8-02A13B8AC6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7BB7EAC7-88A2-4E2D-A6FB-EDCB83B550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1AACAE9-5359-4EF7-857D-72E3AA5FF7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1B544914-7CB2-42CF-8B8B-30E5BF2A16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EC18600F-FB6C-4F06-A3B4-8D74C1DE6E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789702C3-100B-4C2A-B510-EA6E61E8FD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AA718CF-1D63-4E81-8DB7-DA6AB65AF4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5FC86AA0-8D8E-41B2-8F97-C32ED86163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BBD0739A-5AE7-4C95-8A16-E633E8F699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74630E4-829A-4AC7-BE02-08FF4EB69B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F30D535-4B87-4678-B200-58D069D9F6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8C01953E-576C-495B-BF5A-6A4E6F6BA4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B6A44BD9-9862-4E30-89FE-B1D380B5CF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1394A53-9086-423D-A929-F14969C5B1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5061E17B-421F-43EE-BDBC-EFD98A67A0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8D7CA84D-DFCF-4CA0-8D28-343B58E2B4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A1DFC1E-B893-4FE1-AD9A-AA1887DCFE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E75FA297-9504-4434-8D67-6514ABCD19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57461076-C128-410A-82CC-2E0732F87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86B6BE0-28A8-4AC2-8FB2-AE9772163A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623EC301-3F1E-4152-81E2-5A901649C2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1738179814588914</c:v>
                </c:pt>
                <c:pt idx="1">
                  <c:v>0.08969383613560801</c:v>
                </c:pt>
              </c:numCache>
            </c:numRef>
          </c:xVal>
          <c:yVal>
            <c:numRef>
              <c:f>Sheet1!$B$2:$B$3</c:f>
              <c:numCache>
                <c:formatCode>General</c:formatCode>
                <c:ptCount val="2"/>
                <c:pt idx="0">
                  <c:v>0.8185920577617328</c:v>
                </c:pt>
                <c:pt idx="1">
                  <c:v>2.98305084745762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4085815777506697"/>
          <c:min val="0.0717550689084864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5796610169491525"/>
          <c:min val="0.654873646209386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3E459844-7CA2-43B1-A853-C79343AB1E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E26FCDB7-27A1-40FB-8580-3CB46A3B2C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C6B4FDD9-A57F-4029-8569-70DF6577FC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03EE4D62-D2B9-4C74-AF49-17F78AAEE0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8D71F149-FB53-45E0-BDF4-6051DF2F2A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5F2F543-39C0-4BDE-9753-79E8F7BCD72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436BAD83-DA7A-4F23-9EAF-306272CC81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C297E377-4FE8-46F7-AF03-FEB5FAD7BD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DFBB95C2-769B-4A12-BD7D-9C195E614C4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FE62A15C-8983-4FC6-8940-80F6297EB1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586453A-CCF7-48E3-9EC9-63F1923492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739594B8-6B28-42DD-8292-93200DCA9B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01E31C54-0EEA-4C90-8313-8B8B1624A2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A8830476-5350-4206-BBAB-A027613B52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B8BA715-0630-4816-B73E-EE3CF034BA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D8203B59-EF49-4683-8DA8-A6C89DBBAC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ACB44ED6-5F4D-4942-84E2-1E1CF9FA81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21DA6C5-5088-4164-8EB4-E2504CB04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CCC9805-CE69-445F-A666-39E91E376E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0F2EF57D-F914-4DA4-A824-A71F16F0F6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4EEB680-C080-41A6-9CF5-3973A99B7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35C094C-8FBD-4C83-AAAF-577C98B1DD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8D199A33-AB29-4A71-95C7-CAB7EE9053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2470498-DA90-49FD-AC71-5BB16370E5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9964277-C0CD-416F-AE61-CF606C0C6B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C4443D87-023A-492A-9965-129CDCDFEB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ECF2CF1-184A-4589-BC16-6E122D267D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9F8FAF9-8EB5-42A2-AD77-5ED05FB972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1153F84C-A923-4735-A887-5771BFC40A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78C88944-0386-4BC9-A216-737C4BA4C9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0C0BF306-8AFA-4257-AAA2-BFE64BC1D2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0AF019C7-0CCF-46CE-8ABC-3047B72835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CBFC492-B988-47A3-9241-2067980275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213645D0-74C9-4D68-B67C-5C05F339FC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4833620F-3354-4368-8928-CC97424EE0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A378F211-B67A-4F4E-A504-3F19731126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3D931D8-6BEA-4B82-86BB-D1B254649A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491CB250-FBBD-40FE-8E65-720C705BD4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CB37C96B-5AA5-4AAC-B7F8-E772B091AD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9B97A2FB-DB9C-4089-9A4E-DD05400991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CD35D953-115C-4BF6-8C47-D37850BB09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44EA694-6DE1-4ED1-A3E3-CB176FCB54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8BC7EE39-40E8-48FC-A1FD-A66BCFE4BE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DBC7BA4-8F14-4B99-8F8F-5A1B922B30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9A9D2296-483C-48C7-B855-BD53E943D7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3FA550B-D297-4A54-8E8E-63CA1927B6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7445324-D9A5-4A02-B2F6-4EDAE2BD81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7964254128244167</c:v>
                </c:pt>
              </c:numCache>
            </c:numRef>
          </c:xVal>
          <c:yVal>
            <c:numRef>
              <c:f>Sheet1!$B$2:$B$2</c:f>
              <c:numCache>
                <c:formatCode>General</c:formatCode>
                <c:ptCount val="1"/>
                <c:pt idx="0">
                  <c:v>2.163120567375886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1557104953893"/>
          <c:min val="0.14371403302595334"/>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595744680851064"/>
          <c:min val="1.730496453900709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942DC93E-6912-4DEC-AA70-65D23C3C61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D76C24BC-57BC-4D0F-8882-8F8AFB368F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E0DED02F-9ADC-49A5-BCAA-C44FC7D785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ED7E84E-1C83-429C-8C41-817826B2BA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9A684E6E-5F0C-4433-BA96-89B72E9697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DC764F7-6069-408B-B0BE-2DCEEE0013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D37FEB45-63C5-402D-B0A4-7B8D55DA6E2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CDE75440-0377-4188-BB0E-AEF92E1D77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5D30CCC2-DC60-48EC-A127-FBEB256ECB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B6643E11-72F3-4D79-81DB-46851ED907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77461DA8-DB67-4FAC-ABE8-5CE7212A73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6A958561-2A6E-4371-85A8-9E8A8E3141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7C38BDE-B745-4892-B28D-D8875BC2A4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17D92CBA-683B-49C3-8D11-15B9A20C48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99436B0-FE2F-431E-835E-2C73762531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B8F37E17-E3D9-40B3-80FA-9983C5417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AD54500-3B52-42DC-96F2-F663CE9E4D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9FDAA3B4-DEF7-4F46-80A7-E6E15B764E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A1926485-E0A7-49F5-9268-AB41889718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FEF48B57-7A54-41FD-969B-8202FC5795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1268FAFD-0BCB-4D48-AC76-F1AA3BB2CD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C7534321-D932-4722-8210-8DC3A0647B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3B5A343-269A-4C8F-98B7-ED80C5ECD9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C286A081-3AD6-45C3-BEAB-9C3BDEFAC6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8BD82AD1-F026-4B1D-93F5-3C095AE699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6D0C5EA8-493C-4953-818D-A4E630B1FE1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D36CD8D4-BE1A-4BEB-868E-B69E54DBEF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5B9039E6-C847-491E-9EBC-567FBD9718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AE82601-AB18-4D6F-82D0-25A1CE509E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333F9B3-FF18-4E53-857A-3D5CEBF8DE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0031C5B3-C044-4A7F-B43B-E9334F4A3A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95731D1-37E3-462A-AA8A-2FA5078806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8B7F44F6-2B3E-431A-BBDC-3093185302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B4F640C7-D8B8-4BA7-BD8D-D3A2A47349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493EB6F2-7064-45CE-9785-D52CFF358B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C8BE190F-F68C-4A12-95AF-6E5018759C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049C71EF-1658-4AC3-94F6-649018209B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E86B8F3-FD0E-4B47-94DA-F06C6F51DC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D9CFF38B-63E9-444B-80F1-5A512C0CE9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01633986-9481-406C-8B80-6FE17E2779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8550867-23B5-4939-9F20-6A2EF13A1B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11EE0320-5BE6-4D45-BDE7-8528C014C5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0654071D-1419-4F1A-B640-E63B515811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A46135F-E90D-4312-A4B1-EB8D8D21D9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00C557C8-2E7B-4B46-83C2-ED00A96C2F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12819892795460522</c:v>
                </c:pt>
                <c:pt idx="1">
                  <c:v>0.17054551222648437</c:v>
                </c:pt>
                <c:pt idx="2">
                  <c:v>0.11056169175753525</c:v>
                </c:pt>
              </c:numCache>
            </c:numRef>
          </c:xVal>
          <c:yVal>
            <c:numRef>
              <c:f>Sheet1!$B$2:$B$4</c:f>
              <c:numCache>
                <c:formatCode>General</c:formatCode>
                <c:ptCount val="3"/>
                <c:pt idx="0">
                  <c:v>1.220703125</c:v>
                </c:pt>
                <c:pt idx="1">
                  <c:v>4.4603174603174605</c:v>
                </c:pt>
                <c:pt idx="2">
                  <c:v>2.567567567567567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0465461467178123"/>
          <c:min val="0.088449353406028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352380952380952"/>
          <c:min val="0.976562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54EEB4A4-193D-4422-8D4F-B956610E08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9EE70474-7E1A-42C0-ABD0-33CB0783C6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621951F2-DC2B-4CB5-9124-A7B9C8875D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706695FE-57E5-4AA7-B396-71397A85DB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B4C65B13-4C9A-449F-B2A9-A11B69F62C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537D13D3-25FD-4A5F-95CA-F0CCB1445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64F7366-7019-4A3F-9FAD-0121713E31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783C9606-948E-4B73-9038-C34ECCF821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74FDF448-6D26-4BB3-B800-93F2C8FCC7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B1504E2-2792-443B-BEE3-086294E18D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2377FA72-03F2-4161-8FBB-3A8E0AFC8F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6FB94C58-DDE2-438D-8FC9-660FD6ECB3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20F5BA55-0860-4E8C-A227-191033AB14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752BAA88-1F8F-4EE8-A75F-C62D7ADFC6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0FA4E65-79D0-4286-8A46-0E0989C2EB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F8BD75FD-D42A-488F-8E45-671A986574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5D6F2AFD-F920-4511-9CF5-D2443209D8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B2DB4B5-B2BA-4D2D-8298-E011A4546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AA5D3AC9-4EB0-4E3E-BE21-E1FE453682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30A745A5-28F9-4964-B416-5AFA0B6783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145824B8-E0B7-4A8D-AA72-51AA1D5F50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2887284-C7F3-468A-B981-DFCF9A47A6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C1AF1271-E605-41B5-BEA1-0F93F4984E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8FD47A9-E170-4362-B67F-30D50BE413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843AFF9-EC94-483C-B6D9-378E261148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90D0B64E-2929-437C-B2D7-07497D5363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9F7820AC-0C9F-466C-B9E2-E83EF2EFD4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4D1EED1-AD8B-47EF-90CD-6A808EA73E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17B78479-20B4-48E4-AA2F-F1CADCF474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A48A5C9-88B7-49CD-810C-ADE91FC3F8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CB05572-7A59-4065-BDEF-BAD08D47EB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CB6E9E16-3BE3-48DB-ADD6-9C2DF70A68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16A95FAC-AA2B-4932-8CF1-48D8F435EC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8A82CF85-1119-41F3-81B3-B2F8DCE1A5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100B9325-9358-479D-81F5-5E00746765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7579C883-7C8F-463F-85D4-6F59D0AD5B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3592983-D982-4A05-A5B3-8CDE28BFCA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D68FCD3-0B18-401B-BA53-750C63AF58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B39C9BE7-B2E9-4A5E-ABC7-342B56C0D4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659A6996-A688-4B0A-B46E-472F9E2551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1B8EBA7C-2521-4B9F-B804-CFA4DEFC4E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A3958169-238F-4BE8-8A84-F5FFF314AB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A6FE467-5C20-4A31-B06D-4077F0E039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DAB86D2A-8781-4BEB-BC51-98B7E5271E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612EA08-116E-4C3C-B18D-45464D81D4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E3AC7D85-0FE0-4288-981F-36A7FD2359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D95F1B6D-B253-4AB0-B9C5-FE4FD2525D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6427924892941131</c:v>
                </c:pt>
              </c:numCache>
            </c:numRef>
          </c:xVal>
          <c:yVal>
            <c:numRef>
              <c:f>Sheet1!$B$2:$B$2</c:f>
              <c:numCache>
                <c:formatCode>General</c:formatCode>
                <c:ptCount val="1"/>
                <c:pt idx="0">
                  <c:v>3.857142857142857</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07713509871529357"/>
          <c:min val="0.0514233991435290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628571428571428"/>
          <c:min val="3.08571428571428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OET &amp; CHANDON RES IMP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954A998-E6E9-4322-9986-93F9BE09EE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C01EDDE0-CC20-4EEF-9210-F82A404976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10986C2-E553-4444-8EB1-2D8EE7A824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A02D08B7-537E-4870-8C6A-2CDCF6732F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7E276113-4641-47E7-9CF5-A50128793A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CFF3FB9-622C-42D0-9DC7-BB697B114D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E54EA7E-69CA-42E0-ACC7-BD4E716093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F63D44A7-FDFB-4D64-ABCF-BC3C165434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83C9819-70A0-4C2A-992A-C12C05F29E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A1ED684-375F-4BD0-8404-DDA33BE323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C8813A2-9995-4002-8AC3-C56CBD08A7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C4F79A1-E4BD-4D61-A2D8-5C1BBBBB5D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984D8E13-687B-4A69-BDAB-7AFA3847A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6212E594-07C6-422E-921C-306F410E2F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F7433C66-F281-40A6-BC79-6238A9A3B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E4DFF39-FBDF-4072-8C9B-32AE1A8A20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4173B7FE-07C5-4CEC-B541-5E7F5E8C45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A77FB243-97F9-4EB4-ABB4-EFDC3F7ED1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E8440CE-18A3-4CFC-8635-D2EB675786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08BA0014-F650-45A4-9553-F7C316786C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8D5619C1-5BDD-4A2B-ABFE-9E45A27107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7F9C7C5A-FEE5-49E6-964B-6452F773F2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6CB987B3-4628-49E0-97CA-B99A1F9A4F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2E13642F-3D92-4696-BF34-7F9F04846F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A45CA5CE-D2D6-41D0-BF8B-2D1FDE0EA8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A7C868CE-CA49-4DC5-9000-4798042601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CE11F6F-452F-41AD-8371-F447B72A81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4A1C4969-E90E-490E-B1F4-6337B59E9B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271009DE-30E2-457C-9C55-C1F2B806B9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6AFABB46-ABE7-45A7-A625-9BB24789D8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36309E4-3ECF-440C-A7DA-DCF385FAE4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EFFDCC66-DBD4-4C7F-84D1-7A26F89491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AAE33F3-8087-447D-984E-8156CD5415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E15DEA45-D97B-4600-B782-547A8A12A4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E9E94DB0-FBC1-4432-A23B-AD709FD6AD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CDF1B5EF-74B2-485B-A047-0865772584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D081BDC7-09E9-41ED-A233-F113A0AA8E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626FDE1E-C68B-4F83-85E7-A33015EFF7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B0B34B1E-0E36-48D3-BEE1-9834BB9146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737D979D-34D2-4F85-9AEE-A97FEC1F3A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1EE5D407-440C-4222-ADA7-0BB2857351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2F2423E-CB1D-43D9-B110-660B02E669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0EB35A15-371D-4E5F-B201-57B176F4F4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1CE7BA14-9DE6-4B3E-99D3-B4A361E192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1864575685525681</c:v>
                </c:pt>
                <c:pt idx="1">
                  <c:v>0.2146358425870609</c:v>
                </c:pt>
                <c:pt idx="2">
                  <c:v>0.080386374583649</c:v>
                </c:pt>
                <c:pt idx="3">
                  <c:v>0.007922581477053334</c:v>
                </c:pt>
              </c:numCache>
            </c:numRef>
          </c:xVal>
          <c:yVal>
            <c:numRef>
              <c:f>Sheet1!$B$2:$B$5</c:f>
              <c:numCache>
                <c:formatCode>General</c:formatCode>
                <c:ptCount val="4"/>
                <c:pt idx="0">
                  <c:v>3.868014268727705</c:v>
                </c:pt>
                <c:pt idx="1">
                  <c:v>3.229090909090909</c:v>
                </c:pt>
                <c:pt idx="2">
                  <c:v>3.5522388059701493</c:v>
                </c:pt>
                <c:pt idx="3">
                  <c:v>0.5720823798627003</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5756301110447305"/>
          <c:min val="0.006338065181642667"/>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641617122473246"/>
          <c:min val="0.4576659038901602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NICOLAS FEUILLATTE RES EX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MALARD ROSE 1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MG RUINART ROSE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BESSERAT BELLEFON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646F7B9-A675-4EE3-B8E2-68C06550CF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9C20E8BB-B554-483D-B103-D1C3522DFA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DACC386D-3E7E-477F-8B9B-69E9D0EE06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C7D63F7-D4C2-4CCA-AECB-9C1D53608A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00BFAD99-963A-4143-AF71-E7898BDDD7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551EF06C-F9D6-4818-A203-C72C679B7F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605C04AF-F5AF-490B-BA58-5D8294EB9F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53EB073B-0BDE-4490-9A40-E37DAC82DC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3CD3D891-5246-4FC7-8A4B-5BD7D4409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94639F5C-2024-4C0D-BB31-196BCBA7DF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02D0EA63-C9FE-46BD-8661-FD4DFB6BA9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9F6E78D0-BCC3-4179-92F3-B7598714F3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2E7C822-CD2B-4A5E-B4BC-C6467A8E3F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796851C-2E2F-4130-9728-435671B220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979A8459-AF45-4DA3-AA66-8DFD47C406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E2F4F6C2-C670-4F89-B8CE-D4E512BBAE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ECF1C913-5160-46EF-91F0-CE3B81C9BE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63CCFBE6-13A4-4A36-80DE-6024FF7399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FAD63CAC-12BA-4160-9392-7B3B93BF6B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70AAE691-8F4E-4EB1-BACF-0D73708EC0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1B0E3025-8120-4447-A007-63DFBE2915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5A272E85-15D8-4039-99F4-209A6DB14C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CB1F0448-9606-4429-BC06-0C0C393D0E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1EEE0BC-7092-468A-BDF1-AE2165C049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296578A-8977-4B38-9CC7-B19F102264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1E469F72-0D7A-4948-9CBE-7E6917F108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E969320B-D56E-4C7E-8BDF-B696855D67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C5CA3CC6-222F-4BE1-8F7B-AAEF389E3F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DDA4383-607B-4FF9-96E1-135F949C62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1165113E-E607-4ECD-8E08-631021EC11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988A119-F460-4D37-A142-2AFB054EE8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0F44A5DD-9B11-4F02-AE20-AC8F19C2FA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1B237B4E-7688-44BD-B69C-E02EA472F8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A341CEC3-B10A-45FB-972F-09F93B86DB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3C93056D-1A26-41B7-8AD3-0129A701F0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18E278C1-0A6B-48B4-9C16-1D4A6DBD8C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E74D9538-3B5B-4D3C-B56E-EFCB61896A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0B9A85E2-C70C-45D8-969D-70895044EC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10376832217058625</c:v>
                </c:pt>
                <c:pt idx="1">
                  <c:v>0.09514363664928693</c:v>
                </c:pt>
                <c:pt idx="2">
                  <c:v>0.1145825007929632</c:v>
                </c:pt>
                <c:pt idx="3">
                  <c:v>0.12429793740946819</c:v>
                </c:pt>
                <c:pt idx="4">
                  <c:v>0.07946011727248342</c:v>
                </c:pt>
                <c:pt idx="5">
                  <c:v>0.08545276724018942</c:v>
                </c:pt>
                <c:pt idx="6">
                  <c:v>0.10475061633827865</c:v>
                </c:pt>
                <c:pt idx="7">
                  <c:v>0.09221409057244999</c:v>
                </c:pt>
                <c:pt idx="8">
                  <c:v>0.11533669706151167</c:v>
                </c:pt>
                <c:pt idx="9">
                  <c:v>0.08371180673138534</c:v>
                </c:pt>
              </c:numCache>
            </c:numRef>
          </c:xVal>
          <c:yVal>
            <c:numRef>
              <c:f>Sheet1!$B$2:$B$11</c:f>
              <c:numCache>
                <c:formatCode>General</c:formatCode>
                <c:ptCount val="10"/>
                <c:pt idx="0">
                  <c:v>1.8785714285714286</c:v>
                </c:pt>
                <c:pt idx="1">
                  <c:v>2.706498951781971</c:v>
                </c:pt>
                <c:pt idx="2">
                  <c:v>0.8880778588807786</c:v>
                </c:pt>
                <c:pt idx="3">
                  <c:v>3.2278481012658227</c:v>
                </c:pt>
                <c:pt idx="4">
                  <c:v>2.235294117647059</c:v>
                </c:pt>
                <c:pt idx="5">
                  <c:v>1.9207920792079207</c:v>
                </c:pt>
                <c:pt idx="6">
                  <c:v>1.9894736842105263</c:v>
                </c:pt>
                <c:pt idx="7">
                  <c:v>1.5631067961165048</c:v>
                </c:pt>
                <c:pt idx="8">
                  <c:v>3.4074074074074074</c:v>
                </c:pt>
                <c:pt idx="9">
                  <c:v>0.666666666666666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4915752489136183"/>
          <c:min val="0.06356809381798674"/>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4.088888888888889"/>
          <c:min val="0.533333333333333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0.17444743231149973</c:v>
                </c:pt>
                <c:pt idx="1">
                  <c:v>-0.2993192632763705</c:v>
                </c:pt>
                <c:pt idx="2">
                  <c:v>-0.7072368709243477</c:v>
                </c:pt>
                <c:pt idx="3">
                  <c:v>-0.18141184325164594</c:v>
                </c:pt>
                <c:pt idx="4">
                  <c:v>1.876823548295135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NICOLAS FEUILLATTE RES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NICOLAS FEUILLATTE EXTRA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MOET &amp; CHANDON RES IMP EB ETUI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MOET &amp; CHANDON RES IMP EX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8A007D96-8195-46A9-AD45-1C35A05538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4406020-108C-4AC6-9E43-EB9013AF25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A24383DE-8AC3-4438-BC5A-C6D0A3DB90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7E9CE4AF-D9E6-44C0-AF27-0396D0A3A5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69177665-2331-45BE-B72C-6D70E43F47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E9D7900-EA41-4C28-BEB4-805DFD6DE4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D19E9BCA-2B8F-4978-8053-EDDBBA7120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2B610A0-83E4-4C6F-8868-9DBAAD830E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E54E31B-8078-44D9-8E23-BE8454EE3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CFABF97-27A1-4C50-A9FE-7D87D3BD3F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8BD26433-7270-4767-9943-918CBD7E04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85E0D48-3545-47E7-BF30-6F676FCD5F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391B8B08-3820-49AB-8C85-058B900F7E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3E060B3-FE39-4741-BE41-3316CA6BAE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235CADEC-D38B-4326-9510-B90B17872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02C44A3-98FD-4F7F-B8BB-FFF778B350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0D66E976-26A5-4A6D-BA52-8EC9D68E0A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60CB09CC-3972-4011-97DA-29DC2D9395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582A429-196F-4A7A-9E06-532AB2733A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01BCE672-F1DA-41BF-8EF0-6F670E2A87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A2D06826-4FFB-40F3-9BBF-780BA5428B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2061D66B-31EA-4860-A649-B5BF3DC57D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45EE4EA7-0F81-4199-98C6-34D7F6370C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B1055D4-966A-44C1-B845-026C5BA238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F839EFB-9061-4963-87CB-960D28B8E2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81BA9C4B-2DCB-4C79-B106-499AD38138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5C571518-C1E5-46D3-AE4A-5D3C7EF2DA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5046C3B0-B25D-400E-8195-F770DCD1E8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95D6684F-3BCC-4AAB-AC68-C6A394BB29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D1CA4387-CFA9-430B-9704-9A32BCFEA6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DE65932-CFE6-4358-B2E2-D318C2DAC6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A889B9B-5F06-4CB1-BD48-0D515A94D9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FF700A0A-DBB0-4AD0-B279-1587641290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4CACD696-917A-4FAA-B733-ACD469901C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89411E90-9E97-47EA-A8F4-8EA1700D54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87CABBAB-CDEF-447C-A06D-395C26CC3A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05BAAFC6-9E09-4ABE-B80A-0D34E4A83F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AB0C2B94-BD52-480A-A318-62CF24A83A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2D695C26-7146-46DE-B8D8-6D4AD3CBDF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D3AC6B3-A1A9-4FC0-BBAC-5C01C6B38F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F1917841-9F79-4D85-904B-5F4E0C8719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06222D57-6BED-47E3-8191-82ED67E2D9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046E7A6-D0F0-4484-AB73-8162FA0E6F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F04737BA-74D5-4A36-B41D-FD26F2AFA9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18565564337036367</c:v>
                </c:pt>
                <c:pt idx="1">
                  <c:v>0.1731627609755064</c:v>
                </c:pt>
                <c:pt idx="2">
                  <c:v>0.11342867347583263</c:v>
                </c:pt>
                <c:pt idx="3">
                  <c:v>0.02314345231351939</c:v>
                </c:pt>
              </c:numCache>
            </c:numRef>
          </c:xVal>
          <c:yVal>
            <c:numRef>
              <c:f>Sheet1!$B$2:$B$5</c:f>
              <c:numCache>
                <c:formatCode>General</c:formatCode>
                <c:ptCount val="4"/>
                <c:pt idx="0">
                  <c:v>3.64797507788162</c:v>
                </c:pt>
                <c:pt idx="1">
                  <c:v>4.297709923664122</c:v>
                </c:pt>
                <c:pt idx="2">
                  <c:v>7.9</c:v>
                </c:pt>
                <c:pt idx="3">
                  <c:v>2.020618556701031</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27867720444364"/>
          <c:min val="0.01851476185081551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48"/>
          <c:min val="1.6164948453608248"/>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Laurent Perrier</c:v>
                </c:pt>
                <c:pt idx="3">
                  <c:v>Malard</c:v>
                </c:pt>
                <c:pt idx="4">
                  <c:v>Nicolas</c:v>
                </c:pt>
              </c:strCache>
            </c:strRef>
          </c:cat>
          <c:val>
            <c:numRef>
              <c:f>Sheet1!$B$2:$B$6</c:f>
              <c:numCache>
                <c:formatCode>General</c:formatCode>
                <c:ptCount val="5"/>
                <c:pt idx="0">
                  <c:v>4.833</c:v>
                </c:pt>
                <c:pt idx="1">
                  <c:v>-0.02100000000000002</c:v>
                </c:pt>
                <c:pt idx="2">
                  <c:v>-0.020000000000000018</c:v>
                </c:pt>
                <c:pt idx="3">
                  <c:v>-0.015000000000000013</c:v>
                </c:pt>
                <c:pt idx="4">
                  <c:v>-0.33299999999999996</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MALARD PREMIER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GEORGES VESSELLE GRD CR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LOUIS MARTIN BRUT PREMI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3A4FA259-48A3-491A-8082-7553098A8D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EDA5853-9093-4479-BD29-00466A44E7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4561E266-AF4B-4E39-845D-FADF295266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B308DB1-12C4-4C7B-B08B-61E654C09C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C5704E1-6BA8-4B1A-9F89-F9B950F090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972FD52-F271-41A3-8910-816F163401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02FFE02-8645-45DD-8819-76CA8A95B2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3E7CF04-A969-4A5A-907A-AFCCFD54F4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428435E-6934-47A2-9D40-5742074AAA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7C80E01-FD8F-4E5F-89E2-42AF340215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E4BBD68C-ACD3-43CE-9F4C-D05BD09AA4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0EC1E27-D922-4805-AE23-EBB934FBC6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DD736D7C-43F9-4C6F-B67D-D5E79D820A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3C9E96F8-DD8E-41DE-A6A6-205910B0F0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4BF0B703-E62B-46EC-A51E-483C55CE14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EED6BA66-3943-4BAC-91C1-13D5D4DF6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3B9A488-67BE-40FE-BFD7-7B06FC028D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1C882966-1714-46EC-8379-81962AB830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BED2C326-3228-4FAC-ADFA-237AEC7D88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EBCC5C18-E98D-48D8-9B46-FF0F8F6821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FF52AFBA-4B4D-425D-9623-44CBCC64AC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41BBEFF2-62BD-4C67-96F6-39F608CEA8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BB44C205-EAFA-41A2-B906-4A2FD483AF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93968D51-4195-45B7-9D56-0749C31F8C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FCCCD0A7-8FE4-405D-9714-EC62A889E0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65AB023F-535B-4F06-A78E-ED0E1971FE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1F1549E8-FA8E-4E8B-B15F-70CCBCC25F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55BA8BF7-FDC0-411D-A6D0-DB6B0FD2DF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83AAABEE-CBF8-456E-A458-FC423E157F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09ADA8F7-E635-4466-9652-FBABA2E6ED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0BC3F30F-0A25-4AA9-B7DC-FD7F593B8E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62D2074-CD22-4F65-B6FB-7BAAC6EB13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C865361C-E6FB-4234-80DA-614DD50998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64DD9FD-4D0D-4673-98B6-52CD8301F8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2595B099-FF8F-4EA2-A292-09945A6993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AD7EF0E7-A7BB-4524-A1BD-69694E1BB5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D65A73E3-5B99-4885-A42F-7B50DBF3ED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732BCB74-A310-4A5A-84B1-AB1238698D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B05150CA-910D-45E3-8FA7-99122773FC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13AB84CF-9275-4076-9DE8-AA5B01F94B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F99CE2E0-F978-4C59-A644-22F281D5E9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1D9EFB01-56F5-4EB5-A143-0D0624E97A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DAEA5677-A8E4-49A9-AAFE-149BA89926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EDA00028-2FBC-4540-AF9D-B482DC8FDF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F7A42F6-4C42-4B61-B3E0-0245AC2EF0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11821576227109663</c:v>
                </c:pt>
                <c:pt idx="1">
                  <c:v>0.10178826121137279</c:v>
                </c:pt>
                <c:pt idx="2">
                  <c:v>0.1024113058123825</c:v>
                </c:pt>
              </c:numCache>
            </c:numRef>
          </c:xVal>
          <c:yVal>
            <c:numRef>
              <c:f>Sheet1!$B$2:$B$4</c:f>
              <c:numCache>
                <c:formatCode>General</c:formatCode>
                <c:ptCount val="3"/>
                <c:pt idx="0">
                  <c:v>0.620896642280998</c:v>
                </c:pt>
                <c:pt idx="1">
                  <c:v>3.37546468401487</c:v>
                </c:pt>
                <c:pt idx="2">
                  <c:v>4.8120805369127515</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4185891472531595"/>
          <c:min val="0.0814306089690982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774496644295302"/>
          <c:min val="0.4967173138247984"/>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429DAB15-F27D-47ED-B32A-AEF2036B94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9605A493-AD19-43E3-B488-E37610DA83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8A9A6E1-4598-43D2-983B-87FC71C8E1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FA6AC9EE-7049-4BBA-84CC-FB962F7D17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EB214A0F-CBD9-4ED7-A656-8D6B8D1CD7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6F6277C5-BE30-4064-A605-9EA9D6FF4C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E2133FD5-0908-4B1F-9F41-3FB138AA82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729F0D5-F393-4352-B324-C3EE86FC73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5CB542A-ABB0-46EC-831D-F34042F1AE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DC6957C-19B1-405D-929B-B56F3E0E43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A6BFCCAA-02D2-4F21-99FC-BE3F547676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5A5516F-54A7-49C2-A161-5C9066BB72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6E83FA5E-8E55-4249-A15C-888E9F6C36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C8A23D62-6C7E-4BC8-BAEB-C2B268C6EB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8E87767A-0FE6-4173-B3DC-AB6E6117FE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D3F9845-3B22-4C64-B7E9-122127BC2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F7D231A5-26FB-44C0-BD4C-6B9A878801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1510BC9-49B0-4E0B-B087-10E14C71B2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8FE6C02B-B7EC-41D6-9801-00D2A1B073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DE829CCB-4838-420F-AD07-5225EC7A56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3480C2E5-2CF2-4F4C-9735-65B08524EE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7C19A4C-4BFF-450F-94DB-BA44AE7D43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CAF1528A-2D48-44D4-B742-44099CF947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4F0709BF-CCA2-4BDB-80D8-7BFA40C6D5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5DF7ABD2-5E50-458E-80A1-223ADEA931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3D1AB95-32D3-4D73-AE33-673A4661FA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A891CB9D-D909-42A1-944B-017C90EA64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4BA29F92-4227-4D8E-9DF1-6F376EAA1C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FC5563C8-9279-4007-A897-6E272DA9CE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E3E1D178-01BC-422C-865F-9106A496EF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F4E4CCA-05C5-40C8-8C92-6A9C88B780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3AABD9E3-C533-4655-99A4-24409C82C3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EE5711F8-6CC2-4574-9166-5B9AAB5F97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F56AB0BA-11DD-48AD-BF4C-A9A0FAF4B3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9213A6C-8177-49F6-9D33-A25BA8A553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4E510274-DE42-44DA-BB05-3F979AF1B5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5C007784-50E6-4780-B72D-2DDDE61FFD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31B3DA25-04CF-423A-8345-D7EC5F0EC2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AECB1FF-8098-49B9-9C6A-E4CB728507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633AB29-721A-4576-B641-BFBE5E29A4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D4A923A-EBD3-461A-837A-CA232A0BE2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6D659F9-384C-48A0-989C-0DC93DD3D0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57BD130-A8F7-49A6-BB6D-43681A855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2C81E4F-9850-493D-AF79-02070D0676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079C666F-B074-4033-AF1A-F49243F63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20653715864900132</c:v>
                </c:pt>
                <c:pt idx="1">
                  <c:v>0.09825715131369568</c:v>
                </c:pt>
                <c:pt idx="2">
                  <c:v>0.16740978424195033</c:v>
                </c:pt>
              </c:numCache>
            </c:numRef>
          </c:xVal>
          <c:yVal>
            <c:numRef>
              <c:f>Sheet1!$B$2:$B$4</c:f>
              <c:numCache>
                <c:formatCode>General</c:formatCode>
                <c:ptCount val="3"/>
                <c:pt idx="0">
                  <c:v>1.174127599577018</c:v>
                </c:pt>
                <c:pt idx="1">
                  <c:v>0.6940928270042194</c:v>
                </c:pt>
                <c:pt idx="2">
                  <c:v>1.229919678714859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4784459037880158"/>
          <c:min val="0.0786057210509565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4759036144578312"/>
          <c:min val="0.5552742616033756"/>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Heidsieck &amp; Co Monopole</c:v>
                </c:pt>
                <c:pt idx="2">
                  <c:v>Laurent Perrier</c:v>
                </c:pt>
                <c:pt idx="3">
                  <c:v>Malard</c:v>
                </c:pt>
                <c:pt idx="4">
                  <c:v>Nicolas</c:v>
                </c:pt>
              </c:strCache>
            </c:strRef>
          </c:cat>
          <c:val>
            <c:numRef>
              <c:f>Sheet1!$B$2:$B$6</c:f>
              <c:numCache>
                <c:formatCode>General</c:formatCode>
                <c:ptCount val="5"/>
                <c:pt idx="0">
                  <c:v>-0.12292706591785219</c:v>
                </c:pt>
                <c:pt idx="1">
                  <c:v>-0.10666322714777476</c:v>
                </c:pt>
                <c:pt idx="2">
                  <c:v>-0.2341786234317509</c:v>
                </c:pt>
                <c:pt idx="3">
                  <c:v>-0.2857877866669978</c:v>
                </c:pt>
                <c:pt idx="4">
                  <c:v>0.1153637094992354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AUMUR BOUVET L CUV SAPHI M 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CREMANT LOIRE NATURE 2015AC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353F0199-7FB9-4B4E-A44C-EC43D52913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FC1637C2-0AE3-4291-8FE9-3246654953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3F2F2E9-FF08-4FD0-9214-E2EB0E1B2B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8D8E7A6-D1FB-4A5C-ACBD-3656EF4B84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BED6B7B4-2FB9-4818-9D8C-31ABA1ADB6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B86F1C7F-7A63-43AD-AFE3-C1AF457520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C2F9898D-46DE-4535-AEBD-0EAAE0F802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82D35F83-B43B-4540-9A45-A0561AB519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A84906D-6479-42CE-AD70-7A4F5EFDB1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5EFB56E8-A278-4A6D-AC36-1327FA5C67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805068F-544E-4C61-AEFB-D7BD4CEE20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64803317-036E-454F-8951-9F02D87C6C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F6786276-C1D1-4DB0-9959-668B782F73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4A60A4D-90DD-499F-A0FB-3920F73140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807652D1-D634-4974-8038-89B22FECDF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C4A9854C-62CC-430A-8502-52772E082E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C518CFF7-1D8F-4556-906B-3487C151B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DD5F8E5-B91E-421E-B10C-DF4CF076EF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957990A8-0488-478E-9C88-8A0BD34E36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43A732EF-64F7-4CA5-A070-BFF08052A3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49793AE0-2C5E-4FC4-880C-E63C16C277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C44B7C1E-3E50-468D-AC1A-0A776F4946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DF8C222-1A4C-4B98-B06F-EFE62D6134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59F6EE40-0627-48CE-87A0-DD992E17E7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3A5A1ADA-12CB-4B04-9EAC-D8DB21D06D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62A9DD1F-FA1E-40FF-B9F2-CD02AE6A38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57FE63B-38CC-4224-96DD-40F6B10657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E9B6B8B8-0277-4901-956F-C6CD2D5A40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4DB62E4-6E1B-46FF-999C-1736E8ED8E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373126F7-35E6-49A8-8038-B86DE578DA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DEEED7AA-EED8-43A3-9156-3F61F4BA7B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80B117C-57A1-4CDE-8D61-7F50EC2AB7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A1AD497F-8D1B-45B1-AD57-462C6ECB98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E340BA0-F171-4D94-B0D2-D8B5722191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56EF30DB-EC19-444C-A4B4-542900CB56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186E3E1A-0D9A-4BA2-BE8C-1B74CB641C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2D9A925-7FBD-4FC9-8D62-C743CA9ED1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0BD86838-4465-4628-90A9-7DE24DC38E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D54533E7-FD47-48A9-B097-ED9BB5FA9F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D25E3E8-D211-4052-BB25-FB1059D78F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C053AC90-A7CE-4B3F-8C20-49420AC402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159AFFE-4CB2-43A6-8342-C68982452C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44B37D3C-870E-4230-9036-E0FFD6437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91375FEB-5DF6-42B3-A7B6-EF8EF345D3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14437D0-9FA1-4323-B778-0DDF9A1FD2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DEE58742-51CA-4052-9C3B-F1529FC21A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646801615699558</c:v>
                </c:pt>
                <c:pt idx="1">
                  <c:v>0.18690271495555164</c:v>
                </c:pt>
              </c:numCache>
            </c:numRef>
          </c:xVal>
          <c:yVal>
            <c:numRef>
              <c:f>Sheet1!$B$2:$B$3</c:f>
              <c:numCache>
                <c:formatCode>General</c:formatCode>
                <c:ptCount val="2"/>
                <c:pt idx="0">
                  <c:v>0.723482077542063</c:v>
                </c:pt>
                <c:pt idx="1">
                  <c:v>2.00354609929078</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428325794666196"/>
          <c:min val="0.10917441292559647"/>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404255319148936"/>
          <c:min val="0.578785662033650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BRUT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HEIDSIECK MONOPOLE SILVER TOP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CHAMPAGNE CH DE BLIGNY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CANARD DUCHENE CUVEE LEONI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AYALA BRUT MAJEU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LAURENT PERRIER LA CUVE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TAITTINGER PRESTIG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r>
                      <a:t>DEMOISELLE TETE CUVEE BRUT PS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r>
                      <a:t>DEUTZ CLASSIC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r>
                      <a:t>BESSERAT BELLEF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r>
                      <a:t>RUINART BRUT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r>
                      <a:t>BOLLINGER SPECIAL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r>
                      <a:t>MG RUINART BRUT SECOND SKIN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r>
                      <a:t>POMMERY SILV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r>
                      <a:t>PERRIER JOUET GRAND BRUT SHAP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r>
                      <a:t>MOET &amp; CHANDON RES IMPER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r>
                      <a:t>DE VENOGE CORDON BLEU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r>
                      <a:t>MG LAURENT PERRIER LA CUVE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r>
                      <a:t>MG TAITTINGER PRESTIGE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r>
                      <a:t>HENRIOT BRUT SOUVERA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r>
                      <a:t>ROEDERER BRUT COLLECTION 245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r>
                      <a:t>DE SAINT GALL LE TRADITION 1ER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r>
                      <a:t>CHAMPAGNE GOSSET GDE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r>
                      <a:t>CHAMPAGNE POL ROGER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r>
                      <a:t>CHAMPAGNE LALLIER SERIE R.021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r>
                      <a:t>MG DEUTZ CLASSIC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r>
                      <a:t>PIPER HEIDSIECK ESSENT NICO V3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r>
                      <a:t>LANSON BLACK RESERV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r>
                      <a:t>ROEDERER BRUT COLLECTION 244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r>
                      <a:t>MG NICOLAS FEUILLATTE RES EX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r>
                      <a:t>CHAMPAGNE NICOLAS 1ERE CUVE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r>
                      <a:t>1/2 HENRIOT BRUT 1CT X 375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r>
                      <a:t>1/2 CANARD DUCHENE CUVEE LEONI 1CT X 375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r>
                      <a:t>MG DE VENOGE CORDON BLEU BRUT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r>
                      <a:t>MG CANARD DUCHENE CUV LEONIE E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r>
                      <a:t>MG ROEDERER BRUT COLLECT 244 1CT X 150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r>
                      <a:t>CHAMPAGNE CH DE BLIGNY 6CEPAG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r>
                      <a:t>1/2 DE VENOGE CORDON BLEU BRUT 1CT X 375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E8F3A69C-5013-4EE6-99DC-0223B09AC7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01A08BF-3C6D-45D3-B0F3-25BBC942E2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4D51F403-D76A-4B24-A931-37BEED6198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D604907-C62D-426E-B03D-09D013E533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D26345F-BE71-4BDC-A620-998E143F51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BB4D4FB1-1506-455F-977E-98BFD7C02B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55AEB16F-D92D-4D57-A247-0670FBEC9B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DD049B95-F03F-4D4B-AD0E-72DEFB282C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C7C9ECE-7B38-41A2-8D5B-41347FB5A1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D880DBA8-DCA9-4C39-BB65-368B4250C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9</c:f>
              <c:numCache>
                <c:formatCode>General</c:formatCode>
                <c:ptCount val="38"/>
                <c:pt idx="0">
                  <c:v>0.09114016705567522</c:v>
                </c:pt>
                <c:pt idx="1">
                  <c:v>0.2540767157316389</c:v>
                </c:pt>
                <c:pt idx="2">
                  <c:v>0.15759890472001437</c:v>
                </c:pt>
                <c:pt idx="3">
                  <c:v>0.2149116985019478</c:v>
                </c:pt>
                <c:pt idx="4">
                  <c:v>0.10183383164419181</c:v>
                </c:pt>
                <c:pt idx="5">
                  <c:v>0.15409647812152039</c:v>
                </c:pt>
                <c:pt idx="6">
                  <c:v>0.10846990721419111</c:v>
                </c:pt>
                <c:pt idx="7">
                  <c:v>0.1178027187051872</c:v>
                </c:pt>
                <c:pt idx="8">
                  <c:v>0.102508917664103</c:v>
                </c:pt>
                <c:pt idx="9">
                  <c:v>0.10250979288867404</c:v>
                </c:pt>
                <c:pt idx="10">
                  <c:v>0.09989029399568673</c:v>
                </c:pt>
                <c:pt idx="11">
                  <c:v>0.105142108139335</c:v>
                </c:pt>
                <c:pt idx="12">
                  <c:v>0.1085536669334387</c:v>
                </c:pt>
                <c:pt idx="13">
                  <c:v>0.1399828958668338</c:v>
                </c:pt>
                <c:pt idx="14">
                  <c:v>0.10992600485697011</c:v>
                </c:pt>
                <c:pt idx="15">
                  <c:v>0.09696435489893933</c:v>
                </c:pt>
                <c:pt idx="16">
                  <c:v>0.1684108379692268</c:v>
                </c:pt>
                <c:pt idx="17">
                  <c:v>0.18620673092667692</c:v>
                </c:pt>
                <c:pt idx="18">
                  <c:v>0.08864141283934096</c:v>
                </c:pt>
                <c:pt idx="19">
                  <c:v>0.12863921183846103</c:v>
                </c:pt>
                <c:pt idx="20">
                  <c:v>-0.1237573013960541</c:v>
                </c:pt>
                <c:pt idx="21">
                  <c:v>0.12303769125022355</c:v>
                </c:pt>
                <c:pt idx="22">
                  <c:v>0.10992627916597462</c:v>
                </c:pt>
                <c:pt idx="23">
                  <c:v>0.10271311607442361</c:v>
                </c:pt>
                <c:pt idx="24">
                  <c:v>0.10864888987041098</c:v>
                </c:pt>
                <c:pt idx="25">
                  <c:v>0.0902421570563323</c:v>
                </c:pt>
                <c:pt idx="26">
                  <c:v>0.19277992464930563</c:v>
                </c:pt>
                <c:pt idx="27">
                  <c:v>0.1288204379191795</c:v>
                </c:pt>
                <c:pt idx="28">
                  <c:v>0.10696118909960906</c:v>
                </c:pt>
                <c:pt idx="29">
                  <c:v>0.15603463901464598</c:v>
                </c:pt>
                <c:pt idx="30">
                  <c:v>0.2854653159549523</c:v>
                </c:pt>
                <c:pt idx="31">
                  <c:v>0.14138784285145906</c:v>
                </c:pt>
                <c:pt idx="32">
                  <c:v>0.18932359340852487</c:v>
                </c:pt>
                <c:pt idx="33">
                  <c:v>0.17695783283199254</c:v>
                </c:pt>
                <c:pt idx="34">
                  <c:v>0.25079598440100126</c:v>
                </c:pt>
                <c:pt idx="35">
                  <c:v>0.08507293751268452</c:v>
                </c:pt>
                <c:pt idx="36">
                  <c:v>0.11672296555945254</c:v>
                </c:pt>
                <c:pt idx="37">
                  <c:v>0.13721144434298144</c:v>
                </c:pt>
              </c:numCache>
            </c:numRef>
          </c:xVal>
          <c:yVal>
            <c:numRef>
              <c:f>Sheet1!$B$2:$B$39</c:f>
              <c:numCache>
                <c:formatCode>General</c:formatCode>
                <c:ptCount val="38"/>
                <c:pt idx="0">
                  <c:v>0.49091635056897587</c:v>
                </c:pt>
                <c:pt idx="1">
                  <c:v>6.930890924229809</c:v>
                </c:pt>
                <c:pt idx="2">
                  <c:v>1.157006920415225</c:v>
                </c:pt>
                <c:pt idx="3">
                  <c:v>5.736091298145507</c:v>
                </c:pt>
                <c:pt idx="4">
                  <c:v>0.823654768247203</c:v>
                </c:pt>
                <c:pt idx="5">
                  <c:v>3.318244170096022</c:v>
                </c:pt>
                <c:pt idx="6">
                  <c:v>1.5922431865828093</c:v>
                </c:pt>
                <c:pt idx="7">
                  <c:v>2.210855949895616</c:v>
                </c:pt>
                <c:pt idx="8">
                  <c:v>1.085013839462238</c:v>
                </c:pt>
                <c:pt idx="9">
                  <c:v>1.7308085977482088</c:v>
                </c:pt>
                <c:pt idx="10">
                  <c:v>0.9849056603773585</c:v>
                </c:pt>
                <c:pt idx="11">
                  <c:v>1.4398073836276084</c:v>
                </c:pt>
                <c:pt idx="12">
                  <c:v>1.5131964809384164</c:v>
                </c:pt>
                <c:pt idx="13">
                  <c:v>2.0987394957983194</c:v>
                </c:pt>
                <c:pt idx="14">
                  <c:v>2.859259259259259</c:v>
                </c:pt>
                <c:pt idx="15">
                  <c:v>0.7921146953405018</c:v>
                </c:pt>
                <c:pt idx="16">
                  <c:v>3.607438016528925</c:v>
                </c:pt>
                <c:pt idx="17">
                  <c:v>3.272727272727273</c:v>
                </c:pt>
                <c:pt idx="18">
                  <c:v>1.3781512605042017</c:v>
                </c:pt>
                <c:pt idx="19">
                  <c:v>3.235294117647059</c:v>
                </c:pt>
                <c:pt idx="20">
                  <c:v>4.7894736842105265</c:v>
                </c:pt>
                <c:pt idx="21">
                  <c:v>4.3364928909952605</c:v>
                </c:pt>
                <c:pt idx="22">
                  <c:v>2.9293478260869565</c:v>
                </c:pt>
                <c:pt idx="23">
                  <c:v>2.3333333333333335</c:v>
                </c:pt>
                <c:pt idx="24">
                  <c:v>6.423076923076923</c:v>
                </c:pt>
                <c:pt idx="25">
                  <c:v>1.2485981308411216</c:v>
                </c:pt>
                <c:pt idx="26">
                  <c:v>3.3641975308641974</c:v>
                </c:pt>
                <c:pt idx="27">
                  <c:v>4.704545454545454</c:v>
                </c:pt>
                <c:pt idx="28">
                  <c:v>1.8099173553719008</c:v>
                </c:pt>
                <c:pt idx="29">
                  <c:v>1.7289719626168225</c:v>
                </c:pt>
                <c:pt idx="30">
                  <c:v>9.721311475409836</c:v>
                </c:pt>
                <c:pt idx="31">
                  <c:v>1.4397163120567376</c:v>
                </c:pt>
                <c:pt idx="32">
                  <c:v>1.5849056603773586</c:v>
                </c:pt>
                <c:pt idx="33">
                  <c:v>1.3525641025641026</c:v>
                </c:pt>
                <c:pt idx="34">
                  <c:v>2.4601769911504423</c:v>
                </c:pt>
                <c:pt idx="35">
                  <c:v>3.275</c:v>
                </c:pt>
                <c:pt idx="36">
                  <c:v>1.6935483870967742</c:v>
                </c:pt>
                <c:pt idx="37">
                  <c:v>1.108910891089109</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425583791459427"/>
          <c:min val="-0.099005841116843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665573770491802"/>
          <c:min val="0.39273308045518074"/>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5B23DFC1-41B9-4A5F-BD2D-E300C14DD6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7AFEF921-E6E1-400E-880E-1B3480C623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E9F7FAD4-3D5D-4CEC-86EE-B38492F412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6B60CFA9-B689-443A-92AF-FDDDCDAA8E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D78CF2A8-46BE-47E7-94F4-03262E23D0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987D1994-06EA-4E28-A896-123FA0C03E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E008B005-83AF-4920-B1BF-48FC0ADE12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E56CF70D-4389-469D-B2DD-245D6C22D0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78A2CE27-7DFF-468B-8ACA-04286D8401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7B38E58-2454-4C2B-B4F6-CE87A4E878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97D02E72-52C7-4E40-9816-19420AB99A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A4D63FEB-9FBB-4F85-908B-A07B9894AF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8B5E6A5B-71B8-48A3-9FE9-CAB43E3761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0DF2E11B-777C-44FE-B6FF-9726D7FBFE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D6EA649-FF70-46D7-9124-7AE5F87035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A357496-18BC-459B-8777-730D695D5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4986BB09-9633-4666-A218-4CB5D820E8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57567AB-45E4-4212-BD0E-AA46C1E3F4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8D61BC30-0966-42FD-B16D-D3BD311853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00C1909C-B1B6-47E7-8DAF-BD29C1D678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1DC0FF99-2285-495B-A7FC-65A30B4477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0550EC2A-08C7-49EC-B2E1-6BA84B9179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97398A9E-597C-4F7D-B157-4ACBC6085D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4BE21DAB-73F6-47FA-BD6F-B6940E3B78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E8FEEF3-28C5-4C9C-8BA3-4604F4315B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52AC8A3-513D-4BC4-8751-EE58938FD1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7E414B0-CD3D-4081-8CB3-FE4F7A86C2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C5EA8946-7D7B-4618-9F33-F63B23CC9C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3577EF47-420E-4DB4-9A65-81C7CDD8CA2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7C051A7B-6180-4B29-927A-F7EEC86F71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9CB2E4A-9F01-441B-97B9-D40B192AB6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BFB81DD4-A82C-4D40-9F80-3BA72F372D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C58F517D-D2B4-49CA-963C-028F810DF1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59C3746C-CEFF-46BF-BB2E-3EBA5F2FB6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D5F94103-9AB1-40FB-B70E-FE5D46DB32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ACB6AD16-2687-4A94-8667-9F3DC40624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C37F5AE3-628C-470A-A6A4-E4ADCCA674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0CD908EC-E4A5-41CD-BFB6-EABEE66965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8D3B7D70-D787-4B33-9794-80220A295D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37811F76-55CF-40DE-9113-B8384C6CBC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0534E2C-7A02-44CD-B33F-6B65D19DA1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34A7496-C2D4-4608-8932-9D64BCD05C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E5E74F3C-F86B-445A-88E2-E52C6933F5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81FD9A9-9BB7-43AA-BED2-62B3D351A2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9F7F4815-731C-40CD-A56A-9936D3C88A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16867540649285742</c:v>
                </c:pt>
                <c:pt idx="1">
                  <c:v>0.09856477559775163</c:v>
                </c:pt>
                <c:pt idx="2">
                  <c:v>0.1679637895062555</c:v>
                </c:pt>
              </c:numCache>
            </c:numRef>
          </c:xVal>
          <c:yVal>
            <c:numRef>
              <c:f>Sheet1!$B$2:$B$4</c:f>
              <c:numCache>
                <c:formatCode>General</c:formatCode>
                <c:ptCount val="3"/>
                <c:pt idx="0">
                  <c:v>1.1740927882406982</c:v>
                </c:pt>
                <c:pt idx="1">
                  <c:v>0.6067892503536068</c:v>
                </c:pt>
                <c:pt idx="2">
                  <c:v>0.9281914893617021</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024104877914289"/>
          <c:min val="0.07885182047820131"/>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4089113458888378"/>
          <c:min val="0.48543140028288545"/>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RUINART ROSE (NUE)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DEMOISELLE ROSE PRES SPECIAL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DEUTZ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r>
                      <a:t>RUINART ROSE SECOND SKIN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r>
                      <a:t>LAURENT PERRIER ROSE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r>
                      <a:t>POMMERY SILVER ROSE BRUT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r>
                      <a:t>MALARD ROSE 1ER CRU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E5C2DA3C-DE9F-46D8-ACA0-2CC1295E46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5D5D766E-518A-4C11-8C90-45F6C31A70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B3644C08-2587-4C87-981D-14EF4283D9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76EC297-CEEE-4197-83AC-63BF902287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E73ED0A-2FFF-43A7-973E-D69554CEC5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26C20DF0-CE81-42E5-8B4C-B9C6DFEC91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AA24446F-DC06-491A-9E80-6DC5B56B43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18F46C57-AC27-4573-853F-15A931B988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EE98F2CB-086F-4756-9E8B-1495178EA8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F7304227-006A-4CB6-8330-902C07E304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66B1091A-A158-407B-8B6E-700991301A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BE45373-549B-417B-9C6C-3E457296A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401268E6-2C3A-414A-9D8E-70C86F79C4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55FC26AD-7BB4-4F2E-BF34-01DFDB5C09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BD48C8E-0ABB-4983-BCA4-30B7A7AA9C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BA9A490E-B35F-4643-A16D-1C28A59C58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50354AD5-A50D-451F-9B49-F8A81CC71B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89704DEA-CAAB-44A8-868C-079A98AF84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D298166B-0CF0-49A3-9B2C-D36CA20249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B3B6C236-4A8C-4736-9AF8-98A106C050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BE93164A-DE32-4CAC-82B8-F4384D2CB1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C6A254CE-E042-4B15-A8D2-A7A0761B46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7DD902F4-63AF-4F57-A2BC-1EC7425467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45D18AB6-9E76-4D06-98C5-9AA17EB730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085A2FD-1195-471B-872C-E91892C12A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A75B449F-5D3C-4339-B7F0-78ADB91CD4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8A1167C6-4D81-47A8-BD12-1A212CEF51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B00CC25-A2EB-4D7C-B5DC-E4E9044390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F669989-1188-4E5C-8107-CE7FA99FBF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16CE6A9-EDC9-4304-AF89-D55FAB1DCF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01458CE9-E1E8-4C8E-877A-DE649D6DB3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5B2BBE52-DFAC-4AAE-BD9D-DA1B5F855E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0568510-DDD4-474E-8135-3E1A261C37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262A65FE-0E36-420E-9D02-B633F6528A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51BF0496-4167-49FE-B802-5774FBF1B4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36D4B337-B60D-4364-874F-AB9C9FB2F3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1F408EC-F223-402A-9BA6-CBF63E8F52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5D890051-46AA-4E59-8B4A-1F13A2B332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CBC6173D-647D-4146-9EDE-18382616A4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F4DE818-7525-4901-A147-CF55BBEF8B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AC56DBDB-DD27-4B4E-B1DA-10AAD76374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536312028652028</c:v>
                </c:pt>
                <c:pt idx="1">
                  <c:v>0.1127237699086889</c:v>
                </c:pt>
                <c:pt idx="2">
                  <c:v>0.108400737687051</c:v>
                </c:pt>
                <c:pt idx="3">
                  <c:v>0.08805396514068944</c:v>
                </c:pt>
                <c:pt idx="4">
                  <c:v>0.09960626852286444</c:v>
                </c:pt>
                <c:pt idx="5">
                  <c:v>0.08391230310585807</c:v>
                </c:pt>
                <c:pt idx="6">
                  <c:v>0.09401848632945403</c:v>
                </c:pt>
              </c:numCache>
            </c:numRef>
          </c:xVal>
          <c:yVal>
            <c:numRef>
              <c:f>Sheet1!$B$2:$B$8</c:f>
              <c:numCache>
                <c:formatCode>General</c:formatCode>
                <c:ptCount val="7"/>
                <c:pt idx="0">
                  <c:v>2.2287581699346406</c:v>
                </c:pt>
                <c:pt idx="1">
                  <c:v>2.538152610441767</c:v>
                </c:pt>
                <c:pt idx="2">
                  <c:v>1.4911660777385158</c:v>
                </c:pt>
                <c:pt idx="3">
                  <c:v>2.1973684210526314</c:v>
                </c:pt>
                <c:pt idx="4">
                  <c:v>2.7777777777777777</c:v>
                </c:pt>
                <c:pt idx="5">
                  <c:v>1.3831168831168832</c:v>
                </c:pt>
                <c:pt idx="6">
                  <c:v>0.988636363636363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13526852389042668"/>
          <c:min val="0.06712984248468645"/>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333333333333333"/>
          <c:min val="0.79090909090909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PROSECCO CARLO V CUVEE DEL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r>
                      <a:t>PROSECCO SAVIAN EXTRA DRY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r>
                      <a:t>PROSECCO VINO DEI POETI ITA 1CT X 750ML</a:t>
                    </a:r>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DAE3C26A-9917-413A-8E7F-0E23EF957C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131AFFB7-5C59-43A9-AD54-11DE9B457E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070C88CB-EEB1-4705-99F4-7054984965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981C8E7C-A603-4FA0-AE19-AC2FBAFFFF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2EACA3A0-CA19-4F63-9BE9-A1159883D1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EE1FE7D5-5D50-4CB5-822A-0262043249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5681995-70F8-43EE-910C-0F11AFF9E4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694DA0D2-EBE1-4A18-9C66-8BFA08F06C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F2541D94-275C-41E8-B44C-92E96D809E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9205FA80-4DFC-45D8-8090-FE2B5FC5FF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D9AE0717-D0B4-4706-903D-34A875027A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9EFF6415-6186-4BD7-8515-DD9C9DED3D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2B93C091-0FA5-4675-A8C4-B091493F0B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5005E6D7-07BF-4928-AEAB-6ED1CE9F4F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48E18372-C6D8-45E6-8337-ED5FC31BCB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605B8A05-7579-4FB7-B524-E55E9F0D6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E01F7B5-8BA1-420E-8D75-0424E13BF1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1E7BF372-B1BA-46C8-B456-5710016CA7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3067B459-153C-4763-BABE-61B6B59AFF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6790FB21-6791-427B-9BD3-93224818D2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5EB7003F-0B8A-4B68-99E7-37AE0C2ED4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7D5284C9-4F6A-4786-89CD-01DB3FEB7D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FA3F7A1-9DFD-413D-9E14-B630B9C776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0B1BE608-9B98-47E2-8F47-1F6C74A9A4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283E751A-1663-40AE-8905-B5FDB41C2F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BE9C6AD1-8552-4F41-B01D-E70B8E6415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970FE64C-CE16-4DE9-8311-6D28F4F9AC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BB13730B-4838-42BC-9257-6129AF558D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68C32C3-7939-41ED-9752-A6A8B750F1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65121B79-8765-4788-9989-C7FD198EA0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9F347449-7F0B-4F81-BBF4-5919DB2D78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D9E1BFE-B63B-4923-9FDA-2912AEDCD7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C58CE32-9B2B-43A5-8732-D10D48E419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1A800F44-C68E-4EA5-91C6-66132AACF6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C489787-A086-464A-98CE-79B635AAD9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245B2BF6-D5B8-4F92-8550-0A7D56B7A9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660E1D3B-12F2-41F8-8374-E384B1C7ED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63AF7C0-071A-44A2-A11C-0A839FB7AD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764ACA12-7B54-4A15-B0B9-F3C59DA243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906780C7-3FD6-4A98-8871-89791B7D73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7E47A31D-37EB-4A8E-8202-AF935A933E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3C4C1C9C-948A-49A9-A392-0EEF985F05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5ABAD5C7-9597-4BDD-9A13-F46CABFE75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90BC8C43-F873-454C-BFBF-06370DFC5D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DA025FE6-4AB4-4BA0-BD92-D26F1A8D87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182743112912719</c:v>
                </c:pt>
                <c:pt idx="1">
                  <c:v>0.17199367480231842</c:v>
                </c:pt>
                <c:pt idx="2">
                  <c:v>0.09986491824849678</c:v>
                </c:pt>
              </c:numCache>
            </c:numRef>
          </c:xVal>
          <c:yVal>
            <c:numRef>
              <c:f>Sheet1!$B$2:$B$4</c:f>
              <c:numCache>
                <c:formatCode>General</c:formatCode>
                <c:ptCount val="3"/>
                <c:pt idx="0">
                  <c:v>1.090218423551757</c:v>
                </c:pt>
                <c:pt idx="1">
                  <c:v>0.956738768718802</c:v>
                </c:pt>
                <c:pt idx="2">
                  <c:v>0.6563706563706564</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192917354952628"/>
          <c:min val="0.0798919345987974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082621082621082"/>
          <c:min val="0.525096525096525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F78B58C9-52EB-4D19-BF2B-E3AD0FC15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7804E7B-6CE6-4B81-92AB-D75E1BEE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1BD2E39-56DB-4A49-9457-8FB8473D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728D41F-2FAC-44B0-8FCE-0B1A8A5CF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AC3CD18F-6A5A-4974-84E3-3D460F190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D62753A-A275-437B-808B-D31BD4A47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3D48FE4-2D1A-4E77-8567-8F30A8441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C9A90C2-B29B-4907-B6BF-6EE3BC678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A4115AF3-5AB2-4283-9FC6-AE6D365F3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2972A07-01A5-44F1-A351-3813726F7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0127A12-CD44-4953-949D-4439A7B6D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60A09F0-4035-4026-B725-CCB0BEE7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FC83C5A8-B296-47C2-A519-FD19BAF7C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06A69D6D-967E-4375-B66D-7287F7286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14DA4B73-F2B3-4510-812A-DFF762B2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D79463DD-1CAB-41E2-8927-B2B6D9CC9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33EAF085-A033-477F-86D5-2B1235752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8BA1B86-87DF-48DA-BD53-1627F6F50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F22FDF4-18C6-4BFF-89D6-1FFB9713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A5D47D87-8B87-4590-AA8A-BE61C8A28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5D8B724-2A5E-41FB-8229-E076DC47F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FBCD3C1-4B90-491A-805D-90DF13B0E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3E02EDA-7461-4BE2-A1E5-53F681178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5D0C674-B290-4AE3-BE61-C1EFC2D2B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CA6912C-AD54-4DFF-983F-FDBD7B29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238F64E-5037-48E0-A236-E72B6015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DD3B4BF5-13A4-4410-A697-7E342982F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65EDE4B-D194-4EC6-96DF-73C639023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31E3D4ED-626A-4859-B3FA-D1591EF34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9C732B11-37CC-428C-9912-EA6AA3B18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DDF8A278-2E2C-4AD3-9A62-7A28107DC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B552B76-AAF4-416D-846A-69122832B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4CDD88A-D88E-4B2C-A01E-24541F99F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3C75F699-607D-47C2-8AA8-2D0B82567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11328EB-BA03-415D-A07D-86DECC167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C90E72E-CCA9-4A4F-80E9-C076FDB4A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E5046A8-C526-4114-BE51-4BAB89BDB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AD6B95D-26D6-42FD-B55E-3F9E3EB90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DD79C629-4E38-4F12-9B16-C1E2E276E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507C8A1-C330-4773-9099-F29986E7D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9F166846-B679-4C9A-8BC0-4D3B29EA6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9492DA5A-D4FC-4B2A-B44A-D34EAED7C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2441EDA4-6FDA-46F7-8DA8-91E0FD825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B900143-6B57-4ED4-9EFA-058C8D274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CD47595-DDBE-4799-8DC1-D17307B7F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CEEE8288-8A88-4408-B365-7FBC01A59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0</c:f>
              <c:numCache>
                <c:formatCode>General</c:formatCode>
                <c:ptCount val="29"/>
                <c:pt idx="0">
                  <c:v>2.27</c:v>
                </c:pt>
                <c:pt idx="1">
                  <c:v>6.26</c:v>
                </c:pt>
                <c:pt idx="2">
                  <c:v>3.41</c:v>
                </c:pt>
                <c:pt idx="3">
                  <c:v>12.65</c:v>
                </c:pt>
                <c:pt idx="4">
                  <c:v>3.5</c:v>
                </c:pt>
                <c:pt idx="5">
                  <c:v>3.82</c:v>
                </c:pt>
                <c:pt idx="6">
                  <c:v>5.41</c:v>
                </c:pt>
                <c:pt idx="7">
                  <c:v>6.33</c:v>
                </c:pt>
                <c:pt idx="8">
                  <c:v>4.69</c:v>
                </c:pt>
                <c:pt idx="9">
                  <c:v>9.62</c:v>
                </c:pt>
                <c:pt idx="10">
                  <c:v>2.8</c:v>
                </c:pt>
                <c:pt idx="11">
                  <c:v>5.19</c:v>
                </c:pt>
                <c:pt idx="12">
                  <c:v>8.3</c:v>
                </c:pt>
                <c:pt idx="13">
                  <c:v>4.31</c:v>
                </c:pt>
                <c:pt idx="14">
                  <c:v>4.44</c:v>
                </c:pt>
                <c:pt idx="15">
                  <c:v>6.28</c:v>
                </c:pt>
                <c:pt idx="16">
                  <c:v>5.59</c:v>
                </c:pt>
                <c:pt idx="17">
                  <c:v>9.77</c:v>
                </c:pt>
                <c:pt idx="18">
                  <c:v>6.12</c:v>
                </c:pt>
                <c:pt idx="19">
                  <c:v>9.83</c:v>
                </c:pt>
                <c:pt idx="20">
                  <c:v>5.67</c:v>
                </c:pt>
                <c:pt idx="21">
                  <c:v>3.31</c:v>
                </c:pt>
                <c:pt idx="22">
                  <c:v>1.11</c:v>
                </c:pt>
                <c:pt idx="23">
                  <c:v>5.74</c:v>
                </c:pt>
                <c:pt idx="24">
                  <c:v>5.81</c:v>
                </c:pt>
                <c:pt idx="25">
                  <c:v>7.4</c:v>
                </c:pt>
                <c:pt idx="26">
                  <c:v>6.77</c:v>
                </c:pt>
                <c:pt idx="27">
                  <c:v>5.03</c:v>
                </c:pt>
                <c:pt idx="28">
                  <c:v>4.62</c:v>
                </c:pt>
              </c:numCache>
            </c:numRef>
          </c:xVal>
          <c:yVal>
            <c:numRef>
              <c:f>Sheet1!$B$2:$B$30</c:f>
              <c:numCache>
                <c:formatCode>General</c:formatCode>
                <c:ptCount val="29"/>
                <c:pt idx="0">
                  <c:v>3.619984991474251</c:v>
                </c:pt>
                <c:pt idx="1">
                  <c:v>3.090733133431843</c:v>
                </c:pt>
                <c:pt idx="2">
                  <c:v>2.2341677269327103</c:v>
                </c:pt>
                <c:pt idx="3">
                  <c:v>0.9509167789566514</c:v>
                </c:pt>
                <c:pt idx="4">
                  <c:v>0.40843069694575046</c:v>
                </c:pt>
                <c:pt idx="5">
                  <c:v>0.7523860227714124</c:v>
                </c:pt>
                <c:pt idx="6">
                  <c:v>1.6430389807022883</c:v>
                </c:pt>
                <c:pt idx="7">
                  <c:v>1.506731617055511</c:v>
                </c:pt>
                <c:pt idx="8">
                  <c:v>0.9537213445567266</c:v>
                </c:pt>
                <c:pt idx="9">
                  <c:v>2.4278278132868483</c:v>
                </c:pt>
                <c:pt idx="10">
                  <c:v>3.54752497414238</c:v>
                </c:pt>
                <c:pt idx="11">
                  <c:v>0.9434802317285365</c:v>
                </c:pt>
                <c:pt idx="12">
                  <c:v>5.1188014231710035</c:v>
                </c:pt>
                <c:pt idx="13">
                  <c:v>1.5117846974170714</c:v>
                </c:pt>
                <c:pt idx="14">
                  <c:v>2.937667884388095</c:v>
                </c:pt>
                <c:pt idx="15">
                  <c:v>1.3352521063677285</c:v>
                </c:pt>
                <c:pt idx="16">
                  <c:v>2.343618557249924</c:v>
                </c:pt>
                <c:pt idx="17">
                  <c:v>5.09088785046729</c:v>
                </c:pt>
                <c:pt idx="18">
                  <c:v>2.4538149350649348</c:v>
                </c:pt>
                <c:pt idx="19">
                  <c:v>4.740756410852894</c:v>
                </c:pt>
                <c:pt idx="20">
                  <c:v>1.5524338007622833</c:v>
                </c:pt>
                <c:pt idx="21">
                  <c:v>0.6154542221647484</c:v>
                </c:pt>
                <c:pt idx="22">
                  <c:v>5.469298245614035</c:v>
                </c:pt>
                <c:pt idx="23">
                  <c:v>3.694802578565673</c:v>
                </c:pt>
                <c:pt idx="24">
                  <c:v>1.7233783783783785</c:v>
                </c:pt>
                <c:pt idx="25">
                  <c:v>2.717097854750196</c:v>
                </c:pt>
                <c:pt idx="26">
                  <c:v>1.2441904626266942</c:v>
                </c:pt>
                <c:pt idx="27">
                  <c:v>1.7223328523328525</c:v>
                </c:pt>
                <c:pt idx="28">
                  <c:v>1.3155521481102876</c:v>
                </c:pt>
              </c:numCache>
            </c:numRef>
          </c:yVal>
          <c:bubbleSize>
            <c:numRef>
              <c:f>Sheet1!$C$2:$C$30</c:f>
              <c:numCache>
                <c:formatCode>General</c:formatCode>
                <c:ptCount val="29"/>
                <c:pt idx="0">
                  <c:v>116675.0</c:v>
                </c:pt>
                <c:pt idx="1">
                  <c:v>106016.0</c:v>
                </c:pt>
                <c:pt idx="2">
                  <c:v>101918.0</c:v>
                </c:pt>
                <c:pt idx="3">
                  <c:v>48265.0</c:v>
                </c:pt>
                <c:pt idx="4">
                  <c:v>187891.0</c:v>
                </c:pt>
                <c:pt idx="5">
                  <c:v>92691.0</c:v>
                </c:pt>
                <c:pt idx="6">
                  <c:v>67071.0</c:v>
                </c:pt>
                <c:pt idx="7">
                  <c:v>65954.0</c:v>
                </c:pt>
                <c:pt idx="8">
                  <c:v>73347.0</c:v>
                </c:pt>
                <c:pt idx="9">
                  <c:v>43184.0</c:v>
                </c:pt>
                <c:pt idx="10">
                  <c:v>38253.0</c:v>
                </c:pt>
                <c:pt idx="11">
                  <c:v>60570.0</c:v>
                </c:pt>
                <c:pt idx="12">
                  <c:v>33413.0</c:v>
                </c:pt>
                <c:pt idx="13">
                  <c:v>35307.0</c:v>
                </c:pt>
                <c:pt idx="14">
                  <c:v>35431.0</c:v>
                </c:pt>
                <c:pt idx="15">
                  <c:v>40481.0</c:v>
                </c:pt>
                <c:pt idx="16">
                  <c:v>35129.0</c:v>
                </c:pt>
                <c:pt idx="17">
                  <c:v>24389.0</c:v>
                </c:pt>
                <c:pt idx="18">
                  <c:v>27417.0</c:v>
                </c:pt>
                <c:pt idx="19">
                  <c:v>22547.0</c:v>
                </c:pt>
                <c:pt idx="20">
                  <c:v>29385.0</c:v>
                </c:pt>
                <c:pt idx="21">
                  <c:v>47768.0</c:v>
                </c:pt>
                <c:pt idx="22">
                  <c:v>21840.0</c:v>
                </c:pt>
                <c:pt idx="23">
                  <c:v>22354.0</c:v>
                </c:pt>
                <c:pt idx="24">
                  <c:v>18053.0</c:v>
                </c:pt>
                <c:pt idx="25">
                  <c:v>16991.0</c:v>
                </c:pt>
                <c:pt idx="26">
                  <c:v>20723.0</c:v>
                </c:pt>
                <c:pt idx="27">
                  <c:v>16352.0</c:v>
                </c:pt>
                <c:pt idx="28">
                  <c:v>1925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333312714492034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7258620689655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495D4759-DDFF-492E-B098-7F2C6D4CC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1664B5C-B622-4506-B898-540F796F6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AE32F2F-9966-47EF-BD01-2A6D976E4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5439C76F-283D-4674-BF0F-E0EF88FEC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7853AAC-AE0D-44A7-BF3D-1A8540AF1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6503066-F97A-465B-9E76-B14D75328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9BD3729-0FC9-4500-8F12-3BF5FF9F2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99FEC10A-5DDB-4459-8D92-1AD64620B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70870C08-55A9-46EB-9D3D-7C37EE45C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375CC91-FA8F-4D68-8856-8D9A49A3F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2EBC1EB-5AD3-4912-82AE-C2145376F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66F4967-E17A-4185-BE00-4BF7D9CED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DF82E2CF-D3ED-443D-9416-B62C94DDD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E844409C-E28A-4A5F-924C-1F515A8B8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A1A42455-361F-44AA-B203-103263C7C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CFAE689-BACC-4E6A-BE30-DDF0ED702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AFD4A5C-4066-45FB-B6C3-7236D3BCB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CE1D4F5-8243-497D-8959-F0E4E8574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2D6CF16-92A6-4D1B-A228-2AE77067F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EFE5CF24-CCFF-4881-BD14-0583411FF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390D807-CFDF-47B8-B88A-94A2011B8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56B6B04-04A5-4C92-A616-5E840EAD3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D38E4CFC-AF65-43EE-B8FD-1614EB78E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8C8AF1B4-CECE-4449-A05F-66F4B0CBF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1647F8E4-CE0C-4A71-8FE7-A39C32897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C433B6EC-D05A-47BF-9131-B336D0E6A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7F667279-C4C9-46C8-AE74-BC5A5EC2C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2541C3A-445B-43A7-BDE5-372F4570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BCB3EB54-F32F-4452-A699-5851B0DB6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1AEBC635-9F9B-42A6-8E4E-70CAC9FEE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6D31E16-9CA3-4BE3-B148-B53187DD0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062920E-86A8-4A01-96BA-6DAE42D3D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161F3641-5C9D-4CC8-B574-B1005CFD7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2F1FC303-87DC-42E3-BB5D-AE373C52A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6DFD162-4AC4-4801-A59D-A6B18D4CF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CB7AD49-B3EE-481F-BE39-51B981E24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A8E6628D-3CB6-4E38-99B9-071B99C44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8E7D5DE-56FD-47E0-A4BA-78D8F3690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307CFF10-CC9E-421F-9DB6-C6EFEF2FC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515EB40-D880-4833-A590-DE7F58E9A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10DD2572-C9AE-4E47-9C3B-CD63ABE9E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F6F8997-1B2E-424A-BDA8-C0628938E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EF44B36-B6B2-44BC-8287-BDD240C57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D459DD61-0B28-466E-9F08-8DB570A18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B97BECE8-A445-4330-A1E7-740E8908E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255ACA32-71A7-4B8D-85E5-47E56B153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0</c:f>
              <c:numCache>
                <c:formatCode>General</c:formatCode>
                <c:ptCount val="29"/>
                <c:pt idx="0">
                  <c:v>2.89</c:v>
                </c:pt>
                <c:pt idx="1">
                  <c:v>5.7</c:v>
                </c:pt>
                <c:pt idx="2">
                  <c:v>13.22</c:v>
                </c:pt>
                <c:pt idx="3">
                  <c:v>3.01</c:v>
                </c:pt>
                <c:pt idx="4">
                  <c:v>4.19</c:v>
                </c:pt>
                <c:pt idx="5">
                  <c:v>3.12</c:v>
                </c:pt>
                <c:pt idx="6">
                  <c:v>4.54</c:v>
                </c:pt>
                <c:pt idx="7">
                  <c:v>4.26</c:v>
                </c:pt>
                <c:pt idx="8">
                  <c:v>3.4</c:v>
                </c:pt>
                <c:pt idx="9">
                  <c:v>6.09</c:v>
                </c:pt>
                <c:pt idx="10">
                  <c:v>5.96</c:v>
                </c:pt>
                <c:pt idx="11">
                  <c:v>5.58</c:v>
                </c:pt>
                <c:pt idx="12">
                  <c:v>10.34</c:v>
                </c:pt>
                <c:pt idx="13">
                  <c:v>4.89</c:v>
                </c:pt>
                <c:pt idx="14">
                  <c:v>5.45</c:v>
                </c:pt>
                <c:pt idx="15">
                  <c:v>4.38</c:v>
                </c:pt>
                <c:pt idx="16">
                  <c:v>4.24</c:v>
                </c:pt>
                <c:pt idx="17">
                  <c:v>3.42</c:v>
                </c:pt>
                <c:pt idx="18">
                  <c:v>6.6</c:v>
                </c:pt>
                <c:pt idx="19">
                  <c:v>2.91</c:v>
                </c:pt>
                <c:pt idx="20">
                  <c:v>4.13</c:v>
                </c:pt>
                <c:pt idx="21">
                  <c:v>4.73</c:v>
                </c:pt>
                <c:pt idx="22">
                  <c:v>6.73</c:v>
                </c:pt>
                <c:pt idx="23">
                  <c:v>7.57</c:v>
                </c:pt>
                <c:pt idx="24">
                  <c:v>6.36</c:v>
                </c:pt>
                <c:pt idx="25">
                  <c:v>2.64</c:v>
                </c:pt>
                <c:pt idx="26">
                  <c:v>7.78</c:v>
                </c:pt>
                <c:pt idx="27">
                  <c:v>2.78</c:v>
                </c:pt>
                <c:pt idx="28">
                  <c:v>4.02</c:v>
                </c:pt>
              </c:numCache>
            </c:numRef>
          </c:xVal>
          <c:yVal>
            <c:numRef>
              <c:f>Sheet1!$B$2:$B$30</c:f>
              <c:numCache>
                <c:formatCode>General</c:formatCode>
                <c:ptCount val="29"/>
                <c:pt idx="0">
                  <c:v>8.467025719938448</c:v>
                </c:pt>
                <c:pt idx="1">
                  <c:v>0.6932636628405002</c:v>
                </c:pt>
                <c:pt idx="2">
                  <c:v>1.491780565057639</c:v>
                </c:pt>
                <c:pt idx="3">
                  <c:v>5.01780814246514</c:v>
                </c:pt>
                <c:pt idx="4">
                  <c:v>1.0429009375111395</c:v>
                </c:pt>
                <c:pt idx="5">
                  <c:v>1.081326560026019</c:v>
                </c:pt>
                <c:pt idx="6">
                  <c:v>6.724471515585812</c:v>
                </c:pt>
                <c:pt idx="7">
                  <c:v>0.8477604495338402</c:v>
                </c:pt>
                <c:pt idx="8">
                  <c:v>3.0612689575734304</c:v>
                </c:pt>
                <c:pt idx="9">
                  <c:v>2.360771704180064</c:v>
                </c:pt>
                <c:pt idx="10">
                  <c:v>1.9960318619778077</c:v>
                </c:pt>
                <c:pt idx="11">
                  <c:v>2.1467067204021237</c:v>
                </c:pt>
                <c:pt idx="12">
                  <c:v>3.6289198606271778</c:v>
                </c:pt>
                <c:pt idx="13">
                  <c:v>2.0316993464052286</c:v>
                </c:pt>
                <c:pt idx="14">
                  <c:v>3.0978779840848807</c:v>
                </c:pt>
                <c:pt idx="15">
                  <c:v>1.288822263222632</c:v>
                </c:pt>
                <c:pt idx="16">
                  <c:v>3.595008319467554</c:v>
                </c:pt>
                <c:pt idx="17">
                  <c:v>3.643250204894041</c:v>
                </c:pt>
                <c:pt idx="18">
                  <c:v>1.5666180206475326</c:v>
                </c:pt>
                <c:pt idx="19">
                  <c:v>2.7770764119601328</c:v>
                </c:pt>
                <c:pt idx="20">
                  <c:v>0.8989250895758687</c:v>
                </c:pt>
                <c:pt idx="21">
                  <c:v>2.6754019842627437</c:v>
                </c:pt>
                <c:pt idx="22">
                  <c:v>2.2375462392108507</c:v>
                </c:pt>
                <c:pt idx="23">
                  <c:v>1.3477818017202354</c:v>
                </c:pt>
                <c:pt idx="24">
                  <c:v>2.280421216848674</c:v>
                </c:pt>
                <c:pt idx="25">
                  <c:v>2.4157801418439715</c:v>
                </c:pt>
                <c:pt idx="26">
                  <c:v>2.094140625</c:v>
                </c:pt>
                <c:pt idx="27">
                  <c:v>0.8776586357116678</c:v>
                </c:pt>
                <c:pt idx="28">
                  <c:v>1.548888888888889</c:v>
                </c:pt>
              </c:numCache>
            </c:numRef>
          </c:yVal>
          <c:bubbleSize>
            <c:numRef>
              <c:f>Sheet1!$C$2:$C$30</c:f>
              <c:numCache>
                <c:formatCode>General</c:formatCode>
                <c:ptCount val="29"/>
                <c:pt idx="0">
                  <c:v>84431.0</c:v>
                </c:pt>
                <c:pt idx="1">
                  <c:v>77512.0</c:v>
                </c:pt>
                <c:pt idx="2">
                  <c:v>20699.0</c:v>
                </c:pt>
                <c:pt idx="3">
                  <c:v>30281.0</c:v>
                </c:pt>
                <c:pt idx="4">
                  <c:v>40689.0</c:v>
                </c:pt>
                <c:pt idx="5">
                  <c:v>38835.0</c:v>
                </c:pt>
                <c:pt idx="6">
                  <c:v>20374.0</c:v>
                </c:pt>
                <c:pt idx="7">
                  <c:v>35015.0</c:v>
                </c:pt>
                <c:pt idx="8">
                  <c:v>19775.0</c:v>
                </c:pt>
                <c:pt idx="9">
                  <c:v>19365.0</c:v>
                </c:pt>
                <c:pt idx="10">
                  <c:v>19564.0</c:v>
                </c:pt>
                <c:pt idx="11">
                  <c:v>17894.0</c:v>
                </c:pt>
                <c:pt idx="12">
                  <c:v>14814.0</c:v>
                </c:pt>
                <c:pt idx="13">
                  <c:v>17950.0</c:v>
                </c:pt>
                <c:pt idx="14">
                  <c:v>14456.0</c:v>
                </c:pt>
                <c:pt idx="15">
                  <c:v>18322.0</c:v>
                </c:pt>
                <c:pt idx="16">
                  <c:v>13574.0</c:v>
                </c:pt>
                <c:pt idx="17">
                  <c:v>11405.0</c:v>
                </c:pt>
                <c:pt idx="18">
                  <c:v>9305.0</c:v>
                </c:pt>
                <c:pt idx="19">
                  <c:v>11322.0</c:v>
                </c:pt>
                <c:pt idx="20">
                  <c:v>16305.0</c:v>
                </c:pt>
                <c:pt idx="21">
                  <c:v>10189.0</c:v>
                </c:pt>
                <c:pt idx="22">
                  <c:v>10234.0</c:v>
                </c:pt>
                <c:pt idx="23">
                  <c:v>9915.0</c:v>
                </c:pt>
                <c:pt idx="24">
                  <c:v>8054.0</c:v>
                </c:pt>
                <c:pt idx="25">
                  <c:v>6753.0</c:v>
                </c:pt>
                <c:pt idx="26">
                  <c:v>7157.0</c:v>
                </c:pt>
                <c:pt idx="27">
                  <c:v>9335.0</c:v>
                </c:pt>
                <c:pt idx="28">
                  <c:v>678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51506668384358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2044827586206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55A20BD-6CB9-4F4C-8205-DCEDA773A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1E50FAC-02D6-4360-9232-29545E988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CA5BB101-5D44-4294-B89A-A4A6EF43B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1054233F-E9D6-4212-B461-55611A19B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7EB260A-D542-4F80-95F0-B2924420D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F450251-F4B4-4702-8A42-C7231E4EE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F998446-FE0D-4243-92DD-DB11B2B3F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CFC4630-1A74-4FD8-9E92-840B82718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0C7D2CF-897A-4550-84F5-C5A423132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129249E-5CE3-4E06-96EB-102857107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ADA3D7E-B181-46AA-93D9-748425423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CE2AC7B-DE52-4D56-8601-12C1EBCDA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A6DEB0F4-D017-4986-B256-E6D58AB2E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4B4529FF-CD30-4A85-AAB3-9DA7C3417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8A0842B2-601F-4C4C-88BA-D2E09A03A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C603D27-9462-44BF-8BE3-A988FCAF9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4FAB151A-F484-41D7-9AD2-967C4D36D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54497EFB-0BE9-4C02-9D87-60FA06EBE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D29E075-CDAD-4715-B934-05A5A4826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9943ED9-D92C-4314-8039-92CC39D67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D3DC2C54-9750-4E05-9EE4-FCAA0DED3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B56A6AE3-8933-4EF7-B75B-B8E31370D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67B5782-FEEE-4CF6-B3B6-274072347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71E25C0E-8E1C-481C-8BED-9EC5FAED4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8D69C7D-1C90-4813-A3E4-697A89310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3A8E81B1-9620-4C8C-A363-D7A2DECC4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0AFA62B3-D6E9-4B74-8EB6-8920B2431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EA04BDB-947F-44A7-8E9B-715EE4FB9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30F69316-CB11-4335-8BA5-6B2A53A68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86D6DB73-D726-4291-AB1E-37E0F35E0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E266CCB6-5716-43D3-BBA1-7F317BD1C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646D6C2-0B41-4DEE-AFB8-2EB7D10BE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1DE090D6-9026-4295-9AF4-BA806439D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6C749BF2-A3EA-4B3D-8BEF-6C80EA430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9B1F9FB-9905-4124-9283-8C4FB169C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42C446AE-70CD-4318-950E-E928B556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AAAC4D70-E0E5-411C-AD9A-76D9CFD6E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26604BE-374B-4BE4-BFD5-22305C961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3B078B1-B42F-4F33-8936-0722DDD4F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8CCFE10D-B350-42F7-BEFC-AF3B96BB0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141C5C69-C8F4-4E2A-8945-10D8ABDC6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DD3FD85-D2E8-4B4A-AB7C-A68206FCD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CE0A33D-221F-451D-B29F-C2B2AD0D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606723BB-BFB4-40ED-8D79-8896E0673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504FB1AE-E318-49DC-A0F5-0F711B2A2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C88B1666-A950-404D-8C0C-799C59EFD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2</c:f>
              <c:numCache>
                <c:formatCode>General</c:formatCode>
                <c:ptCount val="31"/>
                <c:pt idx="0">
                  <c:v>4.27</c:v>
                </c:pt>
                <c:pt idx="1">
                  <c:v>3.33</c:v>
                </c:pt>
                <c:pt idx="2">
                  <c:v>4.03</c:v>
                </c:pt>
                <c:pt idx="3">
                  <c:v>8.44</c:v>
                </c:pt>
                <c:pt idx="4">
                  <c:v>13.93</c:v>
                </c:pt>
                <c:pt idx="5">
                  <c:v>2.05</c:v>
                </c:pt>
                <c:pt idx="6">
                  <c:v>5.39</c:v>
                </c:pt>
                <c:pt idx="7">
                  <c:v>3.56</c:v>
                </c:pt>
                <c:pt idx="8">
                  <c:v>3.73</c:v>
                </c:pt>
                <c:pt idx="9">
                  <c:v>3.14</c:v>
                </c:pt>
                <c:pt idx="10">
                  <c:v>6.35</c:v>
                </c:pt>
                <c:pt idx="11">
                  <c:v>3.64</c:v>
                </c:pt>
                <c:pt idx="12">
                  <c:v>5.47</c:v>
                </c:pt>
                <c:pt idx="13">
                  <c:v>4.55</c:v>
                </c:pt>
                <c:pt idx="14">
                  <c:v>4.49</c:v>
                </c:pt>
                <c:pt idx="15">
                  <c:v>8.15</c:v>
                </c:pt>
                <c:pt idx="16">
                  <c:v>3.11</c:v>
                </c:pt>
                <c:pt idx="17">
                  <c:v>2.1</c:v>
                </c:pt>
                <c:pt idx="18">
                  <c:v>7.18</c:v>
                </c:pt>
                <c:pt idx="19">
                  <c:v>6.6</c:v>
                </c:pt>
                <c:pt idx="20">
                  <c:v>2.02</c:v>
                </c:pt>
                <c:pt idx="21">
                  <c:v>8.56</c:v>
                </c:pt>
                <c:pt idx="22">
                  <c:v>5.35</c:v>
                </c:pt>
                <c:pt idx="23">
                  <c:v>4.92</c:v>
                </c:pt>
                <c:pt idx="24">
                  <c:v>5.07</c:v>
                </c:pt>
                <c:pt idx="25">
                  <c:v>4.39</c:v>
                </c:pt>
                <c:pt idx="26">
                  <c:v>4.09</c:v>
                </c:pt>
                <c:pt idx="27">
                  <c:v>3.99</c:v>
                </c:pt>
                <c:pt idx="28">
                  <c:v>13.06</c:v>
                </c:pt>
                <c:pt idx="29">
                  <c:v>3.75</c:v>
                </c:pt>
                <c:pt idx="30">
                  <c:v>0.8</c:v>
                </c:pt>
              </c:numCache>
            </c:numRef>
          </c:xVal>
          <c:yVal>
            <c:numRef>
              <c:f>Sheet1!$B$2:$B$32</c:f>
              <c:numCache>
                <c:formatCode>General</c:formatCode>
                <c:ptCount val="31"/>
                <c:pt idx="0">
                  <c:v>0.5392434394193188</c:v>
                </c:pt>
                <c:pt idx="1">
                  <c:v>4.628731479055687</c:v>
                </c:pt>
                <c:pt idx="2">
                  <c:v>3.3328053886764972</c:v>
                </c:pt>
                <c:pt idx="3">
                  <c:v>4.797772626486595</c:v>
                </c:pt>
                <c:pt idx="4">
                  <c:v>1.1403895191209583</c:v>
                </c:pt>
                <c:pt idx="5">
                  <c:v>2.1690250745221813</c:v>
                </c:pt>
                <c:pt idx="6">
                  <c:v>2.9830207305034553</c:v>
                </c:pt>
                <c:pt idx="7">
                  <c:v>1.9062572886297375</c:v>
                </c:pt>
                <c:pt idx="8">
                  <c:v>0.9063285547038944</c:v>
                </c:pt>
                <c:pt idx="9">
                  <c:v>1.0201715301017478</c:v>
                </c:pt>
                <c:pt idx="10">
                  <c:v>2.2144538144734263</c:v>
                </c:pt>
                <c:pt idx="11">
                  <c:v>0.9898548309380015</c:v>
                </c:pt>
                <c:pt idx="12">
                  <c:v>5.176595744680851</c:v>
                </c:pt>
                <c:pt idx="13">
                  <c:v>1.582905544147844</c:v>
                </c:pt>
                <c:pt idx="14">
                  <c:v>2.0976766239924136</c:v>
                </c:pt>
                <c:pt idx="15">
                  <c:v>2.675609756097561</c:v>
                </c:pt>
                <c:pt idx="16">
                  <c:v>1.5421514594815269</c:v>
                </c:pt>
                <c:pt idx="17">
                  <c:v>0.7529137529137531</c:v>
                </c:pt>
                <c:pt idx="18">
                  <c:v>1.5989655172413793</c:v>
                </c:pt>
                <c:pt idx="19">
                  <c:v>2.0477859778597787</c:v>
                </c:pt>
                <c:pt idx="20">
                  <c:v>2.323248407643312</c:v>
                </c:pt>
                <c:pt idx="21">
                  <c:v>3.4781793842034805</c:v>
                </c:pt>
                <c:pt idx="22">
                  <c:v>1.2851485148514852</c:v>
                </c:pt>
                <c:pt idx="23">
                  <c:v>0.7289983844911146</c:v>
                </c:pt>
                <c:pt idx="24">
                  <c:v>1.20267131242741</c:v>
                </c:pt>
                <c:pt idx="25">
                  <c:v>0.7703563842341279</c:v>
                </c:pt>
                <c:pt idx="26">
                  <c:v>1.054864320417111</c:v>
                </c:pt>
                <c:pt idx="27">
                  <c:v>0.8681251899118809</c:v>
                </c:pt>
                <c:pt idx="28">
                  <c:v>1.5094228504122498</c:v>
                </c:pt>
                <c:pt idx="29">
                  <c:v>0.572698669971874</c:v>
                </c:pt>
                <c:pt idx="30">
                  <c:v>0.3333333333333333</c:v>
                </c:pt>
              </c:numCache>
            </c:numRef>
          </c:yVal>
          <c:bubbleSize>
            <c:numRef>
              <c:f>Sheet1!$C$2:$C$32</c:f>
              <c:numCache>
                <c:formatCode>General</c:formatCode>
                <c:ptCount val="31"/>
                <c:pt idx="0">
                  <c:v>51270.0</c:v>
                </c:pt>
                <c:pt idx="1">
                  <c:v>19617.0</c:v>
                </c:pt>
                <c:pt idx="2">
                  <c:v>23388.0</c:v>
                </c:pt>
                <c:pt idx="3">
                  <c:v>19597.0</c:v>
                </c:pt>
                <c:pt idx="4">
                  <c:v>12421.0</c:v>
                </c:pt>
                <c:pt idx="5">
                  <c:v>23951.0</c:v>
                </c:pt>
                <c:pt idx="6">
                  <c:v>19057.0</c:v>
                </c:pt>
                <c:pt idx="7">
                  <c:v>21567.0</c:v>
                </c:pt>
                <c:pt idx="8">
                  <c:v>21061.0</c:v>
                </c:pt>
                <c:pt idx="9">
                  <c:v>18049.0</c:v>
                </c:pt>
                <c:pt idx="10">
                  <c:v>15455.0</c:v>
                </c:pt>
                <c:pt idx="11">
                  <c:v>21769.0</c:v>
                </c:pt>
                <c:pt idx="12">
                  <c:v>11492.0</c:v>
                </c:pt>
                <c:pt idx="13">
                  <c:v>13920.0</c:v>
                </c:pt>
                <c:pt idx="14">
                  <c:v>7987.0</c:v>
                </c:pt>
                <c:pt idx="15">
                  <c:v>7335.0</c:v>
                </c:pt>
                <c:pt idx="16">
                  <c:v>8017.0</c:v>
                </c:pt>
                <c:pt idx="17">
                  <c:v>10843.0</c:v>
                </c:pt>
                <c:pt idx="18">
                  <c:v>7487.0</c:v>
                </c:pt>
                <c:pt idx="19">
                  <c:v>6601.0</c:v>
                </c:pt>
                <c:pt idx="20">
                  <c:v>5722.0</c:v>
                </c:pt>
                <c:pt idx="21">
                  <c:v>5436.0</c:v>
                </c:pt>
                <c:pt idx="22">
                  <c:v>6129.0</c:v>
                </c:pt>
                <c:pt idx="23">
                  <c:v>5370.0</c:v>
                </c:pt>
                <c:pt idx="24">
                  <c:v>6236.0</c:v>
                </c:pt>
                <c:pt idx="25">
                  <c:v>6921.0</c:v>
                </c:pt>
                <c:pt idx="26">
                  <c:v>5736.0</c:v>
                </c:pt>
                <c:pt idx="27">
                  <c:v>6071.0</c:v>
                </c:pt>
                <c:pt idx="28">
                  <c:v>4261.0</c:v>
                </c:pt>
                <c:pt idx="29">
                  <c:v>5103.0</c:v>
                </c:pt>
                <c:pt idx="30">
                  <c:v>4560.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8783775937078704"/>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14548387096774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9CF1EF2-EBE6-44AC-A4E6-23D489B91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A7B7D57-8A46-48A1-9A15-BA1D697C3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FF22D79-9A10-4F5A-8E87-C6502225F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C3A0AC1-D6A7-4968-85E4-16E189858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530F844-9D78-451E-ACA0-0480ACDD8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1D0507A-2A27-4420-9637-E209BE5FC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83A89E5-02F3-480E-A93B-E8E0E845B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24E9DA9-F507-4409-AB62-3E3C49D22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FF4B001-9BB6-4751-9F25-B030781B6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2FC472DD-7957-4E72-8BF0-CE1046E2A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F28CB60A-34D0-493E-89A6-701F07A1C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14E9B3E4-E0E2-4B75-AB63-EF9DFC02F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AF815798-B91A-4EBD-8F4E-987705D4A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9F98D143-60F9-45AA-99A2-F7CF46B11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76443C6-39F8-422E-BEA5-D8F850B26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38DC3190-D346-4F42-8A1A-4E30CB4B5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81F4299D-EA6B-4DA7-9074-EC737395A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C3C8894-6734-40EB-A420-574AD1500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D387BDC-2298-46C2-AB6A-FE70286E6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FADA6D5-C78F-434C-BFB8-7546D06CF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D8F4C06-7C39-45EA-AA11-EF5F5D1D5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003325BD-B9B2-4331-BC9F-2581D7F39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9E7B3A8-AE92-4612-8C1A-851D8EFF5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BCD5F38E-ED3A-468B-BCA7-73D13193C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42B3B0B-7D45-44A3-A4B2-93CF2EDB0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9939110F-4ECD-408E-9CF8-C12E08853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7BA1E97-3F40-4C8F-9EAC-6186108DD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5816F3C-9C1E-487A-8E92-59BC47287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E222795-9EF7-4B39-88A1-946535637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112C4B0-297C-46B5-8185-52272B39F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4F43E50-6555-4910-A957-FBB0C80ED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6DA07DF-4C20-4772-A2D9-E626FD6E5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D70C4F5-0DAB-45CA-8DAB-212587C02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12D7CEBD-8A36-4350-B303-9111A13FA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66D37C7-C51B-4B32-A1B9-04925D209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D55B7B3-8683-4423-B1E0-0A7D369AF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A62BB5D-3E4D-434B-9B47-8D4C3707B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C2A629CE-916F-44DC-94BD-BA6CC1669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1BBB262-5709-49E3-B3D0-B17E11EE1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E863F772-B9D9-46B1-9372-B50DDB224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2701E8BE-B4C3-423E-9C05-8AC271643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EB6C508-B83B-46D6-B3ED-A99D984CE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49989F3-6C96-4580-AFD7-6B38E5B8F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0C3910C0-907B-4E34-A254-5F60A8A48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B872E117-3880-4DE0-AB62-AF97F248C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26341F1B-FF6C-4BC0-9D63-6017460E6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c:v>
                </c:pt>
                <c:pt idx="1">
                  <c:v>3.15</c:v>
                </c:pt>
                <c:pt idx="2">
                  <c:v>2.01</c:v>
                </c:pt>
                <c:pt idx="3">
                  <c:v>3.06</c:v>
                </c:pt>
                <c:pt idx="4">
                  <c:v>-0.23</c:v>
                </c:pt>
              </c:numCache>
            </c:numRef>
          </c:xVal>
          <c:yVal>
            <c:numRef>
              <c:f>Sheet1!$B$2:$B$6</c:f>
              <c:numCache>
                <c:formatCode>General</c:formatCode>
                <c:ptCount val="5"/>
                <c:pt idx="0">
                  <c:v>1.080251206661019</c:v>
                </c:pt>
                <c:pt idx="1">
                  <c:v>0.8232067510548523</c:v>
                </c:pt>
                <c:pt idx="2">
                  <c:v>0.7068573151440808</c:v>
                </c:pt>
                <c:pt idx="3">
                  <c:v>0.3785004516711834</c:v>
                </c:pt>
                <c:pt idx="4">
                  <c:v>-0.0309398634655184</c:v>
                </c:pt>
              </c:numCache>
            </c:numRef>
          </c:yVal>
          <c:bubbleSize>
            <c:numRef>
              <c:f>Sheet1!$C$2:$C$6</c:f>
              <c:numCache>
                <c:formatCode>General</c:formatCode>
                <c:ptCount val="5"/>
                <c:pt idx="0">
                  <c:v>8446.0</c:v>
                </c:pt>
                <c:pt idx="1">
                  <c:v>7535.0</c:v>
                </c:pt>
                <c:pt idx="2">
                  <c:v>4608.0</c:v>
                </c:pt>
                <c:pt idx="3">
                  <c:v>5148.0</c:v>
                </c:pt>
                <c:pt idx="4">
                  <c:v>10188.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38"/>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FCD4A51-9407-48E4-B1E0-05C48E66D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D4B0EA6-B7D5-430F-B938-00E8C02F9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B535724-CE35-4538-926E-718DA63D6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A639E7B2-2188-421C-95DA-7EFE12FB4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1F5511E-D029-4051-B8F9-729761DC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0B0EA0B-A60A-4B6F-94AB-1945F7FAC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9200D218-35A5-4D45-A76A-4F530DC08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F0EA740-49A8-4773-AE7D-2BBB98A7D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37D69CB-E0CD-4F8E-A09B-AB65350CB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1F502D0-D15D-4F6E-A034-022736299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A6B8136-3B99-4600-8282-42D8FC5D2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A68AF01-FBC8-4015-B4D0-682365DA1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48416B9-373D-4769-82B6-6EAF81A33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124ED73B-2291-4A38-923F-3A7370F8C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600F608-5647-4477-B27E-468EADA4F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FA890F52-6D95-475A-B848-7B395B0ED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D1DFDF2-BB62-42EE-8C02-0BD85B3F8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88FC082-CB1A-481D-8AB8-8D72CC67C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F4DE461E-44CF-4362-902F-4EA0BB4FD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48C120E-202C-432B-BC42-62F4133B0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E8213E3F-A0EA-41EE-AC15-6F63864EB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978317E-A0EF-4E4C-99E3-CC611BB54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8C0F0C8-6DF0-4E6C-B912-16C7660EE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C8FD9D0-FD7B-4E7E-B938-8F70C44C8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65DF2F75-1036-42D4-8C71-4DDDB3908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314579B-D594-4FE5-8D59-63EE913B3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321CD389-6272-4131-A05E-1E4510DC7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5FABC1CF-2A97-421D-BB5E-74FEF40F2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CCB94D80-BFF0-41A9-AEED-0E1A7C135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A20E4E3-8AC7-4965-AE8C-162060978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B013AE61-EB42-4BB2-A359-2B606C0DC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4139894-C091-4EC5-935E-733C5C22E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630D5AE-C253-4C0D-ABE0-6EBEBA053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5C2FF52-4FE6-4540-819D-D131DC142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67B19ADA-6798-46E7-89B5-84CDF5461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CC1D5B31-A04A-40C2-A82F-2D3273FB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EE1B94D9-A3B1-46F9-929B-E015639AC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23D66EC1-FED3-4470-8FC7-3A7F80EE9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E1F4973-23BD-446F-93CA-BEB394A03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9E4C974-F509-4CF2-AA6B-EBFD8ADC2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3E71B64-9883-428C-A633-80C381017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70C9C02-B335-4DBA-8804-1FE5CEF61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B0E18E5-A246-426A-A5A5-FDD201DDC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C5C80B9A-8886-4162-91AE-07826CED0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E101EE4-BF67-4911-B732-2CD504103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C623FEA1-33F2-48E0-AD2F-EE6C3EBC6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02</c:v>
                </c:pt>
                <c:pt idx="1">
                  <c:v>1.87</c:v>
                </c:pt>
                <c:pt idx="2">
                  <c:v>3.54</c:v>
                </c:pt>
                <c:pt idx="3">
                  <c:v>2.34</c:v>
                </c:pt>
                <c:pt idx="4">
                  <c:v>2.56</c:v>
                </c:pt>
              </c:numCache>
            </c:numRef>
          </c:xVal>
          <c:yVal>
            <c:numRef>
              <c:f>Sheet1!$B$2:$B$6</c:f>
              <c:numCache>
                <c:formatCode>General</c:formatCode>
                <c:ptCount val="5"/>
                <c:pt idx="0">
                  <c:v>0.9231662686573157</c:v>
                </c:pt>
                <c:pt idx="1">
                  <c:v>1.738830395261103</c:v>
                </c:pt>
                <c:pt idx="2">
                  <c:v>1.2943333333333333</c:v>
                </c:pt>
                <c:pt idx="3">
                  <c:v>2.401513802315227</c:v>
                </c:pt>
                <c:pt idx="4">
                  <c:v>0.42696629213483145</c:v>
                </c:pt>
              </c:numCache>
            </c:numRef>
          </c:yVal>
          <c:bubbleSize>
            <c:numRef>
              <c:f>Sheet1!$C$2:$C$6</c:f>
              <c:numCache>
                <c:formatCode>General</c:formatCode>
                <c:ptCount val="5"/>
                <c:pt idx="0">
                  <c:v>16367.0</c:v>
                </c:pt>
                <c:pt idx="1">
                  <c:v>7568.0</c:v>
                </c:pt>
                <c:pt idx="2">
                  <c:v>6635.0</c:v>
                </c:pt>
                <c:pt idx="3">
                  <c:v>3719.0</c:v>
                </c:pt>
                <c:pt idx="4">
                  <c:v>3066.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356962018340362"/>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2.46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FC62306-2927-4082-9FFC-5C4616915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18CF0D0F-0DC2-410A-8774-C0862359E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1D7FE65-880C-4BB4-9A14-B7DB93EE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84F512C-44E6-452C-81AF-157918CEA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6F521A9-4D56-4A22-8262-853D0B3C8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E6AF13B7-C3E4-49C1-9DF9-76E39A230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FACD8D92-BE64-4541-A465-16A5BB8C9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AFFEBAD7-642D-46CE-B257-6BEE2A59A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4C15AFD-B9E3-44FD-B624-D2C694B8B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4AA5759-0BF5-408C-A7FD-B0644691B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D2BD5DA1-6C78-4078-B5C8-7532CD97E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D6880473-5571-4AE0-8D4B-D0758341B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4EC40353-872B-41F7-BD61-636532990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8D9B4174-137B-4663-86DC-5E968368F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D071409B-923D-4990-9EC2-BCD525E28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1313995-0E83-4993-9023-EDD74E06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EBED251-262A-4439-A66F-970F58B64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B942A65E-79F1-4DAC-9B5E-B11E651B2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FB77C74C-56F2-4C4A-9C6F-B84D29B62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95529663-BE06-4992-93AA-9399E93AE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A2A3ADD2-CAB4-4E11-9F0F-2D87854C0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0004A81A-B44A-4C50-9E87-19F9DED6E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F04D046-D390-438F-A337-F9AA9D1EB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6996BB62-44AE-4250-998A-48A03F63A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3C62F6B9-3E94-4D6F-8D46-F239C61FA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DDCDF0CC-11C6-4890-AF05-E13C49704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9FBFA6F-BDE0-488A-95EF-EEBB98F4D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028CDDA9-2AD0-4230-8127-F1B84F347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A9D6682-C474-488B-BB04-52C7902FF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937FDF4-BD31-4F10-B56E-9405B79DB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D96C550-23D2-47FB-8A3C-B41488022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50A7EDF-28CE-484E-9614-5E3E63B3E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668C727E-40F9-4113-A624-5B4EE9023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A8525A29-E9E9-4FDB-A8B2-0438B2238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2E0CB83-C702-4621-A064-9ED48463B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CC8FD90-6D75-425A-A63E-730925258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075C7D6F-61AB-45CA-9028-BD24DD81F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1AC39C0-C9AA-4A4E-AF0C-428956888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A52F820-8875-4129-96B5-EFD7BFC3B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1178FED-F5EB-4B8F-B14D-10318F824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884264B-01CF-4FC5-BC70-7A6430D29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AB691746-E9AD-4242-9546-EE87B97E1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33DBC7AC-D79C-4ADE-A1C1-3B1BC3A49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8FF573E-03BB-413A-B1A0-8BCABE5E4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D486AB6-B952-41B6-B819-56BD65CC5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BD57344E-1741-4F20-9611-F62F6D0BF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28</c:v>
                </c:pt>
                <c:pt idx="1">
                  <c:v>1.5</c:v>
                </c:pt>
                <c:pt idx="2">
                  <c:v>2.83</c:v>
                </c:pt>
                <c:pt idx="3">
                  <c:v>2.12</c:v>
                </c:pt>
                <c:pt idx="4">
                  <c:v>1.56</c:v>
                </c:pt>
              </c:numCache>
            </c:numRef>
          </c:xVal>
          <c:yVal>
            <c:numRef>
              <c:f>Sheet1!$B$2:$B$6</c:f>
              <c:numCache>
                <c:formatCode>General</c:formatCode>
                <c:ptCount val="5"/>
                <c:pt idx="0">
                  <c:v>1.1675818943639649</c:v>
                </c:pt>
                <c:pt idx="1">
                  <c:v>0.9113353061673631</c:v>
                </c:pt>
                <c:pt idx="2">
                  <c:v>0.6153934836203686</c:v>
                </c:pt>
                <c:pt idx="3">
                  <c:v>0.2546916890080429</c:v>
                </c:pt>
                <c:pt idx="4">
                  <c:v>0.3851909645649512</c:v>
                </c:pt>
              </c:numCache>
            </c:numRef>
          </c:yVal>
          <c:bubbleSize>
            <c:numRef>
              <c:f>Sheet1!$C$2:$C$6</c:f>
              <c:numCache>
                <c:formatCode>General</c:formatCode>
                <c:ptCount val="5"/>
                <c:pt idx="0">
                  <c:v>30852.0</c:v>
                </c:pt>
                <c:pt idx="1">
                  <c:v>11840.0</c:v>
                </c:pt>
                <c:pt idx="2">
                  <c:v>6522.0</c:v>
                </c:pt>
                <c:pt idx="3">
                  <c:v>9651.0</c:v>
                </c:pt>
                <c:pt idx="4">
                  <c:v>7037.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2.0580000000000003"/>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F0CFB2C-6E75-40F4-899C-96EB4586A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7E6A255-24A9-49AD-8326-929E47032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9EC28055-9F54-4F0B-83D9-05B57B716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DC6C9BF-E5FD-4155-B379-8C5A41351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A3C605B-665F-4C61-9935-77904C782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7E0BF08-E387-4FD3-8666-1AC149FDF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AB36363-13F1-46B5-8BCB-DE19D2103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7F9D4E52-E5D8-4F41-A451-9163979DB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062C63B-A8E5-4C80-B139-6F1FB2022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8744F244-B191-4184-9893-08C47B323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7B36984A-F818-4D24-AAB7-84C046404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4EA73289-9F80-4744-9B0F-5A44FE11D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E8A8473-994B-4B92-AC68-D89F1156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7C477D81-173A-4934-823B-F179A9AB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D5D8E4C-BE50-4299-BA1F-8EB80175F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53DA131-860E-463B-915E-733B82EF9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B514B80-AD20-465B-A4AA-4B5FFCBC9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4224911C-41E1-441C-B401-272B89BBF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CB76BA2-901A-416A-8FFA-745F0BEF1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D4753BA1-E173-4E9D-BA58-551A346DD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62DDA143-4C5B-4B95-9BE9-1DC7ED429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84EAC8B-BF1F-4270-B29C-7474CB193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28C2FEBB-E23B-45E6-9FAB-75A4227BB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40F94CB2-E662-46E5-B395-3211E5BDB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C277EFED-9C06-4847-878A-FF6936FB1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6872B970-A2B7-4EC3-A114-F16946118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7D288C9F-5564-4D9A-8928-D76D63D8E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6EC541B-8A52-441D-A1C4-5E5E18448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4D00E0A-9BA6-4E75-B87F-9B0FD52EB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BD2AE8CE-5D14-4FED-BEC2-CEB3FE0E8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83651DC-7A57-49E3-A567-52A56DAE3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2354B47D-3C10-4821-981A-50E182706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FB9D9AD-1011-4DE2-90FE-358D521BF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57E052D-A779-4582-B6D4-EC537B58A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F7F6FF9-11C5-49C5-A6C8-CEC3E3B90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E015EC41-4E8C-489C-B434-92B71639A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EB73C5C-7CB0-4B1F-853B-664BFA9A2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6C34C83-7995-4993-83CC-5E467AD8F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917F6BC0-F104-4A90-B6F6-F9D0F9DC4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C6DFA1F8-0F19-433D-A853-40B9677E1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A88441FA-F04C-4A51-B280-789A5E73C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545D60D-1418-4410-98EE-8847F5F78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ED780F97-B6CD-409B-84C5-A49D05EF8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804BA32-35A8-4FFC-9264-60C4457D6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DB71310-74B5-4D4B-99CC-77977F57D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3B1F0DC-F4A2-4CDB-97E9-30CC537C5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3</c:v>
                </c:pt>
                <c:pt idx="1">
                  <c:v>2.51</c:v>
                </c:pt>
                <c:pt idx="2">
                  <c:v>0.8</c:v>
                </c:pt>
                <c:pt idx="3">
                  <c:v>2.2</c:v>
                </c:pt>
                <c:pt idx="4">
                  <c:v>1.43</c:v>
                </c:pt>
              </c:numCache>
            </c:numRef>
          </c:xVal>
          <c:yVal>
            <c:numRef>
              <c:f>Sheet1!$B$2:$B$6</c:f>
              <c:numCache>
                <c:formatCode>General</c:formatCode>
                <c:ptCount val="5"/>
                <c:pt idx="0">
                  <c:v>1.0769525435386629</c:v>
                </c:pt>
                <c:pt idx="1">
                  <c:v>1.8610871271585558</c:v>
                </c:pt>
                <c:pt idx="2">
                  <c:v>0.12650702744316536</c:v>
                </c:pt>
                <c:pt idx="3">
                  <c:v>0.778324631627799</c:v>
                </c:pt>
                <c:pt idx="4">
                  <c:v>0.1950578338590957</c:v>
                </c:pt>
              </c:numCache>
            </c:numRef>
          </c:yVal>
          <c:bubbleSize>
            <c:numRef>
              <c:f>Sheet1!$C$2:$C$6</c:f>
              <c:numCache>
                <c:formatCode>General</c:formatCode>
                <c:ptCount val="5"/>
                <c:pt idx="0">
                  <c:v>12872.0</c:v>
                </c:pt>
                <c:pt idx="1">
                  <c:v>3849.0</c:v>
                </c:pt>
                <c:pt idx="2">
                  <c:v>21224.0</c:v>
                </c:pt>
                <c:pt idx="3">
                  <c:v>4648.0</c:v>
                </c:pt>
                <c:pt idx="4">
                  <c:v>4560.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714"/>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89667D08-3D8C-4ACB-9818-0A7DE0E7C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819840C-B89B-491F-BD17-FE506562E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E1E3850C-F773-45E5-B3B5-C632947FB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4B689B10-5A3B-499F-87C1-F7F06EBAE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EA50F46-9540-4C2F-B5B9-661F9A264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C9D12B98-42AF-4665-8F74-3452CBE93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C1F3489-2366-4FCE-812A-340A0F732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F45EE60D-FA43-491F-B351-D7C591B65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C1F10EC-F645-4004-A50B-9BCB62090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6496744-5216-48DC-97D0-F9880FA91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E2BA197-121A-47A5-B7E8-8FCDA6654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BED9DC2-146C-4183-8127-0E5F64637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B134597-01CF-4FFF-8C2B-303D851E6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0D767A38-521C-4152-A5AD-F8E405467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715E2B5-9C08-454B-B5EC-A58154D85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EA9E634D-3EAD-4946-A46C-3C2C9F906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C8EF17F-8E39-4D3D-816C-18806C674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A9FF6B0-B3FA-49A5-A996-E637584D2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579A143-6717-4ED2-ABB3-F3A1872C1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4D758B6D-5972-4D64-8476-661B3E02B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3655E1B-1E23-4CBC-8C59-424F2D233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930A51E2-02C2-424D-81DC-EB8E16F28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B5D8B1CE-BD8F-410C-ABD6-17AD1E0C9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73FB3C43-8280-4473-8DD2-4FC3B7FAC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C7164D92-EADE-4EDF-90F3-B48F1A2A9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DD67534-5441-47C6-9754-0A7A89D0F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25740EF0-F4F2-445A-8B4B-9FAD8F3C6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51A6D5BA-388C-4E40-9FF3-61E368F79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F67CC0B1-E839-40D1-8ECC-B039E2698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2B87DA57-3D5F-41EE-BA6D-0C7CC5348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BFDE470-7675-4CED-89AA-B44AD0213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E7C898A-EF72-4D18-9E59-9D8D8BC9F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F3FA9E06-D2D5-4C37-A720-847B67383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A8213C44-C269-4F43-A2E0-0A5641678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EB5CC6C0-924F-4D3D-B52F-A5DE5E3CA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C77E032-E5A0-4E29-A96C-1D87C77FE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14FAD4A8-4EF8-4972-B93E-CA01A4B30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CD2CDED-445B-40C3-8A7B-DE67DEBDA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2D03A850-7C5A-49BD-8300-CC20E27EC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28F23BC4-0EAF-4053-8034-4AA40A837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A492489A-4411-4BFA-B17D-4589B766A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DEE0228-238F-4512-B3BC-CCA71D91E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B57DF2A9-4E37-4DCE-AEB5-1FF1DE2C9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58988E44-B7DF-4F97-B382-5A21E52A2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23BDE46-184D-4E42-8E89-9CEAB11C5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5980364F-0B2F-49E8-8700-A5702C640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c:v>
                </c:pt>
                <c:pt idx="1">
                  <c:v>1.61</c:v>
                </c:pt>
                <c:pt idx="2">
                  <c:v>3.2</c:v>
                </c:pt>
                <c:pt idx="3">
                  <c:v>1.97</c:v>
                </c:pt>
                <c:pt idx="4">
                  <c:v>2.02</c:v>
                </c:pt>
                <c:pt idx="5">
                  <c:v>2.08</c:v>
                </c:pt>
              </c:numCache>
            </c:numRef>
          </c:xVal>
          <c:yVal>
            <c:numRef>
              <c:f>Sheet1!$B$2:$B$7</c:f>
              <c:numCache>
                <c:formatCode>General</c:formatCode>
                <c:ptCount val="6"/>
                <c:pt idx="0">
                  <c:v>0.9805136201463136</c:v>
                </c:pt>
                <c:pt idx="1">
                  <c:v>0.912144273917175</c:v>
                </c:pt>
                <c:pt idx="2">
                  <c:v>0.8873925139099645</c:v>
                </c:pt>
                <c:pt idx="3">
                  <c:v>1.228221456395252</c:v>
                </c:pt>
                <c:pt idx="4">
                  <c:v>0.5319753161752526</c:v>
                </c:pt>
                <c:pt idx="5">
                  <c:v>0.313997759663391</c:v>
                </c:pt>
              </c:numCache>
            </c:numRef>
          </c:yVal>
          <c:bubbleSize>
            <c:numRef>
              <c:f>Sheet1!$C$2:$C$7</c:f>
              <c:numCache>
                <c:formatCode>General</c:formatCode>
                <c:ptCount val="6"/>
                <c:pt idx="0">
                  <c:v>70070.0</c:v>
                </c:pt>
                <c:pt idx="1">
                  <c:v>39713.0</c:v>
                </c:pt>
                <c:pt idx="2">
                  <c:v>27127.0</c:v>
                </c:pt>
                <c:pt idx="3">
                  <c:v>15125.0</c:v>
                </c:pt>
                <c:pt idx="4">
                  <c:v>22064.0</c:v>
                </c:pt>
                <c:pt idx="5">
                  <c:v>26440.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2.17"/>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1EB76C6-3F0A-4894-AEE9-8B1355590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9D2C3C05-4928-4E30-A8FA-15063AB23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r>
                      <a:t>3</a:t>
                    </a:r>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EFA209E-3371-4E2D-8C7D-43E5D463E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85949CED-21FC-4C7A-83BC-6C714016E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5B5D59F-3284-4299-AAC4-1096333D9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9A4C128-6C3D-4BCF-8D02-9D728D785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1EF4D29F-C7F9-4E45-B790-EBB7A1F8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3BE9280D-2F63-4819-B022-3A779D2E4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A07381EF-2705-4341-9EE0-680544B4F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AD0BC3A3-75B3-47B2-A129-BDD21CC5C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9143AC8-488B-4B10-94C6-631FF013F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76BBD0F-4E5D-4B4B-8259-B37BFB131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AB01F7B6-7D31-4912-96EE-99DF0FC3E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8BD4A40-B2BD-43CB-9CA4-889D505C4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64E0E28A-F892-4B4E-A732-1D10F0EC7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E5D33B0F-B7EE-4645-9AB9-BCC80D1C9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6A7BCC38-4E67-4169-A7D2-03DD77428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029FDE59-C2D9-4F35-84CA-78D6169D6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2E868D2-9178-443F-BC23-047BB2325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C30BAB57-6775-4973-863B-84C974B1F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9551972F-14AD-4961-92D5-EFC2511EC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FABF45AE-1B95-4BE2-95D7-59368A43E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E72D6FC4-74AD-49D0-8BFE-1FB238AE3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FBB0046-DE7E-4C6D-84FE-F7A6315F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680D41D-45ED-4A4E-A9E8-60655088F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7EA6620D-30B5-42FF-918A-F84CFA77F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C0BC717C-0131-4234-80E4-85E1DFE7B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D98F625F-8E17-4EA6-A9F3-E5F40559F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0B471A15-A9A4-4456-A368-EAA248FF8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BCD790F5-A7CB-4397-AF86-C9770E2E1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806E4DF-66CC-472A-B0C8-A0F2CF298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095CCAD-D9A2-4080-A193-FDAF3116C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6CB86C7-4A39-4F22-9BA1-5638FC9B4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734F4B4C-A79A-4BDB-9880-7895565C8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0DB39AF-C376-45ED-A125-5A08AB7E8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C6379839-66C8-4525-BA41-6F3AA1DFB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57CA565C-9DC1-48F8-8137-DC2211410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504C915-4E84-4D57-9BAB-BB07ED86B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F805D629-3777-48ED-9B55-BB037E983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13B87FDF-310F-4F94-BD60-04F84FF87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F0191254-D9B9-4036-96BA-4AEAB4A74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9D8CAE92-20F6-4A0F-9129-9EBE9AEDD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90C09818-5858-497F-87D2-7B9412977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C274B94-8084-477D-98D7-C0C34931D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9BAD6BB-1023-4059-A932-F5C509452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4852B2E-BCE8-4CD3-BDE3-5ECC666EC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6787196-A372-45F7-98C6-9C8904240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12</c:v>
                </c:pt>
                <c:pt idx="1">
                  <c:v>4.63</c:v>
                </c:pt>
                <c:pt idx="2">
                  <c:v>3.81</c:v>
                </c:pt>
              </c:numCache>
            </c:numRef>
          </c:xVal>
          <c:yVal>
            <c:numRef>
              <c:f>Sheet1!$B$2:$B$4</c:f>
              <c:numCache>
                <c:formatCode>General</c:formatCode>
                <c:ptCount val="3"/>
                <c:pt idx="0">
                  <c:v>1.30816754166105</c:v>
                </c:pt>
                <c:pt idx="1">
                  <c:v>2.850737524124621</c:v>
                </c:pt>
                <c:pt idx="2">
                  <c:v>1.2177629099133058</c:v>
                </c:pt>
              </c:numCache>
            </c:numRef>
          </c:yVal>
          <c:bubbleSize>
            <c:numRef>
              <c:f>Sheet1!$C$2:$C$4</c:f>
              <c:numCache>
                <c:formatCode>General</c:formatCode>
                <c:ptCount val="3"/>
                <c:pt idx="0">
                  <c:v>315593.0</c:v>
                </c:pt>
                <c:pt idx="1">
                  <c:v>106664.0</c:v>
                </c:pt>
                <c:pt idx="2">
                  <c:v>76953.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792222658566325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520000000000000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E9D7361-2DDC-4AEC-BE7A-2830DC746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E0CC72D0-8C83-4A59-A269-90CE6C343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7005417-473B-46A9-81D7-A1C6CB0A7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654E8AD2-BAFD-4744-81C7-7777F960A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A5B9BDF1-26FE-43AD-93E9-F0AB7E12D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67536A97-3703-4CA5-A94C-4A964AD8F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77C4325-B490-4461-BCFA-354FAC4C2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6BF88738-18B2-493D-BFB6-EC70EBA3C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B0F3FB7-40C7-4680-9196-78623BB0D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92293CD-30CB-4DED-8E6E-0F12AACF4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92662ED-E5D5-4CB3-9401-47AE7827A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85FFB989-B3CC-4B60-9107-B025A1A38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DAEA30C-0CA8-4D5F-880F-26ED95B09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92728B1A-C8E5-4534-858D-B3B4F4A14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0C089D3-BE12-44F4-B7F8-5CD8ADC9D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4B95EAA-4F92-49BB-8805-535F033B5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82D3E9D-E0E3-41A2-A199-089CE5940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C6DA4B3E-D97C-4841-B124-69BC5E3CF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DB9C64BA-3B5C-4988-ACD1-51C9CEAFC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8085A75-D4CE-46FF-B3A4-9E52149A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DD4D550-4DFD-4977-BAA9-0323E4638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7CCEEDD-0B48-4838-94D0-3E711313D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9B92EA4-E18A-477B-B18C-6048CDD62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73D15A19-5699-482E-A4E3-E209F5EFC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1688287-73FC-4EE3-BD30-709C2C303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7375EC82-DF62-4241-8B25-95E466AD2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06824670-883F-4658-8403-A3A0ADFCC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4AFE77C-82CE-49E4-B210-8B5D6D7DF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C4026991-F389-48A4-A19B-B9FEAAC82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84D40920-FB7D-4B28-A851-9CF55D6DE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633A8BA1-04D6-4649-BFA8-7ECCAD1DA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18675A9-3A2C-4537-9C36-2C189D0BA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773AE629-E408-46F6-9276-F28620890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2111707A-212F-4CB7-B07B-BF0FA5F52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BC6E5BEB-8747-4C0A-B17A-DE2BF8901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C882CA94-50DF-43B3-B336-06C24F324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CDC21A3-6080-4D97-B31D-E09630094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2CEA43B-E8F1-4588-AA3D-FB97CD9FA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853A702-39C5-457E-AA9D-E0D5DA7D9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CB5AA2F-F8E8-46C0-890F-0125344F7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496FA7A-F3CB-4993-B1A4-30EFEB21E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A776E1AE-3F1C-43F0-9F7A-0F7262207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7209520-6813-4504-9F20-1C8A7397C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682721DB-3284-4C5A-8EFC-A9C7E03EC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B8035CF-91F8-4190-86D7-D1C80FB9C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6454A00-74E8-43EB-8276-E3E246DAB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7</c:v>
                </c:pt>
                <c:pt idx="1">
                  <c:v>6.28</c:v>
                </c:pt>
                <c:pt idx="2">
                  <c:v>5.95</c:v>
                </c:pt>
                <c:pt idx="3">
                  <c:v>8.34</c:v>
                </c:pt>
                <c:pt idx="4">
                  <c:v>8.67</c:v>
                </c:pt>
              </c:numCache>
            </c:numRef>
          </c:xVal>
          <c:yVal>
            <c:numRef>
              <c:f>Sheet1!$B$2:$B$6</c:f>
              <c:numCache>
                <c:formatCode>General</c:formatCode>
                <c:ptCount val="5"/>
                <c:pt idx="0">
                  <c:v>2.183318906350058</c:v>
                </c:pt>
                <c:pt idx="1">
                  <c:v>2.1350358363250246</c:v>
                </c:pt>
                <c:pt idx="2">
                  <c:v>0.9773161147504607</c:v>
                </c:pt>
                <c:pt idx="3">
                  <c:v>2.6368592140173357</c:v>
                </c:pt>
                <c:pt idx="4">
                  <c:v>2.12703466868886</c:v>
                </c:pt>
              </c:numCache>
            </c:numRef>
          </c:yVal>
          <c:bubbleSize>
            <c:numRef>
              <c:f>Sheet1!$C$2:$C$6</c:f>
              <c:numCache>
                <c:formatCode>General</c:formatCode>
                <c:ptCount val="5"/>
                <c:pt idx="0">
                  <c:v>317206.0</c:v>
                </c:pt>
                <c:pt idx="1">
                  <c:v>264485.0</c:v>
                </c:pt>
                <c:pt idx="2">
                  <c:v>207772.0</c:v>
                </c:pt>
                <c:pt idx="3">
                  <c:v>183889.0</c:v>
                </c:pt>
                <c:pt idx="4">
                  <c:v>15483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011912948026348"/>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7.281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8087043-2215-41CB-B94A-77DC458F2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4453C5E-1CB4-4110-9CD7-F27BDB70F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AB743041-A39C-44EE-9779-B9C2A6C86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9161B47-0867-44B1-9531-77C5A2D82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A0F5C015-5355-4022-B1BB-A4DFF23D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ACA2F90-7274-4901-919D-454ECBD47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98E48C5-6089-4C0D-A760-999C9F28A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978F8B09-86E0-47F9-9E7A-3240653EE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DB2CAFA-30E6-4AEC-BF10-2010F5399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A11042FE-9723-45CF-A635-5C138AC3A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C23A47BC-A355-4B21-867F-A593CE62A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3DDB0801-2F93-47FD-AE35-A31416260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616D73B-B8EA-4B02-8525-F9FD99F17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C34C5652-C339-4687-B20D-D3EF07CD8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61EB006-6D1A-4562-9BA4-D0D5E9B58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395910D-D760-4CE1-B935-01ED95DC4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59E57CFB-4041-4F48-982E-CA2B476E8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DAD514B-EEB8-454C-9641-E01F18C22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4AE7C22F-1389-46C5-9DA6-CE10B2C3A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41A47552-9B1D-4C78-BCAF-09FAFCAC0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1A727AD4-0F1F-4A2C-B9AE-55BF42C24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649E4A8-CDEF-4208-BCCC-7F9395935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ABF48E2-ECA4-44A8-98A5-00AA70936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AF138329-D1AE-48BD-811E-63A85049F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4991C64-73FC-4228-AF34-8E853C2F0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7BEE392-E548-4301-A677-1C9B8B4F4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E0E80C66-F129-4B69-812A-8F747EA14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F9B7694-E68E-46EE-B78C-843FC3F70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684615A1-D845-4EBF-85D6-98CA28FA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D12B82D8-539E-4AF5-A01B-708876D61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ED8B60B-6C80-45BF-B275-91DEAA605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DE19A6F-0E99-4E8A-85BA-3279DA9B9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37B3534-4F06-4483-AE0B-1F50D578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302350C2-1254-4229-AE59-292E631CA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1C8AD11A-35D1-4E54-B3C7-F4A2EF462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C9F6E1BC-3ADC-4647-AEDA-201904B58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04B94F74-12BD-4B3D-9A06-B98F7ECE0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E9BD60B-1D49-4C11-819C-CC7C884A5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BFB92DF2-5856-40A6-8D5B-297F0D116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5E5CC32C-EB05-4272-825D-1089EE3A3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BEAF3341-DC5C-48E0-8092-7274DDD47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600E24C-4641-45BF-AC59-12F67FD91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6823DF1-6FAF-4651-A83F-4C862A378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314503A-EEC2-44CB-9B14-8CBB8DC52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76D6242C-1C77-40E9-AAC3-3E43B06DC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99BEBD9E-8D63-4FF0-8D27-1A15B40AA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c:v>
                </c:pt>
              </c:numCache>
            </c:numRef>
          </c:xVal>
          <c:yVal>
            <c:numRef>
              <c:f>Sheet1!$B$2:$B$2</c:f>
              <c:numCache>
                <c:formatCode>General</c:formatCode>
                <c:ptCount val="1"/>
                <c:pt idx="0">
                  <c:v>1.109074930829675</c:v>
                </c:pt>
              </c:numCache>
            </c:numRef>
          </c:yVal>
          <c:bubbleSize>
            <c:numRef>
              <c:f>Sheet1!$C$2:$C$2</c:f>
              <c:numCache>
                <c:formatCode>General</c:formatCode>
                <c:ptCount val="1"/>
                <c:pt idx="0">
                  <c:v>173333.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10907493082967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7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5A452914-F1B5-4F7E-AB66-73FCD9CC6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DB7F63D-57BF-4849-AB8A-F06D39236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9606C441-E31B-42A6-9819-2C958E37E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17F9D084-EFD9-405F-B2E0-90C68A70B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6F11A80-33D4-446F-A357-3F56B613D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D45F2AC-6004-494F-8F63-3CD1A3176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95C561C-B687-4215-BE5B-03A2D4090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26462C4C-53F0-4C06-BFC2-4141F31D2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FE5C901-6408-4852-B124-8CD2DD21E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CC6124B-F8BE-40D4-8B1C-19A698EC9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8957B5E3-8615-4573-BBC3-5C354828A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0F913BE3-C604-4E8D-857D-87848F9F6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F829DF9C-2C6A-48DE-9C60-0661BD674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5D3BC873-2377-450E-BEC7-EFEC22217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FE45831-F069-449F-8A67-7143733F1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DC476AF-B7D6-45FE-8C88-372480148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743EF57C-EC11-4CCD-A2DA-A8A479501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EA277241-F8F5-4D1C-A11D-B3C7F2AB0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C8128D8-EAE1-4AFB-8641-A91AE7513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C14AA2E-DE6A-47E2-B203-2BE95902D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F13D5E6-3EE2-4015-BEA6-9AD8C316A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0CF3832-BD23-488A-8E41-3B4B7DE28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D0D1A5FA-1A43-46CD-87AA-34186660B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918B7F0D-D83E-469C-9808-A3F4A72F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B581D8A-1B75-4CE6-8076-2B4CB5B61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60BBDA8-14B9-4D23-BE70-561936B7A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85C742B4-FEBB-40C4-9AA8-B18B225DE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D2F91CA-6A3D-492E-9FCD-3AF38246D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7D56FCB-BEBA-4299-A415-BD0E0ABAF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9B755989-1F4E-48D6-867C-CDFEBB5D2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2FF5B32-8A04-4D78-AF78-B69581310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8F72615-16F5-41E3-B147-95BAACD77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1CEB5508-B19E-4894-907C-4EC5D3C56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932DD561-CEC8-4B1B-9E7E-38BDC0A3C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622B8814-9823-4056-8BAA-1E55C3642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05DB073-1F2D-42E8-A4C1-9ED9AF6B7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2A04A3F-5AE5-440F-AEB7-7311C7C09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61C4E38-3425-4760-95E6-126619B46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4C06EDC9-CE65-4A45-99AB-E94744CEF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2B4194D-F22F-4E27-916E-CE7EE0795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6B49C3E1-E85C-40CE-97AF-4AEEDD16E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D631D40-1A19-42D6-B449-E1FCCC13E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476CAECC-6F06-427A-BBCA-EC3BA832B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C0DE565-3D09-401E-A822-702ECE608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DC5FCC6F-699D-4EDF-8BAC-B3AD20E90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5426475-92DA-4D38-B774-DEDA48D8E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c:v>
                </c:pt>
                <c:pt idx="1">
                  <c:v>3.17</c:v>
                </c:pt>
              </c:numCache>
            </c:numRef>
          </c:xVal>
          <c:yVal>
            <c:numRef>
              <c:f>Sheet1!$B$2:$B$3</c:f>
              <c:numCache>
                <c:formatCode>General</c:formatCode>
                <c:ptCount val="2"/>
                <c:pt idx="0">
                  <c:v>0.8234168545573237</c:v>
                </c:pt>
                <c:pt idx="1">
                  <c:v>1.9802765810234433</c:v>
                </c:pt>
              </c:numCache>
            </c:numRef>
          </c:yVal>
          <c:bubbleSize>
            <c:numRef>
              <c:f>Sheet1!$C$2:$C$3</c:f>
              <c:numCache>
                <c:formatCode>General</c:formatCode>
                <c:ptCount val="2"/>
                <c:pt idx="0">
                  <c:v>126971.0</c:v>
                </c:pt>
                <c:pt idx="1">
                  <c:v>4916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401846717790383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13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CA3CF79-BB28-45CC-AB8B-CC7AB3B88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D8AF125-DA8F-4100-9335-08E9F62CF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4833200-9B0D-4B9D-B2AB-B81369E00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AB845CB-7450-4B52-9D47-F50157335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FF30D22-9F18-4F44-9669-2DE62F835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E60C6B7F-2C7D-4FCB-ABC3-779E66E1F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04C73ECF-C625-4036-A167-F1E672CD0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163EE82-AED0-4945-97EB-FE2714986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853E2DAE-C5AB-4656-9C23-607672928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CF0E215-38F8-4CA8-98F4-6B4E69FB6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41099180-C88A-4FE9-B244-6EDF26D98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068F1EC-C7E8-447C-AA54-C3D1795FC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BF86144-049A-4203-9CA6-23ED74546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780DC488-7732-468D-B427-75A76C2BF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A99D2C73-B7F8-46F6-9EBD-54A14A0C4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659BD3C7-0539-4332-84D4-CD97700D6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CD3087E-9E8F-4004-8318-157C4CCB6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E29314CF-7279-4291-B70C-7871EFCBA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4FEC2397-19C9-4E7F-884C-05344FE80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9D892A7-0CC0-40C2-9C0E-F611AC3A6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102A197F-AD43-4902-98AB-D60989115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B6BB567-79FA-414E-A44F-EA5107C50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49BDB8F-7DF5-4817-B0D1-70E1D4C48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8E54308B-F6EE-4D39-810B-23F9EF8EC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F8A0B77-185F-40EC-B37E-CA63CA730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F69ABF2A-DDEC-4790-9889-1F16B0897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F4CFE4A1-BCAE-49E0-8D8A-0D2781866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872319B6-C097-4E43-8EDD-F5AB586D7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869A184-CFB5-4DFA-B59D-06C17C462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58834895-1FD0-4DAD-A416-C8B89A666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8527846-A7B0-4EF8-8490-676B3F605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3EF4492-DC94-471D-8902-B75137FA4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F84D3B8-C4D3-40F0-A30F-8F968AC2A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19DA13E-AE3A-40E9-AB62-475FE81F6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F3884713-D300-404B-849E-A0C225A69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8C4BBA1-7C49-4E9C-B260-A1555C54B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D876CFBC-AC1A-4B2C-B210-B646F9E93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585BD037-CFF7-46F0-B079-9A7A835CF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DFF03A33-C263-474D-879C-755C9ECE5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00FCF9BD-CCC3-4FA0-88A8-ADF09128F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DAC009A-1210-4500-B41F-7CB82E3B0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AE69FDC-7AAF-468F-ACCD-DCFD00008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F6C36E53-2EB1-4AFC-8C0E-AA9C90EFC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3C6E10E-FCE3-4B1D-9DD1-8052386AF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9E38124-073B-4B86-8EB3-688576462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BAC7906-0E76-47DF-B6BA-DEB9ACEFB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c:v>
                </c:pt>
              </c:numCache>
            </c:numRef>
          </c:xVal>
          <c:yVal>
            <c:numRef>
              <c:f>Sheet1!$B$2:$B$2</c:f>
              <c:numCache>
                <c:formatCode>General</c:formatCode>
                <c:ptCount val="1"/>
                <c:pt idx="0">
                  <c:v>1.0558731705789217</c:v>
                </c:pt>
              </c:numCache>
            </c:numRef>
          </c:yVal>
          <c:bubbleSize>
            <c:numRef>
              <c:f>Sheet1!$C$2:$C$2</c:f>
              <c:numCache>
                <c:formatCode>General</c:formatCode>
                <c:ptCount val="1"/>
                <c:pt idx="0">
                  <c:v>79863.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55873170578921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7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073C070-17FF-46C5-B85D-3392F7766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D8F0510-5B04-4F72-BEF0-7575CED08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581A38CD-AE29-4C10-B4C8-759C56126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7C7FA0CC-1B25-4B12-A805-2407D3A85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B122D0B-0270-4748-84FB-C96E8A514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D394466F-0E70-49D4-B0A5-805401F39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AAC1043-4AC6-4645-A3CF-7D5346F9F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B43223F-74CC-4492-A297-06045B7FF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813B8DD-3834-4668-A7E4-00A4190C4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5527EF33-D7A4-412B-9EEA-64C958EEA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DF32862E-E496-4BD3-ACC3-4CEDACBD7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487F556F-834A-4961-8A35-5DB3F1B30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A7F039D-7B97-47FB-8AF2-952AF2E95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F90782CB-F4B0-4C61-B24C-949E82B43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43A39BD2-5746-4FE2-92F2-95CD2FB5B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61422F8-B67C-437A-B54C-6993FD8F2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58134766-5291-48AD-A826-8DB1F404B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3972B63-3C39-4FD7-BDBD-C15EA4125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A86E8265-0728-4519-8B75-6C6BCF87C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5D5ED8A-5C46-433E-BD06-3BF54BD27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A40FD3EB-AB42-49DB-8DAF-700AA6989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EE634FA1-F810-4F4D-83FA-A16B7908A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85DFA87-540E-416A-9221-72F210739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E043AD35-2B1A-412E-93A4-EA2E7068A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88E8E37-A30F-4117-95EA-65EFD5FB5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081AE4BA-DE44-470B-AC4C-A78530E91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E5105352-CA2E-4513-BDB7-65F152B52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2CD349CE-D730-4565-9F9F-74AB8F15C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D205029-29F1-4902-9526-5AB433CE9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A2DC2EB-8FDA-48A1-8CA9-4FDFC95C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B4A0027E-8AF8-497F-9E98-4A5F8F96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E062BCA-877F-4B1B-946D-599758465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B6509F4-4236-410B-A6A5-6054E6047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3188B561-639E-4265-B4C6-1EE55FCE4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30E466C-635F-4D5D-8734-B6C2771C3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59B97F9-25D1-47E0-9522-0B934525A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9866716-CF9C-414E-A35B-465553770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C8F84D9-D1A0-45FE-A83B-48E81B217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586ADC2-6B5C-4162-A5AB-B9F95478D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0AEA786-9ED9-449B-A283-FD8FAB18F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2DE9ED22-CB7C-4906-A2CD-4A3B3F506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C83AE73-6867-43CC-B175-ECC727BC7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0BDA8DA-AEB4-4029-BC9C-77DAE45BF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65253C45-896A-4115-9EBA-8F1FD51C9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D6C7ABE3-31BF-41C7-A3AD-076799F0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082F870-450C-4C5E-9A4C-448BC4E85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85</c:v>
                </c:pt>
                <c:pt idx="1">
                  <c:v>3.26</c:v>
                </c:pt>
              </c:numCache>
            </c:numRef>
          </c:xVal>
          <c:yVal>
            <c:numRef>
              <c:f>Sheet1!$B$2:$B$3</c:f>
              <c:numCache>
                <c:formatCode>General</c:formatCode>
                <c:ptCount val="2"/>
                <c:pt idx="0">
                  <c:v>0.6624783022961831</c:v>
                </c:pt>
                <c:pt idx="1">
                  <c:v>1.7387629295906744</c:v>
                </c:pt>
              </c:numCache>
            </c:numRef>
          </c:yVal>
          <c:bubbleSize>
            <c:numRef>
              <c:f>Sheet1!$C$2:$C$3</c:f>
              <c:numCache>
                <c:formatCode>General</c:formatCode>
                <c:ptCount val="2"/>
                <c:pt idx="0">
                  <c:v>58793.0</c:v>
                </c:pt>
                <c:pt idx="1">
                  <c:v>26328.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200620615943428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0549999999999997"/>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DEDDDD"/>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Patriarche</c:v>
                </c:pt>
                <c:pt idx="1">
                  <c:v>Bouvet-Ladubay</c:v>
                </c:pt>
                <c:pt idx="2">
                  <c:v>Bottega</c:v>
                </c:pt>
                <c:pt idx="3">
                  <c:v>Savian</c:v>
                </c:pt>
                <c:pt idx="4">
                  <c:v>Mure</c:v>
                </c:pt>
              </c:strCache>
            </c:strRef>
          </c:cat>
          <c:val>
            <c:numRef>
              <c:f>Sheet1!$B$2:$B$6</c:f>
              <c:numCache>
                <c:formatCode>General</c:formatCode>
                <c:ptCount val="5"/>
                <c:pt idx="0">
                  <c:v>0.05699999999999994</c:v>
                </c:pt>
                <c:pt idx="1">
                  <c:v>0.5529999999999999</c:v>
                </c:pt>
                <c:pt idx="2">
                  <c:v>-0.10499999999999998</c:v>
                </c:pt>
                <c:pt idx="3">
                  <c:v>0.29200000000000004</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17AA8BF-9F6D-4344-B9ED-7DAB27260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DFFC2F4-AC7C-4F7A-A723-76F6392C5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A0F6665-DDD2-41CF-AAE2-CE1BD3E21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566B52F-69F8-454B-9103-B47421D4C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908DA6E-69FF-468C-9689-CCA7E7978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C35CA11-A30C-43E9-A358-941796F18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5FE0D7A-4E74-4283-B829-CA92B3BB5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550EF189-74C0-4A27-A323-B8E45FB9E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3D0DF7C-7424-4D2F-98B4-493E25AF0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3494DDDA-027B-4C7B-B76B-80D90AA82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FFCEB8A3-ECC5-4B18-845F-40DBB2075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D033FBB5-2395-4BB9-ABA4-B6339779C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389DE85-704C-4C6B-8099-370DFCA63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F478C71-3EE8-431A-8C73-8E8E91636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86FEF2AD-7DC5-4351-861F-693125188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B8F1713-DF6F-4D42-811F-58F61D77B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3BE3A12-89D5-49B9-AA67-21886665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4C303CD-6A8C-45B5-820E-60A8CAECB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DB50CE1E-FC70-4BD2-9CAC-7E10353A2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03DA3953-F617-4434-949A-D42914A70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3B3BB8CC-56BB-4FA8-B978-5ACC1EDD7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129903DE-1585-4551-A5DA-4805B60EB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70CF7D01-795D-4D0B-A63F-172A22C7B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6567DFBC-86AB-4309-8F66-88C466688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98B6F913-D030-48C1-93BC-15500B01E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90735190-917A-4DF8-B4B4-A17DCE340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63B79812-99F4-499D-8BB7-D01FEB29E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AC85E31C-3ED9-489A-9C56-D3531EFC1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05563B34-E208-412D-851E-0C25D9B9E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6BA6C817-3221-4AFD-ADB4-AACBE4661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8FC09672-905F-4F11-A46A-9B97B2FCD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5967CBC8-EAC1-4F8C-81BC-042AAFD77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187EA407-89DB-41FA-B045-3075DEA66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C7AEB08-1A32-46AF-9879-28FD8B17B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4357AE18-AAB9-4162-B191-A192757C1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2AD169A6-3A35-46FD-ADAC-0811050EE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C0E7D9F-EF34-4E53-80CE-51655059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AB3B804-34C1-4D94-A905-0D220F1B2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28E6225-7AD5-4B69-8AF6-1AFC56BA0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284DF4E-AA5B-40AD-9E5F-CE321A14B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71EE6C40-2CBB-47FC-8BB8-985051447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F375219E-47E5-42B7-B0CB-356FF5DD6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0F04BAB-9F54-4616-80E8-3065C552B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B1488D72-4C02-44C9-8427-C6EB30E5A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BC9F8664-D990-47E4-99F7-681753964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4F646468-5E14-4035-A8F7-F54E28003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31</c:v>
                </c:pt>
                <c:pt idx="1">
                  <c:v>6.95</c:v>
                </c:pt>
                <c:pt idx="2">
                  <c:v>5.96</c:v>
                </c:pt>
                <c:pt idx="3">
                  <c:v>7.71</c:v>
                </c:pt>
                <c:pt idx="4">
                  <c:v>10.36</c:v>
                </c:pt>
              </c:numCache>
            </c:numRef>
          </c:xVal>
          <c:yVal>
            <c:numRef>
              <c:f>Sheet1!$B$2:$B$6</c:f>
              <c:numCache>
                <c:formatCode>General</c:formatCode>
                <c:ptCount val="5"/>
                <c:pt idx="0">
                  <c:v>2.6970161363021727</c:v>
                </c:pt>
                <c:pt idx="1">
                  <c:v>2.842293644682018</c:v>
                </c:pt>
                <c:pt idx="2">
                  <c:v>0.9731709784055435</c:v>
                </c:pt>
                <c:pt idx="3">
                  <c:v>3.388930055226225</c:v>
                </c:pt>
                <c:pt idx="4">
                  <c:v>3.5533954503483587</c:v>
                </c:pt>
              </c:numCache>
            </c:numRef>
          </c:yVal>
          <c:bubbleSize>
            <c:numRef>
              <c:f>Sheet1!$C$2:$C$6</c:f>
              <c:numCache>
                <c:formatCode>General</c:formatCode>
                <c:ptCount val="5"/>
                <c:pt idx="0">
                  <c:v>78084.0</c:v>
                </c:pt>
                <c:pt idx="1">
                  <c:v>72140.0</c:v>
                </c:pt>
                <c:pt idx="2">
                  <c:v>39395.0</c:v>
                </c:pt>
                <c:pt idx="3">
                  <c:v>37517.0</c:v>
                </c:pt>
                <c:pt idx="4">
                  <c:v>35443.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690961252992863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7.657999999999999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68F8EC0-8201-4DE4-8A7C-FAC9F38D6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ED4B3608-865D-48A9-877F-72F37674C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00CFA2C2-4DC3-451A-B5C3-09CA20440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2A3A5F3-F059-41B3-9FD0-3E5FEB6FB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1199BB8-90E3-49DF-B29B-44000DF09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0B637C42-314A-4B05-BB97-CB2FC6AB7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E93780D-07D3-4D20-B356-B5E3425F0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9871AC7B-844A-4B9C-9A1A-D307438C3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7305715-4CFD-4048-8848-1880E2691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E0A845A-632E-4D20-AF20-3721CD781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F627F81-88E3-454C-BBE6-C891B783B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DCC51CE0-01F6-4FAA-9552-ED992D133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3C48FA4-663C-41CA-9D92-157318E4A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5DC1C4CF-E4DE-4AF2-90C5-130AA4DBB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785E974C-8D5D-4873-A3EE-71E10D9C2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2CB86647-9D04-41F9-9414-73F926547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8860CD59-3F63-486B-AEEE-2FAAA496E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A6A0F004-01C8-4FA8-AED3-4EDE13ACC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C541AB4D-3F1D-498A-BC7E-C02A3BF59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AF7377F-3F54-4301-9145-34853CF3B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34F02763-17BD-45A2-B213-5A3397099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5DB405E-1DEE-478A-8E91-96D243E60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304593D-C0F9-431D-8010-A2C7E7D9A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8D4C909-9EC3-4B39-992F-10303F8F4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2E71E5D2-2BE6-4784-9534-24C57CB41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BAC7E773-F2FF-43A8-94EC-F3B1B8114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329EA51F-7402-4225-80B8-5EA2866F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2078FC0C-6BEB-4BBE-A43C-00685157B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A45C891-46D0-4A37-BEC2-C829FA62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9547755-48D5-4889-A013-ABF8EA0F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0C202564-9431-472E-9A92-920608683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B8425C3A-64F6-47AD-B456-90E80A410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BA92E086-22D6-4625-B098-2A951D546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73D74BD-F9CD-486A-A28C-78654FA8D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401CAE91-AFCA-49D3-AE43-122D0A57C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5048D12-F57E-4682-9442-E60E8D984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DDB0F2E-7918-4FF6-AC50-51CA8CD0E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FB0783C-B987-48CE-B6C8-521821B1E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CA4FF74C-6112-488A-A325-DD6C918E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D07675D-9EE0-4B2B-B8BD-11487531D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52BA9A1-9792-410D-8467-88BB3B33E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81EB341-109C-49D4-9CE4-513CCB6DD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37898897-4432-4458-85B3-C4A727A9A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786A33A-8D53-4952-A42E-7266D5A58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0807E03-8384-4654-857E-D2EDDDF6E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46B129A5-9BB6-4B3F-86E6-842B296E8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65</c:v>
                </c:pt>
              </c:numCache>
            </c:numRef>
          </c:xVal>
          <c:yVal>
            <c:numRef>
              <c:f>Sheet1!$B$2:$B$2</c:f>
              <c:numCache>
                <c:formatCode>General</c:formatCode>
                <c:ptCount val="1"/>
                <c:pt idx="0">
                  <c:v>2.765468203956963</c:v>
                </c:pt>
              </c:numCache>
            </c:numRef>
          </c:yVal>
          <c:bubbleSize>
            <c:numRef>
              <c:f>Sheet1!$C$2:$C$2</c:f>
              <c:numCache>
                <c:formatCode>General</c:formatCode>
                <c:ptCount val="1"/>
                <c:pt idx="0">
                  <c:v>128317.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76546820395696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6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DEDDDD"/>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DEDDDD"/>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Patriarche</c:v>
                </c:pt>
                <c:pt idx="1">
                  <c:v>Bouvet-Ladubay</c:v>
                </c:pt>
                <c:pt idx="2">
                  <c:v>Bottega</c:v>
                </c:pt>
                <c:pt idx="3">
                  <c:v>Savian</c:v>
                </c:pt>
                <c:pt idx="4">
                  <c:v>Mure</c:v>
                </c:pt>
              </c:strCache>
            </c:strRef>
          </c:cat>
          <c:val>
            <c:numRef>
              <c:f>Sheet1!$B$2:$B$6</c:f>
              <c:numCache>
                <c:formatCode>General</c:formatCode>
                <c:ptCount val="5"/>
                <c:pt idx="0">
                  <c:v>0.37103992506925154</c:v>
                </c:pt>
                <c:pt idx="1">
                  <c:v>0.21380153692535742</c:v>
                </c:pt>
                <c:pt idx="2">
                  <c:v>-0.3239205788817252</c:v>
                </c:pt>
                <c:pt idx="3">
                  <c:v>0.6066193001325264</c:v>
                </c:pt>
                <c:pt idx="4">
                  <c:v>0.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8B23074-08DC-42CA-BB2E-0CDF28C4A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DCD4545-5B29-429F-9954-4EE8A5633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3200DB1E-8D4C-4EAF-A88D-A4ACC20E3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B53B57D-786F-4495-A521-E594A495B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31F4EA42-47AE-4D71-A244-4B3C61572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CCD1C09F-5A18-47CD-A5C7-11055A62C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1EF976E-CABE-4CB8-93D2-1230C57D2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B55369F-759E-4659-B50F-697F76451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218186E-C673-4225-B428-80EFCC187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DE394698-04DC-4FA1-A3BB-91BFD7608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0382164-1744-4E15-BA18-D2AA3CD91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81A7F15F-C185-4C3D-BCC1-A8FCEB5B0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8D8CCD41-0C9B-4025-88FB-01A8C7D2A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AF37D74B-AFAB-4538-9AAA-FFB678276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5A6193B2-7F0A-4847-8DFC-2F6CD2B58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7AB18A35-23D6-4794-9F61-F9BCE755F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B06F789-6EFC-4068-96C5-5F7D5473F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EEF83B7-C766-4572-92D0-E2C5067DC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724717A-766E-4C8C-A598-576D93F3B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88D42D1C-606A-44CF-8FE0-AA66296DC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2483994-F403-4B03-B6FD-09D777AAD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14C9BEA2-4A57-48FF-8171-76B166FDB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77C6091-6434-4405-B119-6CC72F427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12EAA4F-B624-4B2C-8946-9B3E2793D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FBBC41CB-BFC3-41D0-8E0F-5137C19D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6C4C985-0103-4D48-A5E4-84187B0D9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0E7847AF-19DA-4667-A864-17FE26984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0278DB05-7AFB-4673-80FD-6ACF4527D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A7502165-DF18-4217-BB43-FA132930A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48FC60B1-B4E9-4003-AE70-5248439C2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60186464-1B8D-4C39-94CE-3DC048CD4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EC00439-E9FB-461E-AFCA-CE12746F0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3025182-E2BA-422C-AD82-51DEE64E4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52B9DD1-3C64-4105-A4F1-1BA895D54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FC9B0342-3E52-4BEF-8024-D95A22560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706D7E5-7DD4-4051-8929-4C59CD61E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1719891-AED5-46F5-B6D0-C76BE411E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A2501BC-68A3-4890-AFB9-9E5A2139A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14BB3EE9-147F-4200-A43D-5E47B19F1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324F53E-3C4E-4711-B2CC-0CFA30E90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4AC8346-C2A2-4421-8723-051AD0A18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665B9C2D-3351-4680-9B5E-A89A057DE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5F2F745-FE78-4AA4-B07B-3875E8D1F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EC67B53-1476-4F13-B427-C7FB085C7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0928942-1FFA-4E01-BF57-0A5B00AD7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52C2F016-48FD-445A-B27D-093764B7E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2</c:v>
                </c:pt>
              </c:numCache>
            </c:numRef>
          </c:xVal>
          <c:yVal>
            <c:numRef>
              <c:f>Sheet1!$B$2:$B$2</c:f>
              <c:numCache>
                <c:formatCode>General</c:formatCode>
                <c:ptCount val="1"/>
                <c:pt idx="0">
                  <c:v>0.7523860227714124</c:v>
                </c:pt>
              </c:numCache>
            </c:numRef>
          </c:yVal>
          <c:bubbleSize>
            <c:numRef>
              <c:f>Sheet1!$C$2:$C$2</c:f>
              <c:numCache>
                <c:formatCode>General</c:formatCode>
                <c:ptCount val="1"/>
                <c:pt idx="0">
                  <c:v>92691.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8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DEDDDD"/>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Canard Duchêne</c:v>
                </c:pt>
                <c:pt idx="3">
                  <c:v>Nicolas Feuillatte</c:v>
                </c:pt>
                <c:pt idx="4">
                  <c:v>Nicolas</c:v>
                </c:pt>
              </c:strCache>
            </c:strRef>
          </c:cat>
          <c:val>
            <c:numRef>
              <c:f>Sheet1!$B$2:$B$6</c:f>
              <c:numCache>
                <c:formatCode>General</c:formatCode>
                <c:ptCount val="5"/>
                <c:pt idx="0">
                  <c:v>4.143</c:v>
                </c:pt>
                <c:pt idx="1">
                  <c:v>-0.08599999999999997</c:v>
                </c:pt>
                <c:pt idx="2">
                  <c:v>0.732</c:v>
                </c:pt>
                <c:pt idx="3">
                  <c:v>-0.014000000000000012</c:v>
                </c:pt>
                <c:pt idx="4">
                  <c:v>-0.667</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1F91E76-825E-446C-B7DC-675074008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3F6976C-8655-462C-92A1-CD1AD8A19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r>
                      <a:t>3</a:t>
                    </a:r>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5B1BA67E-D11B-4125-BCCA-825C8005E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06DF49EE-E710-4C2F-B26E-371ADBEF3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92CCCD14-ED53-49BE-AF27-5F2F154D0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B7A51C12-CF78-4673-A671-760BEC74E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A4E047E-32E6-40E2-9CEA-3E1D13CCE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F225735-A533-4385-9C5E-D11DCDE21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AC2C0705-10ED-4C97-8CD6-A7AB66E23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DCB1E7E-0C26-426E-AA93-76EBC62B4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D2580477-0DC4-41BD-94DA-D64E00B55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20AB89CF-828A-4360-9C5A-E82796960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C1FBF159-2A1B-494B-825D-CB54B1895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49E0D2F2-E646-4FE2-9755-D694ED338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FA6FCB44-0224-4111-9C6D-BC5FFE0EC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D5FE891-500C-4DD8-B0F4-1465CEC12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5F44644-8EF7-43DE-B4FD-559F4ACD3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519DDB4-A873-4EF8-87A9-E277A751B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4D1B215C-8DE7-43EC-9BC6-E1BA7AF7A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6687A7B-B098-47A2-B020-DE7CC104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3D3849B-B366-4224-883F-B8C40D6F5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92E9747-71B7-49C4-8AA8-FAB3D0393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B7F583E8-0D7F-4722-900F-D3614277D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E05A3FB6-DB94-42A7-B547-4BCCB8F28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AD2641B-6919-4743-B179-77D0D3896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508433A-DC18-4E18-AB14-FC12E9F26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39ED35B0-010D-4D86-B0E5-B97B92265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53E70DFA-36D6-43B9-B93B-C77F86971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D835EE4-A56D-4054-AC0C-8B8C808CC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B51DBDE0-BB17-43C5-82C1-2E5E67B40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BA8CCAED-9E9F-4F42-9292-0261C9A98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5B5EBD3-D232-4824-B8EC-D02F000E8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53DBDFC5-7BC4-4824-8E91-5E9BBF29B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A5C4F7D-4B65-4255-BA75-CD116FAE0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357DD8E4-3B05-48C1-BEF3-F999FD53A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993F658-F09B-42D2-828A-3968EC74C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34504A1-1F1A-4F1F-9836-B2A372717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0A3881D-3F16-49CF-A339-3F242FA69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2008F9A-4154-41D1-BFAE-496DE3A8A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FDBB6C5-8A8B-4208-AF3D-8A2350593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BDE74D8-D5B4-4435-9281-E30EE8BF2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691B848-6055-438B-A436-8F3A50FE5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FBD14F6-E883-4B3D-9C58-A11471B80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EA3BC6FE-AA71-4991-A6DA-B20975DD7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C0B27002-EFE5-412B-9BB8-ABCA16B90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3F5950F6-3CA8-4CE5-A2F4-763719EC0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F405536B-020A-481A-B5DB-EC7315151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43</c:v>
                </c:pt>
                <c:pt idx="1">
                  <c:v>1.6</c:v>
                </c:pt>
                <c:pt idx="2">
                  <c:v>2.42</c:v>
                </c:pt>
              </c:numCache>
            </c:numRef>
          </c:xVal>
          <c:yVal>
            <c:numRef>
              <c:f>Sheet1!$B$2:$B$4</c:f>
              <c:numCache>
                <c:formatCode>General</c:formatCode>
                <c:ptCount val="3"/>
                <c:pt idx="0">
                  <c:v>2.034842141984999</c:v>
                </c:pt>
                <c:pt idx="1">
                  <c:v>1.5574092247301277</c:v>
                </c:pt>
                <c:pt idx="2">
                  <c:v>1.2090729783037475</c:v>
                </c:pt>
              </c:numCache>
            </c:numRef>
          </c:yVal>
          <c:bubbleSize>
            <c:numRef>
              <c:f>Sheet1!$C$2:$C$4</c:f>
              <c:numCache>
                <c:formatCode>General</c:formatCode>
                <c:ptCount val="3"/>
                <c:pt idx="0">
                  <c:v>19017.0</c:v>
                </c:pt>
                <c:pt idx="1">
                  <c:v>7299.0</c:v>
                </c:pt>
                <c:pt idx="2">
                  <c:v>427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6004414483396248"/>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1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9C749EA-8A64-4936-927C-9E3BE78DE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9EA94921-B9FF-442F-86A1-9C5E88F26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97584FA6-04F9-4B77-8B6D-1EE9E12EC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9EBB959A-2BA5-41EF-9B96-88B243F6A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B54C548-C24C-4FEC-A6DD-2D329839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A3B5670-AD52-4281-ABDD-EF6B677C8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B721936-27F7-4E4E-9EDD-39B5D905A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9E9E6966-DAAF-40B5-A3EE-3B09662B2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C36C223-11CB-43D4-8344-CB78DDEDC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D55062A3-E56A-4ADF-AC86-0865C2F3E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6FADDEC-7A46-443E-A02B-56B0EB50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C370E3CD-8210-4DF6-9523-6CB730CAF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97860F9-DD4E-43FD-9B30-80F6686E9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20E79A7B-5D13-483A-B4AB-512D3B0A8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2AC1DC3-34A6-487D-9CAC-AE6FB44C7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869039C4-C67B-4EDC-B9D8-C1F94723B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8A798D96-E59A-473B-B3B5-4EBF4264C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593B6FF-C565-4335-BCA1-64C8091B7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65187FB5-4E40-41FE-AE4B-EA9B6958B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D6B4FA3-CCE2-4941-8DA9-227FA6B9E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6439A5D-2BFD-4EC7-BC2B-06563C3EE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BDBFDE20-6282-4D87-9B00-3C6350BC5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FC09C3F-C0B2-42F5-B16F-56DD54C65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E719F491-8425-46DF-8889-4C562641F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00C7D4F-CB56-40E9-8D0D-11835D8AD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9D15F5EB-4837-4988-8C2D-2E529FBF9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D225467-45D0-4A80-89DD-B86FD3E31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422DC7C1-C3AF-4B8B-A2E3-EA1B34313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A5CD99C1-81C5-4976-A7CB-F5351E1EB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0E0A4DB-9C1D-41F8-9915-BD44553A2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EA493B1-067D-49EE-B317-FC800BEA6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15CDBB6-BD06-4590-8C7A-C7B969D69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75E4B102-0049-4D4D-BED2-D431D504B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14D4F4C-C3F7-4856-9E81-5BFD15EAD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383CCFFB-8A80-4D3B-B86F-D0A7D34E2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CE7561D2-EC12-43A2-88F7-FF9A2E4E1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33C6AC2-3920-461A-901A-5467D4A4D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BD45CF57-5CAA-4D90-BD42-8F5667882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1BABFCF-B960-4793-9857-1F5445C16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C1EA3452-33B4-4294-888C-6B22D5839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4464E5F2-D1EB-4FB6-B4A2-163403635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EB47CC5-513F-4BC8-8BB1-36FAB57AE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A8609C7-8D76-4B8A-A4C6-B09B09C19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B60418D-035A-4696-8569-3F05C43EA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A75B528A-80C2-4DA9-A36D-C7ABB08B0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76AA6D35-280C-4FD2-AE7C-DF48CEF50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49</c:v>
                </c:pt>
              </c:numCache>
            </c:numRef>
          </c:xVal>
          <c:yVal>
            <c:numRef>
              <c:f>Sheet1!$B$2:$B$2</c:f>
              <c:numCache>
                <c:formatCode>General</c:formatCode>
                <c:ptCount val="1"/>
                <c:pt idx="0">
                  <c:v>1.0029274982318745</c:v>
                </c:pt>
              </c:numCache>
            </c:numRef>
          </c:yVal>
          <c:bubbleSize>
            <c:numRef>
              <c:f>Sheet1!$C$2:$C$2</c:f>
              <c:numCache>
                <c:formatCode>General</c:formatCode>
                <c:ptCount val="1"/>
                <c:pt idx="0">
                  <c:v>5107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02927498231874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4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B9383C6-B4FB-4F57-A67C-C4D36A848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9256EE0-4B8E-4BAC-896D-91F37EEE8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1FEF4631-AC4F-4937-86E1-0F0CA3BEA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2CB917D-B161-4F01-923D-93CF8056F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8665F9B-E03F-4D2C-A01E-9DB3585D1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C8FAA2D-12A6-4317-8B89-CB93BEC6F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85825458-8BBD-4F95-AF67-B661134AE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34F299E5-B0E9-47A0-B326-149F716F5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0B529158-C571-4993-A73A-3ACE5D9BC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75AC8C25-5B9A-4277-9A7C-F5EF7A9B8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C5BA211-9B8C-40E3-905E-F25BF1381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08CB2C1-47A8-4721-BBF9-24F5F8E56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F23A25F3-E086-4846-8C97-4D75034EE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7F63364F-EC2D-480B-8654-F00A907A8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19C2B7D2-1D35-45E3-8706-2C078327F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041DD00-2410-4E6D-A4AB-ED843CB4B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1FBF67F-454F-4C5D-8CA9-F8787ABD2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B4F9F18-A36D-41A3-A524-BA6367D88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0245793-4A0D-4A80-BB47-4B54F277E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33C2F7D6-02B5-4EE7-AF10-CE0593EA5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88A3D45-8A19-4032-A056-2CA4840DC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CC42E35-66D0-44E0-9202-F65FD0730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3D5E549-4E47-4812-9B2F-50F53BD2D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09EE2778-FF8D-4347-B542-985ED9D09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EC5C1DA1-2E7C-48DD-91AF-4E57DF26A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0A2D489-36E3-4AE0-8B31-B0888AB2E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B1B34218-CD26-475D-B724-FE723CCAD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C843271-B7D3-421A-89BB-B8CCF0551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84E0221-F6E7-4237-92E8-671DEF85A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D315D3AA-1700-4640-A55E-8C2C82005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FE89087-6ACF-4B69-86D5-744538DC3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BDC33E16-A3AF-42CD-9219-51819FAC5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04B74E70-9E08-4F9A-9CD7-41A308C1B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2ECB86F8-C85D-4080-BB9D-573F76385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19689C75-1CA3-48CC-A713-46D448601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6FD866FA-219C-417A-BF60-17E8267C3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FF0A0D18-711A-4853-9082-0992DA9B3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0C476BD5-B60F-4173-BC8E-1BE31F83F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71AB29CA-1F38-429B-A6DA-38694E705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2E24086-3D58-45D9-9435-1CB8BD836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3619143-50B5-4FC0-A853-C3AEA152F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FDF9575E-02B6-48C7-A14C-D28A15F9E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E759E08D-C49B-4A25-9572-B7F5022CE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D4C2F4EE-BC96-4333-82E9-BD908B9E0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336F090-6516-431B-9676-F318899E7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F1A8168-BF43-4DF8-ACD8-0C2A1CD14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4</c:v>
                </c:pt>
              </c:numCache>
            </c:numRef>
          </c:xVal>
          <c:yVal>
            <c:numRef>
              <c:f>Sheet1!$B$2:$B$2</c:f>
              <c:numCache>
                <c:formatCode>General</c:formatCode>
                <c:ptCount val="1"/>
                <c:pt idx="0">
                  <c:v>1.2943333333333333</c:v>
                </c:pt>
              </c:numCache>
            </c:numRef>
          </c:yVal>
          <c:bubbleSize>
            <c:numRef>
              <c:f>Sheet1!$C$2:$C$2</c:f>
              <c:numCache>
                <c:formatCode>General</c:formatCode>
                <c:ptCount val="1"/>
                <c:pt idx="0">
                  <c:v>6635.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294333333333333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54"/>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DEDDDD"/>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Canard Duchêne</c:v>
                </c:pt>
                <c:pt idx="3">
                  <c:v>Nicolas Feuillatte</c:v>
                </c:pt>
                <c:pt idx="4">
                  <c:v>Nicolas</c:v>
                </c:pt>
              </c:strCache>
            </c:strRef>
          </c:cat>
          <c:val>
            <c:numRef>
              <c:f>Sheet1!$B$2:$B$6</c:f>
              <c:numCache>
                <c:formatCode>General</c:formatCode>
                <c:ptCount val="5"/>
                <c:pt idx="0">
                  <c:v>0.022646106110201902</c:v>
                </c:pt>
                <c:pt idx="1">
                  <c:v>-0.14517892318475623</c:v>
                </c:pt>
                <c:pt idx="2">
                  <c:v>0.3503647917178978</c:v>
                </c:pt>
                <c:pt idx="3">
                  <c:v>-0.2720454390091832</c:v>
                </c:pt>
                <c:pt idx="4">
                  <c:v>2.022944230611102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8FFFDFA-2117-4E84-959F-266A3E4E1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D51EE93A-ABCC-4106-9B26-3CA1F44CB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88D50C9D-6EB5-4576-92CC-86B14C230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50F5BFEF-22B9-4874-A51D-37AAB973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46BA3A0-E9C3-4073-8BED-94538F8DC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E530176-E1AF-4B65-A50F-2C67ACB89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44BEA62-BE90-46A0-AFA1-6E38A840B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6A8C56B9-CEB7-47D1-ADA7-7CDDDEC8A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F6A3C19-EF8A-433D-BDE4-7B7A388D9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2FF4529-5806-4AAC-A6F5-7E19E153A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AC3EFA06-4E5C-4F1D-8F40-10FEA6F76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28AF7E99-6AA3-45F6-891C-C2285C24A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0825E55C-67DF-495F-A1FD-FADCD7375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1E886740-9EE3-400F-BFDC-5AE5D97E4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5AC8F1D-B4D1-4C07-AA1C-C0D0429C9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DDB0CB9-789F-4431-B925-DC7D19B1D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C3CB74B-41B8-4EAF-B54F-C8047C4EF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D2DCB23-DBAD-4FBB-A8F5-4030BC7FD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31862A7B-7161-48CF-AB02-98FA799D7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DA85953-6486-4F66-9E42-7DC3E5CF3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3D6B0F8-C8AC-4FA6-9CAC-450D00F61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05AFEC3-A081-4A38-800C-2E2772E0C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E2B7FAC1-7E8A-42F7-8D7F-4576AB8BA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FE95A76-A915-43EC-A746-E51AECE01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63641D45-7D5C-4E56-BBC9-CDB44B88B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357B1CD-FD1E-427F-80D8-385F42AC7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EE58080A-7C4B-4304-94E0-2985DB5D5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C1ED7D2-F916-4556-BEE5-B263A5191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4A5C5D4A-2058-4C37-BC76-C9865FC68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7193FC23-AFE4-4406-9906-E9448246F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BF8B2058-9BB6-40C4-8583-1C1237D75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969981F-C258-4DFF-9AE8-8329FAF77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E945ECA-7691-4338-BB29-9A423B5E5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DCFDC4CE-CDAE-4E86-81EE-BCEC4646D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EF308B36-7DAF-4173-AF2C-2D358D558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BD81C204-6461-47B6-9705-2545EB6C4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FB701957-482E-4359-8414-081AAEA4A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9DC6790-4079-444C-976B-AE4FCD46C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C8DB18E-1021-40CB-8C52-FA1627646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9F6D5176-BE63-4A94-B765-D7516E508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83E7BBE-61F3-48CE-8E82-809A8B8C5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83D0216D-DFFE-4FBF-B914-CA2664740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842F747-15D2-4A02-B89F-CE332C69D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4543012-5797-4482-A93D-9EE54F3C5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F6B2D2E-77AE-4298-87DB-C8C4824A2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B7EE4891-16CF-4665-B28D-E1D3892F7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c:v>
                </c:pt>
              </c:numCache>
            </c:numRef>
          </c:xVal>
          <c:yVal>
            <c:numRef>
              <c:f>Sheet1!$B$2:$B$2</c:f>
              <c:numCache>
                <c:formatCode>General</c:formatCode>
                <c:ptCount val="1"/>
                <c:pt idx="0">
                  <c:v>1.021675898281528</c:v>
                </c:pt>
              </c:numCache>
            </c:numRef>
          </c:yVal>
          <c:bubbleSize>
            <c:numRef>
              <c:f>Sheet1!$C$2:$C$2</c:f>
              <c:numCache>
                <c:formatCode>General</c:formatCode>
                <c:ptCount val="1"/>
                <c:pt idx="0">
                  <c:v>11922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21675898281528"/>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73"/>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628734D-CA1F-4054-B899-B3CF8B437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5DC3910D-551F-41C4-9320-A4D8AB7FD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1791C3F-765D-4C99-B4C6-1CCD68DE4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1A7483E-9E15-492D-A96B-A38963D81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E398096-F58E-40CA-9AA2-653C95854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BEFB53C-7544-40E1-918F-25F9CB740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9298849-006A-4B3D-A015-4A0A2A992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0730521-1996-4CF7-BF1F-4C1DC1EBD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677AF4E-1E6E-46A1-B331-D5EF66972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90BAA73F-70A7-449C-A57D-38CF7DA39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9301FCD8-9358-4C89-9853-8D83C9C0A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127EC75A-752B-4913-84F3-8A64F45F6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E9751893-67FC-4C75-A5C7-0B301A789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F689372A-A99C-40B5-B0D4-7C3D970B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EC03822C-8D75-4AE7-BA90-D71024502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61761BFA-BC7F-49F6-ACB8-342C2D479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7A7102E0-3542-4A16-B920-425DE10A8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8D6BC8D3-6FA0-459F-94B9-766F21D94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21542BE-046E-45B2-9F9E-F9F57CCC0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39220A72-ABB4-463D-98B6-A0E984D38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69F54A38-D3E0-48AE-B073-E63C04885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996EB0D1-C4FD-48B4-ADAF-8C0E902D7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C10FD694-905C-4AD0-B44F-0FF15EF9D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54B6D2F4-1DDA-4809-91F5-FAE6D5115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509445B3-A07B-4AB1-9F44-F979856AA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6DC3ED6-C188-4251-917D-83C484709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80613F24-0F99-47B8-8482-7F47899B0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31541DD8-CB22-4519-9C1A-58ACEF1B5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7C075566-F788-4712-B03D-DE41A7DF7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1422542-9E2C-4C09-8771-ECEB6551E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9A18403-64BF-426C-89AB-F5043E421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02ED59B-88AE-4457-B530-E5D7072EF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BEFEE3C1-69B6-422D-A708-8D96D5913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0A8A9F27-2421-4273-9E79-964161961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451ED5B3-E5C8-43D4-B245-B8CAE08E9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C5B0B24C-638E-48CE-837D-62FE8F3A3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52FBBA76-A643-4C75-99B2-B348A9BBA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D3A25A3-6CC0-47C4-A4A9-EC3CBD149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0D9F044-3EE9-4099-97BE-88C6372B8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F1D80D27-45B3-41CC-B750-FDB0C89BD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C6FA509-11F2-4332-B62F-5B99AA500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F976D916-DFF5-4D91-8F4F-7113E3DD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1CA8C05-05F6-4AAE-82B9-09B6EC206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65A8C0F-5C33-4EA1-8D2D-DA344BFE2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BD23C647-1315-429E-AE9B-88173500F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E9F5D9E-CE70-4306-9F5D-F7EC3052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5</c:v>
                </c:pt>
                <c:pt idx="1">
                  <c:v>7.31</c:v>
                </c:pt>
                <c:pt idx="2">
                  <c:v>11.11</c:v>
                </c:pt>
                <c:pt idx="3">
                  <c:v>6.19</c:v>
                </c:pt>
                <c:pt idx="4">
                  <c:v>4.36</c:v>
                </c:pt>
              </c:numCache>
            </c:numRef>
          </c:xVal>
          <c:yVal>
            <c:numRef>
              <c:f>Sheet1!$B$2:$B$6</c:f>
              <c:numCache>
                <c:formatCode>General</c:formatCode>
                <c:ptCount val="5"/>
                <c:pt idx="0">
                  <c:v>1.8765231903552033</c:v>
                </c:pt>
                <c:pt idx="1">
                  <c:v>2.7823943661971833</c:v>
                </c:pt>
                <c:pt idx="2">
                  <c:v>3.7595736994219653</c:v>
                </c:pt>
                <c:pt idx="3">
                  <c:v>0.9771231600317057</c:v>
                </c:pt>
                <c:pt idx="4">
                  <c:v>0.9733827008125064</c:v>
                </c:pt>
              </c:numCache>
            </c:numRef>
          </c:yVal>
          <c:bubbleSize>
            <c:numRef>
              <c:f>Sheet1!$C$2:$C$6</c:f>
              <c:numCache>
                <c:formatCode>General</c:formatCode>
                <c:ptCount val="5"/>
                <c:pt idx="0">
                  <c:v>37862.0</c:v>
                </c:pt>
                <c:pt idx="1">
                  <c:v>28277.0</c:v>
                </c:pt>
                <c:pt idx="2">
                  <c:v>25698.0</c:v>
                </c:pt>
                <c:pt idx="3">
                  <c:v>20336.0</c:v>
                </c:pt>
                <c:pt idx="4">
                  <c:v>1584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073799423363712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6.894"/>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55D54A4-BC3A-4C4F-90B8-D8D5B5161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D69F613-F802-4C46-A7CB-C44EC7B77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F319BC6-F7BE-4693-8EE6-EC48E9D00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A3E9EA7C-52D2-4D4F-8898-850598AE3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14B51749-D3F6-44AF-B7D2-7255AC217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D836B440-945D-41B2-963C-720A9E414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E74FAD6-3DDA-4C03-842C-1FBEE3313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E1CFBE97-56AF-46DF-8F62-B39E6EF8F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7C3B131A-2DC9-4BC6-A2A8-4D55894AB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092868AD-6635-4472-B69A-87DB5139E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833BDC16-05DF-4597-BD50-DE41F38DD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D83C13C-2F27-436D-AEB3-09E38058F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F7EBCC4-06E0-40EA-86C3-DDD1F4717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F03D458-4152-4FEF-AD66-EE40153D7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4CAC6693-651C-409D-A9F6-3793312F0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074B9CAD-0684-42A1-A724-797C81165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4035486E-4D1E-4DCD-9CE7-FE3144B79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A06679DB-49DB-4EFE-85CA-A1CBB339E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C1A8CAF-6E7F-4E69-8585-6AFF3BED8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4F2B03B-62E1-4A13-A717-E8DFB2D02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AD627B78-ABDC-46A1-9AAC-2EA80DC43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F67061DC-D5B4-4D5F-875E-325F55FB3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C9758763-79DB-4D9F-9A09-13E7E2B2D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2A13CAC5-DB5D-4822-A905-5C2104FC7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E914FB06-DA40-4676-BD2C-7BFA2647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AE196CA6-D12A-4FEE-82B7-FB812DF63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13EC62D4-7FC8-40F0-8392-9892008FB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E99ED2C9-F9BF-4D51-B761-DBEC87C9F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261E39B3-91CC-4ACA-9FAF-65952FF6C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8F78714B-1F71-4600-8653-508A65C3F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B084A5C-895B-4B63-B85A-659327426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EAEFBAD-5503-4286-937D-8079AC1C8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266AC6C-BC9D-4D84-A28C-F199C8535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0D3D3999-C38D-4990-B8C8-F3AEA769C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C6CA606E-A60B-4A21-A900-5ED6948BC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C6C403A-C45E-48A1-89F2-A26AFC486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82EE6A44-AC21-48F0-B0F6-8E440B049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513CA15-F7ED-451B-A545-70B0D798F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5F66AEA-93B5-4983-8A65-78D8E64AE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E9EB4AC0-C558-424D-ACB1-5C4B7E618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F77E6EE-29CD-4C14-A02A-549C59E1A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126A841-0B54-48B3-9F53-D22DB047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E081394-F2CB-4648-AD7E-4857DFC06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89E9EFB9-176D-41C8-8FF4-AEEF74163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F346988-83C4-466C-BAB4-212E9D951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462B1189-EA8C-4168-8B14-08DB414C9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8</c:f>
              <c:numCache>
                <c:formatCode>General</c:formatCode>
                <c:ptCount val="17"/>
                <c:pt idx="0">
                  <c:v>2.53</c:v>
                </c:pt>
                <c:pt idx="1">
                  <c:v>4.92</c:v>
                </c:pt>
                <c:pt idx="2">
                  <c:v>12.16</c:v>
                </c:pt>
                <c:pt idx="3">
                  <c:v>3.44</c:v>
                </c:pt>
                <c:pt idx="4">
                  <c:v>5.91</c:v>
                </c:pt>
                <c:pt idx="5">
                  <c:v>4.74</c:v>
                </c:pt>
                <c:pt idx="6">
                  <c:v>5.42</c:v>
                </c:pt>
                <c:pt idx="7">
                  <c:v>3.14</c:v>
                </c:pt>
                <c:pt idx="8">
                  <c:v>5.3</c:v>
                </c:pt>
                <c:pt idx="9">
                  <c:v>5.18</c:v>
                </c:pt>
                <c:pt idx="10">
                  <c:v>5.14</c:v>
                </c:pt>
                <c:pt idx="11">
                  <c:v>6.62</c:v>
                </c:pt>
                <c:pt idx="12">
                  <c:v>8.04</c:v>
                </c:pt>
                <c:pt idx="13">
                  <c:v>6.5</c:v>
                </c:pt>
                <c:pt idx="14">
                  <c:v>4.3</c:v>
                </c:pt>
                <c:pt idx="15">
                  <c:v>8.76</c:v>
                </c:pt>
                <c:pt idx="16">
                  <c:v>7.14</c:v>
                </c:pt>
              </c:numCache>
            </c:numRef>
          </c:xVal>
          <c:yVal>
            <c:numRef>
              <c:f>Sheet1!$B$2:$B$18</c:f>
              <c:numCache>
                <c:formatCode>General</c:formatCode>
                <c:ptCount val="17"/>
                <c:pt idx="0">
                  <c:v>6.549333466297651</c:v>
                </c:pt>
                <c:pt idx="1">
                  <c:v>0.6156306630859588</c:v>
                </c:pt>
                <c:pt idx="2">
                  <c:v>1.5533269281159927</c:v>
                </c:pt>
                <c:pt idx="3">
                  <c:v>4.520416890407878</c:v>
                </c:pt>
                <c:pt idx="4">
                  <c:v>4.293670829616413</c:v>
                </c:pt>
                <c:pt idx="5">
                  <c:v>1.2196721229263205</c:v>
                </c:pt>
                <c:pt idx="6">
                  <c:v>1.4794101991020894</c:v>
                </c:pt>
                <c:pt idx="7">
                  <c:v>1.0778259115949147</c:v>
                </c:pt>
                <c:pt idx="8">
                  <c:v>1.128264001077006</c:v>
                </c:pt>
                <c:pt idx="9">
                  <c:v>1.3493964008984538</c:v>
                </c:pt>
                <c:pt idx="10">
                  <c:v>2.05523457360758</c:v>
                </c:pt>
                <c:pt idx="11">
                  <c:v>2.1719521882755615</c:v>
                </c:pt>
                <c:pt idx="12">
                  <c:v>1.8279656950941587</c:v>
                </c:pt>
                <c:pt idx="13">
                  <c:v>2.694299005295195</c:v>
                </c:pt>
                <c:pt idx="14">
                  <c:v>1.4971721284984811</c:v>
                </c:pt>
                <c:pt idx="15">
                  <c:v>3.1777051561365286</c:v>
                </c:pt>
                <c:pt idx="16">
                  <c:v>2.4361716857043962</c:v>
                </c:pt>
              </c:numCache>
            </c:numRef>
          </c:yVal>
          <c:bubbleSize>
            <c:numRef>
              <c:f>Sheet1!$C$2:$C$18</c:f>
              <c:numCache>
                <c:formatCode>General</c:formatCode>
                <c:ptCount val="17"/>
                <c:pt idx="0">
                  <c:v>114383.0</c:v>
                </c:pt>
                <c:pt idx="1">
                  <c:v>136597.0</c:v>
                </c:pt>
                <c:pt idx="2">
                  <c:v>50016.0</c:v>
                </c:pt>
                <c:pt idx="3">
                  <c:v>59337.0</c:v>
                </c:pt>
                <c:pt idx="4">
                  <c:v>45168.0</c:v>
                </c:pt>
                <c:pt idx="5">
                  <c:v>60853.0</c:v>
                </c:pt>
                <c:pt idx="6">
                  <c:v>52900.0</c:v>
                </c:pt>
                <c:pt idx="7">
                  <c:v>51946.0</c:v>
                </c:pt>
                <c:pt idx="8">
                  <c:v>49872.0</c:v>
                </c:pt>
                <c:pt idx="9">
                  <c:v>42236.0</c:v>
                </c:pt>
                <c:pt idx="10">
                  <c:v>37466.0</c:v>
                </c:pt>
                <c:pt idx="11">
                  <c:v>30352.0</c:v>
                </c:pt>
                <c:pt idx="12">
                  <c:v>29001.0</c:v>
                </c:pt>
                <c:pt idx="13">
                  <c:v>25624.0</c:v>
                </c:pt>
                <c:pt idx="14">
                  <c:v>24093.0</c:v>
                </c:pt>
                <c:pt idx="15">
                  <c:v>18490.0</c:v>
                </c:pt>
                <c:pt idx="16">
                  <c:v>1939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33220281445497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83764705882352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E9A6753-91AC-4DE8-9DD1-2C96970E3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98837DAD-8B51-4D1E-B445-833B69AFF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42CCE54-E32A-4179-9AB6-28E29A44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D52FE074-636E-4EDA-BF72-13A538078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B060D42-E694-43DC-A90B-25588D160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1312F98-6F55-4160-A20B-F381BD7F5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E8EDA04-A58D-4FC1-A2F5-F45636299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A174C19-5F0E-4142-8DDB-A4A9C2EFC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AF57A6A2-0AC7-428A-8371-B29EBB7B8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F378DE63-BFC4-4C33-94BB-AE7556500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050ABD61-761C-4628-972A-621C5BF62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4F650CDB-B45E-40C1-9FF8-D1F5D1D8B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294EFA8-1D34-4E6C-8C83-B2E2E061B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98A55723-AF24-4F27-96C1-98AD9C853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86309FA3-1457-4BE2-A34C-97E4A7E02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38BC36C-6D03-407F-B109-8A2896CE2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D755064-3775-462E-9158-AECEB04EC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A94EE8B-DFBE-4DDF-BB1E-09FA86924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957737C-FA32-4C32-92BF-C5271DA14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2DAE527A-24CB-4EC6-A85A-9565C27C4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2D4C959-286D-4DDA-B051-FC82AF557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1458A05E-9B31-426B-8929-888F788BE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230907BB-D81F-41CC-8EF7-6F8018642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0DB9E72-1C8C-458E-9B10-5181DFD83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87AF07AA-4468-4D22-8BDA-56259C2C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42D2DE1-6480-4919-9364-1C31F5D0E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C54D356-AB35-459F-BD04-631A46F6E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390B21F1-2C7D-4D3C-B4EC-C8CD5A924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C397B39A-F2B1-4A07-B055-6FCD42F61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61065EB2-A352-49DD-AC87-04F054B02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815682ED-4848-4E4B-9C59-8C7622149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5CE8245-F454-4E9E-AF71-C717A7013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33BD65BC-B624-4D3C-82A0-97978D7DC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7D36B635-72D5-449C-B54F-DBA9D4234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26E49A9C-D3BB-4613-BDE9-D2B5D8054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2202C1B-CBBF-4EAE-92F5-EB59009E7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DC2358A5-EAA7-48D4-9742-9DC829633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11FCCA7-50AC-4C64-9842-AA866EABF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D948D708-D7B4-47FD-872F-B3DD1FDBC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E33024D2-93EF-4FF9-B1A6-99D1C0DA3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59AE8808-4817-4714-BA4B-AD1B1617E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4D00271-FBDC-4A8D-983E-4F236E8EF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FA930900-8E14-47A9-B8BE-698C1197A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B08882B7-6458-4ABB-A755-A48C5CA9A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07466BEA-3353-401E-8D35-BD587FB2B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F8486B2-B39F-48DD-83DA-0FD952BFC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c:v>
                </c:pt>
              </c:numCache>
            </c:numRef>
          </c:xVal>
          <c:yVal>
            <c:numRef>
              <c:f>Sheet1!$B$2:$B$2</c:f>
              <c:numCache>
                <c:formatCode>General</c:formatCode>
                <c:ptCount val="1"/>
                <c:pt idx="0">
                  <c:v>0.7277186030533418</c:v>
                </c:pt>
              </c:numCache>
            </c:numRef>
          </c:yVal>
          <c:bubbleSize>
            <c:numRef>
              <c:f>Sheet1!$C$2:$C$2</c:f>
              <c:numCache>
                <c:formatCode>General</c:formatCode>
                <c:ptCount val="1"/>
                <c:pt idx="0">
                  <c:v>6968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0"/>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8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3966176-29AB-4F5F-A5E5-4AA17D8C8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1A0B10F-F9A7-4F35-96AE-4A3A40A86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CBF7470C-2300-4155-9118-E1EB96413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A86FAD4-8F73-4D47-8477-E8FE0D5DD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38F32E5E-C2CC-4434-B0B0-7785BA9F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16F6156-4267-4421-A729-77E2DA189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1A9EFB6-FF12-4FD1-BA5B-D2DD34D5A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56271AF1-9204-4A20-A4E4-BF905DB21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7CB5840-7D9E-4897-AAFF-5C4E8D447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210EFD27-BC13-4F41-9E90-A28FD01AD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3FBCE80-FA55-4C4A-BABC-74AE14C8F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A9881ED3-DBF3-460F-A492-7E5353435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6AB27E3D-3602-4457-A163-DF673A47D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C6B75F96-C47D-4823-B64D-255648BF2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4C904579-3565-4EF8-AB8C-1F3FD3CEA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D8634DC-8544-4A83-9942-8F6430EDC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53E9889-73EF-4B3C-8306-C443D9B42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C38B136B-28F4-4D9D-AF9F-DEA8D6713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B84657A5-73DA-4EB9-9E65-1C9A25185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1EE6AC6B-9093-41F6-9983-06C99FC5C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3766E4BA-93D9-446D-B274-657BB2BDD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7E9C3B9-E001-411A-BE50-0937263A0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59FA2BB-9B50-4948-B8C7-3AB1D87C0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410F6BB6-E5E1-450C-AE41-1CA5C7703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3D8B9963-B86B-4270-987A-472E43CDD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5851E41-8A6D-42A6-99D7-AA52B115A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D3DCCA3B-3F71-47B2-8A79-D5DF1BFED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964A966-EEE3-4C87-8413-14C6F1E8E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D8058894-C951-42FA-B24D-503C586F8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DA478F20-05B4-454D-AF11-17C097D8D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17BD6DDD-4D3C-49B0-8B9B-C60F31605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5D9D4758-8EF7-4AB8-9F5E-0F8A0F524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447E9E1F-50CA-442F-84B7-E6FB3E83A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0F8103BC-2165-4BFF-986E-E74EFBC32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B211176-5DD6-4F77-BA9F-CB3A1805B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A67CD31-BA54-4B31-BEB1-823FCF933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EBBF3D5C-589D-4CBC-801B-F1C3C6D41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A348386-7B81-4B28-A459-5E8F71B4F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D6AC6E76-F546-4ECD-AC36-3237C3BC1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14E48DE9-E574-47BD-A374-441499C70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7A156195-C5E6-494C-86BF-5CF955C07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6579C48A-8235-4678-92EA-4125E00BE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3BD4ECE0-7652-4BED-8652-6947CC835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8475C08E-2E87-41D7-943F-06A741923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C40D7C9-2A6A-41CE-8344-8C84B2316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61680DF5-306A-4B5C-9332-FAAC8918E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9</c:v>
                </c:pt>
                <c:pt idx="1">
                  <c:v>7.86</c:v>
                </c:pt>
              </c:numCache>
            </c:numRef>
          </c:xVal>
          <c:yVal>
            <c:numRef>
              <c:f>Sheet1!$B$2:$B$3</c:f>
              <c:numCache>
                <c:formatCode>General</c:formatCode>
                <c:ptCount val="2"/>
                <c:pt idx="0">
                  <c:v>0.8868120456905503</c:v>
                </c:pt>
                <c:pt idx="1">
                  <c:v>1.6545454545454545</c:v>
                </c:pt>
              </c:numCache>
            </c:numRef>
          </c:yVal>
          <c:bubbleSize>
            <c:numRef>
              <c:f>Sheet1!$C$2:$C$3</c:f>
              <c:numCache>
                <c:formatCode>General</c:formatCode>
                <c:ptCount val="2"/>
                <c:pt idx="0">
                  <c:v>9120.0</c:v>
                </c:pt>
                <c:pt idx="1">
                  <c:v>439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2706787501180024"/>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725000000000000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7738AC8-74A5-44AF-AED3-DB126709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C14CC03-F176-4B1D-BD5D-2C7300A3F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DFCCC4F-1705-455F-AB5D-571B39DD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2A7D0B60-3E61-4C19-A765-CF2A0DDD8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DF51902-1F96-423E-B199-BF13733F8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CE5B2B1-D4F5-4F9B-8AB5-4ED070162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EBF033DA-84D4-480F-AE4E-70D176713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4334C97-E479-42D8-A939-33519154B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64A56A6-FBB5-46C9-890D-C25BE3579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D2742562-D2E2-4990-B67E-A4163CB6D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A82D770-1DE3-4C85-85B1-9E6D15D2B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E89DCBC-B13C-40BC-A305-D1EE532A0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C7F2A02-BB3B-47E2-987A-3307EEDAB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69B67E65-E725-4914-B09F-2CAB08F3E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8FFBE6E4-FF3A-4345-9629-711DE4FE9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24AECC7-297A-4FE3-B119-FBCF15189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01F25C1A-4506-4E39-932E-155E1B4CE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657E512-45A9-4684-9D6C-6B09A11DB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FA0B5CCB-28C8-4D66-8F4A-9E4595AEA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C417F050-F82A-4881-ACDD-F18C53498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84BAE5A-1473-45CC-9CC0-D8FF78C26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95AEA141-1678-4F70-A851-7EA637FBE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ECD48CD-7561-4BF0-B249-59655A424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A277B28-361F-41AB-B2E0-75150755F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5F59F67-B01F-4D67-B690-1C6B65785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7935917B-95AC-4E81-BF33-5934D553B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B405C2E-1DC5-4AC0-8A8D-45B59DFEE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A00D288D-2C9B-4E20-8DDE-77308FC2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CBE61E0F-7AA1-4529-B03E-179019DD7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049D378-E1CA-4AEC-BDB6-3613DB271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17AD3ECC-D776-49D6-91F6-47E829772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97DE2DB4-4E99-4333-8E05-FCE292519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EAF5FBF-AD1F-475E-9227-BF6FC5736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629CCBD3-F353-4F1E-B1A6-B58BDE5C5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E9DDB15-BDAD-4448-BB94-6826DE4AD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2203A472-ECE9-4D0C-B5AC-E35864D3F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F9D38EB7-419D-41CE-B596-FFD1527C6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9E35FB01-B9D6-4189-B0F2-4559FF3E9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9E1F20C8-F278-48E2-AE9E-81187545E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2DFDC247-0C8C-4744-B525-3B512F35F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0A09A7B8-398D-4ACF-AA8E-218FFC9FE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4A73E68-E0BC-46CC-B346-C82246645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6B5EF4D3-3B17-4DF8-975E-259FAD036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3861726-B395-4DEA-AD98-0E15C673D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1FC031E-01AA-405C-9F23-8B24455F7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BB9489C6-E244-42EB-8DFE-97EC907A5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2.89</c:v>
                </c:pt>
                <c:pt idx="1">
                  <c:v>5.7</c:v>
                </c:pt>
                <c:pt idx="2">
                  <c:v>13.22</c:v>
                </c:pt>
                <c:pt idx="3">
                  <c:v>3.01</c:v>
                </c:pt>
                <c:pt idx="4">
                  <c:v>3.12</c:v>
                </c:pt>
                <c:pt idx="5">
                  <c:v>4.54</c:v>
                </c:pt>
                <c:pt idx="6">
                  <c:v>4.26</c:v>
                </c:pt>
                <c:pt idx="7">
                  <c:v>6.09</c:v>
                </c:pt>
                <c:pt idx="8">
                  <c:v>5.96</c:v>
                </c:pt>
                <c:pt idx="9">
                  <c:v>5.58</c:v>
                </c:pt>
                <c:pt idx="10">
                  <c:v>4.89</c:v>
                </c:pt>
                <c:pt idx="11">
                  <c:v>5.45</c:v>
                </c:pt>
                <c:pt idx="12">
                  <c:v>4.38</c:v>
                </c:pt>
                <c:pt idx="13">
                  <c:v>3.42</c:v>
                </c:pt>
                <c:pt idx="14">
                  <c:v>2.91</c:v>
                </c:pt>
                <c:pt idx="15">
                  <c:v>4.13</c:v>
                </c:pt>
              </c:numCache>
            </c:numRef>
          </c:xVal>
          <c:yVal>
            <c:numRef>
              <c:f>Sheet1!$B$2:$B$17</c:f>
              <c:numCache>
                <c:formatCode>General</c:formatCode>
                <c:ptCount val="16"/>
                <c:pt idx="0">
                  <c:v>8.467025719938448</c:v>
                </c:pt>
                <c:pt idx="1">
                  <c:v>0.6932636628405002</c:v>
                </c:pt>
                <c:pt idx="2">
                  <c:v>1.491780565057639</c:v>
                </c:pt>
                <c:pt idx="3">
                  <c:v>5.01780814246514</c:v>
                </c:pt>
                <c:pt idx="4">
                  <c:v>1.081326560026019</c:v>
                </c:pt>
                <c:pt idx="5">
                  <c:v>6.724471515585812</c:v>
                </c:pt>
                <c:pt idx="6">
                  <c:v>0.8477604495338402</c:v>
                </c:pt>
                <c:pt idx="7">
                  <c:v>2.360771704180064</c:v>
                </c:pt>
                <c:pt idx="8">
                  <c:v>1.9960318619778077</c:v>
                </c:pt>
                <c:pt idx="9">
                  <c:v>2.1467067204021237</c:v>
                </c:pt>
                <c:pt idx="10">
                  <c:v>2.0316993464052286</c:v>
                </c:pt>
                <c:pt idx="11">
                  <c:v>3.0978779840848807</c:v>
                </c:pt>
                <c:pt idx="12">
                  <c:v>1.288822263222632</c:v>
                </c:pt>
                <c:pt idx="13">
                  <c:v>3.643250204894041</c:v>
                </c:pt>
                <c:pt idx="14">
                  <c:v>2.7770764119601328</c:v>
                </c:pt>
                <c:pt idx="15">
                  <c:v>0.8989250895758687</c:v>
                </c:pt>
              </c:numCache>
            </c:numRef>
          </c:yVal>
          <c:bubbleSize>
            <c:numRef>
              <c:f>Sheet1!$C$2:$C$17</c:f>
              <c:numCache>
                <c:formatCode>General</c:formatCode>
                <c:ptCount val="16"/>
                <c:pt idx="0">
                  <c:v>84431.0</c:v>
                </c:pt>
                <c:pt idx="1">
                  <c:v>77512.0</c:v>
                </c:pt>
                <c:pt idx="2">
                  <c:v>20699.0</c:v>
                </c:pt>
                <c:pt idx="3">
                  <c:v>30281.0</c:v>
                </c:pt>
                <c:pt idx="4">
                  <c:v>38835.0</c:v>
                </c:pt>
                <c:pt idx="5">
                  <c:v>20374.0</c:v>
                </c:pt>
                <c:pt idx="6">
                  <c:v>35015.0</c:v>
                </c:pt>
                <c:pt idx="7">
                  <c:v>19365.0</c:v>
                </c:pt>
                <c:pt idx="8">
                  <c:v>19564.0</c:v>
                </c:pt>
                <c:pt idx="9">
                  <c:v>17894.0</c:v>
                </c:pt>
                <c:pt idx="10">
                  <c:v>17950.0</c:v>
                </c:pt>
                <c:pt idx="11">
                  <c:v>14456.0</c:v>
                </c:pt>
                <c:pt idx="12">
                  <c:v>18322.0</c:v>
                </c:pt>
                <c:pt idx="13">
                  <c:v>11405.0</c:v>
                </c:pt>
                <c:pt idx="14">
                  <c:v>11322.0</c:v>
                </c:pt>
                <c:pt idx="15">
                  <c:v>16305.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785287387634386"/>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97187500000000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FF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Laurent Perrier</c:v>
                </c:pt>
                <c:pt idx="4">
                  <c:v>Nicolas</c:v>
                </c:pt>
              </c:strCache>
            </c:strRef>
          </c:cat>
          <c:val>
            <c:numRef>
              <c:f>Sheet1!$B$2:$B$6</c:f>
              <c:numCache>
                <c:formatCode>General</c:formatCode>
                <c:ptCount val="5"/>
                <c:pt idx="0">
                  <c:v>4.8</c:v>
                </c:pt>
                <c:pt idx="1">
                  <c:v>-0.04300000000000004</c:v>
                </c:pt>
                <c:pt idx="2">
                  <c:v>-0.052000000000000046</c:v>
                </c:pt>
                <c:pt idx="3">
                  <c:v>-0.020000000000000018</c:v>
                </c:pt>
                <c:pt idx="4">
                  <c:v>-0.2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6025CD9-A625-4C87-A66E-221F1F8CA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FAA5DD5-0AC3-4891-A28F-9AE0B9AC5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4AC0EAD9-D87A-461C-875C-7740C8E98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1C1F944-1018-4215-BE1D-BFE42DC39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950E2B31-7397-4B06-9C0E-4FE4C96DD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937C3AA-C301-4C91-9DF0-7199BE0C1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A4DC3D5-3E56-44AD-BE7F-A5DBEB41D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9496479-632D-460A-AAB1-57B59FB6C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6680CBA-1B2F-4CC6-833D-A6A04DBAF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8F19B034-EEE8-42F2-BEEA-8FD9ED86C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DC284A6B-E9F8-4BF0-8687-145B59383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7D4FB82-E165-45EB-A600-63F315D6D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E6A04F6A-C2F0-4495-AD6B-9E2B6C1D7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197C50B4-1036-48CB-B434-ACFA64C75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0683DB00-F14F-47E6-A7AF-28465D926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F400C97A-3225-4C81-906D-8F21ED3EC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10023D4-A3D5-4BE0-B564-A36A78BF1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049B6A80-3066-4693-BD9A-A1B49CD93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D6FEF560-101A-4763-BE15-37D589F3E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C8721A3D-5F8E-4011-8E71-C60A79865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4206F88-A09B-4314-97B9-73798A656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F03E8FBB-2D2F-4BA6-A7C6-71384C3DB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26273E4-A5D0-447B-9316-5E0B2E3E0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4DCEFB98-CFC3-4A56-8679-4D8450B56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5BC6561-6EBF-42D6-B77E-378928A61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1BDDABB9-128C-4458-97C7-EE200644F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05134FE0-5C44-4DA3-B31F-7B148F22A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47266A50-D8B0-4693-94C1-386D311AC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4452F552-D562-489F-AFB6-F13D4AFDF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2F9F1F3E-E0C8-4873-A862-157358D11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C4E41B6C-E4EF-4E30-B956-FFEEDB3D6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E6D2E57B-35D7-4724-A169-92A299A7D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5E5E6B17-9406-492F-A4D8-A81719738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83BC81B7-CA1F-4D70-978A-94E848A5A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6ACDEF26-D85A-4675-AE84-9F7898BE9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AAEBCBF-37C5-4213-AD8D-C8BE981D7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6CA831BF-A348-4E5A-A086-45750E48F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9E4D231-6871-4DC7-89A3-9012B0DAA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2EED2243-8B9B-4A98-8C22-E34BDA77B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B164636-1300-4D60-8796-B389F6F77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FBFD563-F097-4AA0-9DFB-79B6A004E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8439C98D-473D-4092-B123-CA5348128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F941407-DE14-42B1-ADBB-8E0587D52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17F9A343-16F1-4E4F-BD44-2A68E3763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538D584-2C38-4320-B375-DF0A78C16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E830E60-66FE-4783-A0DB-6DBC0E66D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59</c:v>
                </c:pt>
              </c:numCache>
            </c:numRef>
          </c:xVal>
          <c:yVal>
            <c:numRef>
              <c:f>Sheet1!$B$2:$B$2</c:f>
              <c:numCache>
                <c:formatCode>General</c:formatCode>
                <c:ptCount val="1"/>
                <c:pt idx="0">
                  <c:v>1.7445054945054945</c:v>
                </c:pt>
              </c:numCache>
            </c:numRef>
          </c:yVal>
          <c:bubbleSize>
            <c:numRef>
              <c:f>Sheet1!$C$2:$C$2</c:f>
              <c:numCache>
                <c:formatCode>General</c:formatCode>
                <c:ptCount val="1"/>
                <c:pt idx="0">
                  <c:v>575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744505494505494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5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FAB5B4C-99B3-4F5D-880D-A08509E3F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5FB83C68-5D85-4267-ABE7-F846F99D1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8F731FC-34B6-466D-83A9-3FEBEC3FC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2B60F9A-F8B6-4BD6-AF1A-44B5BAF77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D5FE313C-6AFD-42CA-BEAC-567DDCFA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15EDD5D-706F-4522-BE22-005F2310F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2321376-6DF0-42C8-A201-5924A8C6F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A2C48C5-74A7-44A4-9F26-A217B9064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66F58FE-19E8-4D21-875F-9F23EBFAC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43F9DCB-A5BD-442B-A764-D3290E4B9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90028D5-A366-4741-A8DE-5BC04E02A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F6DF03E-F8D9-42DF-8260-0E26BF95F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C3F4E05-602E-49A8-820F-6072BAA2C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99A247A1-DBD9-4303-A72E-48347FD81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43FAD35-0140-4B4F-8F5F-3A20F297A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97A0DD3E-0699-42D9-8BB5-1F31EE290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AB40D41D-F44A-4EC9-9157-2A85B93F5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0936F399-C434-436F-9DAD-CF9CCC5DD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BA0935D0-A807-4AEA-9132-3F94330C9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9C65F46-B08A-4AE7-BBBA-1BDD4D2E0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74CB896-A0A4-4628-9FF1-F5D8D01AD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0467292-76FD-4121-B9DB-4FECF56F5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B194E700-13ED-4479-9667-F93859F12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A58C11CB-8294-43E0-A5EC-97842298B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F8B77DD-C678-4B3F-AD32-6CD261A3E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5877FA53-15B8-4975-BF64-A40E0952D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898365E8-1B48-4494-9304-7FD748A91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B5DF7D75-C362-4EE5-9C04-9476DC928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7493272B-EEEC-4A5B-AA65-4DF3F6201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36359CC-4EE5-4BEC-8545-C1DEA731A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B1F30650-1366-424C-9E38-9FD1D3C3B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5DDE4E6B-B1CB-4DA0-B9E4-904E069A1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6F95359-0217-4FD5-B027-D16CD2579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A93B1E72-06FE-4E61-85FD-33F17741B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3E4FA48-945A-4A7E-A8E5-E0BFC58DE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2FF4BB7-A293-4C8C-A731-DB72499CE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FE8EB18D-D752-41B3-89EE-0C0DDEBD6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262DA48-1E46-4B2D-A43A-1260637AB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DF3A489-E914-4F82-ADD3-8C141183B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9DF8AA75-30E0-4444-9CD6-76025977E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8C5BF14-F3F4-4873-AD5F-4F2E387BA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80E0546-D209-4903-B6E0-D5C6E367C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3985978-56AB-488A-904E-B7F638B21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952BA0B-775C-4B9A-88A3-B05D4E06E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96AB5F8-47AB-464A-843A-0282137CA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EADB461-B0A6-4EED-8A16-B975178A3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4.27</c:v>
                </c:pt>
                <c:pt idx="1">
                  <c:v>3.33</c:v>
                </c:pt>
                <c:pt idx="2">
                  <c:v>8.44</c:v>
                </c:pt>
                <c:pt idx="3">
                  <c:v>13.93</c:v>
                </c:pt>
                <c:pt idx="4">
                  <c:v>2.05</c:v>
                </c:pt>
                <c:pt idx="5">
                  <c:v>5.39</c:v>
                </c:pt>
                <c:pt idx="6">
                  <c:v>3.56</c:v>
                </c:pt>
                <c:pt idx="7">
                  <c:v>3.14</c:v>
                </c:pt>
                <c:pt idx="8">
                  <c:v>6.35</c:v>
                </c:pt>
                <c:pt idx="9">
                  <c:v>3.64</c:v>
                </c:pt>
                <c:pt idx="10">
                  <c:v>5.47</c:v>
                </c:pt>
                <c:pt idx="11">
                  <c:v>4.55</c:v>
                </c:pt>
                <c:pt idx="12">
                  <c:v>8.15</c:v>
                </c:pt>
                <c:pt idx="13">
                  <c:v>3.11</c:v>
                </c:pt>
                <c:pt idx="14">
                  <c:v>2.1</c:v>
                </c:pt>
                <c:pt idx="15">
                  <c:v>7.18</c:v>
                </c:pt>
                <c:pt idx="16">
                  <c:v>6.6</c:v>
                </c:pt>
                <c:pt idx="17">
                  <c:v>5.07</c:v>
                </c:pt>
                <c:pt idx="18">
                  <c:v>4.39</c:v>
                </c:pt>
              </c:numCache>
            </c:numRef>
          </c:xVal>
          <c:yVal>
            <c:numRef>
              <c:f>Sheet1!$B$2:$B$20</c:f>
              <c:numCache>
                <c:formatCode>General</c:formatCode>
                <c:ptCount val="19"/>
                <c:pt idx="0">
                  <c:v>0.5392434394193188</c:v>
                </c:pt>
                <c:pt idx="1">
                  <c:v>4.628731479055687</c:v>
                </c:pt>
                <c:pt idx="2">
                  <c:v>4.797772626486595</c:v>
                </c:pt>
                <c:pt idx="3">
                  <c:v>1.1403895191209583</c:v>
                </c:pt>
                <c:pt idx="4">
                  <c:v>2.1690250745221813</c:v>
                </c:pt>
                <c:pt idx="5">
                  <c:v>2.9830207305034553</c:v>
                </c:pt>
                <c:pt idx="6">
                  <c:v>1.9062572886297375</c:v>
                </c:pt>
                <c:pt idx="7">
                  <c:v>1.0201715301017478</c:v>
                </c:pt>
                <c:pt idx="8">
                  <c:v>2.2144538144734263</c:v>
                </c:pt>
                <c:pt idx="9">
                  <c:v>0.9898548309380015</c:v>
                </c:pt>
                <c:pt idx="10">
                  <c:v>5.176595744680851</c:v>
                </c:pt>
                <c:pt idx="11">
                  <c:v>1.582905544147844</c:v>
                </c:pt>
                <c:pt idx="12">
                  <c:v>2.675609756097561</c:v>
                </c:pt>
                <c:pt idx="13">
                  <c:v>1.5421514594815269</c:v>
                </c:pt>
                <c:pt idx="14">
                  <c:v>0.7529137529137531</c:v>
                </c:pt>
                <c:pt idx="15">
                  <c:v>1.5989655172413793</c:v>
                </c:pt>
                <c:pt idx="16">
                  <c:v>2.0477859778597787</c:v>
                </c:pt>
                <c:pt idx="17">
                  <c:v>1.20267131242741</c:v>
                </c:pt>
                <c:pt idx="18">
                  <c:v>0.7703563842341279</c:v>
                </c:pt>
              </c:numCache>
            </c:numRef>
          </c:yVal>
          <c:bubbleSize>
            <c:numRef>
              <c:f>Sheet1!$C$2:$C$20</c:f>
              <c:numCache>
                <c:formatCode>General</c:formatCode>
                <c:ptCount val="19"/>
                <c:pt idx="0">
                  <c:v>51270.0</c:v>
                </c:pt>
                <c:pt idx="1">
                  <c:v>19617.0</c:v>
                </c:pt>
                <c:pt idx="2">
                  <c:v>19597.0</c:v>
                </c:pt>
                <c:pt idx="3">
                  <c:v>12421.0</c:v>
                </c:pt>
                <c:pt idx="4">
                  <c:v>23951.0</c:v>
                </c:pt>
                <c:pt idx="5">
                  <c:v>19057.0</c:v>
                </c:pt>
                <c:pt idx="6">
                  <c:v>21567.0</c:v>
                </c:pt>
                <c:pt idx="7">
                  <c:v>18049.0</c:v>
                </c:pt>
                <c:pt idx="8">
                  <c:v>15455.0</c:v>
                </c:pt>
                <c:pt idx="9">
                  <c:v>21769.0</c:v>
                </c:pt>
                <c:pt idx="10">
                  <c:v>11492.0</c:v>
                </c:pt>
                <c:pt idx="11">
                  <c:v>13920.0</c:v>
                </c:pt>
                <c:pt idx="12">
                  <c:v>7335.0</c:v>
                </c:pt>
                <c:pt idx="13">
                  <c:v>8017.0</c:v>
                </c:pt>
                <c:pt idx="14">
                  <c:v>10843.0</c:v>
                </c:pt>
                <c:pt idx="15">
                  <c:v>7487.0</c:v>
                </c:pt>
                <c:pt idx="16">
                  <c:v>6601.0</c:v>
                </c:pt>
                <c:pt idx="17">
                  <c:v>6236.0</c:v>
                </c:pt>
                <c:pt idx="18">
                  <c:v>6921.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0915197780176498"/>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301052631578947"/>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Laurent Perrier</c:v>
                </c:pt>
                <c:pt idx="4">
                  <c:v>Nicolas</c:v>
                </c:pt>
              </c:strCache>
            </c:strRef>
          </c:cat>
          <c:val>
            <c:numRef>
              <c:f>Sheet1!$B$2:$B$6</c:f>
              <c:numCache>
                <c:formatCode>General</c:formatCode>
                <c:ptCount val="5"/>
                <c:pt idx="0">
                  <c:v>-0.38334253367093607</c:v>
                </c:pt>
                <c:pt idx="1">
                  <c:v>-0.346873447531333</c:v>
                </c:pt>
                <c:pt idx="2">
                  <c:v>-0.4507143446795878</c:v>
                </c:pt>
                <c:pt idx="3">
                  <c:v>-0.13019579025155315</c:v>
                </c:pt>
                <c:pt idx="4">
                  <c:v>0.831043795992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E863FE9-6E54-4BDE-8098-D73AA506B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4E34C8B-3189-4D7D-9269-1CC5EE06B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CC3FD44-79FF-4D4D-A18A-5DE2CFE5A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85A751F-CAED-44D8-9788-677B1549A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09B978B-BDAA-4649-9EE1-DB02BF3DB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CA172BE-4501-48D9-9685-02C701A25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E1BE6B66-27FE-4EBA-B64C-EF43BDC19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09479D8-D629-4652-AD09-C0329D9C7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BC74F92-DE38-4782-AED0-C1BDBD020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05EE9A96-8A4A-458A-B92C-E328BDF34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C7085530-0DCF-4349-B843-1D20B3C88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01FF60B-AB60-4756-9C7E-A7E5E1D12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3689FBA-FCA0-4BBF-BE37-6F75BF3FD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4E08C4D5-0DB5-4492-9DB9-F3D595A25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11F9109C-922A-4656-BDC1-0D6BD341B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4DDD3A25-83CB-421D-B64B-63CEDE45F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4DAF988-4486-41B1-91DD-B91A479F5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4620FD3-EB2F-425E-B4C7-AB43ECB91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65FDAD18-CAC9-4103-BAA1-F092D6169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4170D00-1DE8-42B7-B66A-D7CD2B68D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4A491B6-8796-4B34-B800-CB36E02F6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D7390ABC-6382-40E9-8563-85F4EF4FF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1889D413-D102-44BD-8E58-FFC780BD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6350FC5-A12D-49F8-94B1-D18F5C201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EAA262F8-0596-40F7-B314-60335EE1F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BCC7416-7FDA-47BF-AB75-48A64B1A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BE1FD9CA-0CE3-42EA-9C1C-A4C94F888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2F69193-ECAC-4D54-8EB7-109274C61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3598C2A7-99E9-4F42-9D93-6FBD884EC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9D3CA71-A9D4-4568-88EC-250009C84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803DF2CF-C4D7-46E3-A091-45AECBD3D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1BBF650-B659-40EC-A6AA-2FFFFA8BD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85E638D3-15C8-4EC3-9242-EC23FEC28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82540CCD-5760-4EE6-95DC-970D4477B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2F13A56F-4F17-4224-9475-2F58AEBA4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FC7587D5-59B6-4A03-B526-0F5F90A7E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1E407EB9-F063-43A0-9EB0-F632151A6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10E531E-F2FD-415C-82ED-B85F2433F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C350C4B-7D69-49E1-B5AB-7010EBC26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1E3CB84-54B1-40B2-BA8F-C37B9ED03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2DF2064-2186-439F-BE9E-DE46CA07F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18CB926D-9610-4132-8558-00E341F74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6BA74D3-8CCB-4312-B447-E4BA429A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FE6B450-94C1-47DA-B695-725668B27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D0B250D2-E337-43BC-8F64-63F9FE449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1C6E345-7612-45B8-A4E5-308E2321E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c:v>
                </c:pt>
              </c:numCache>
            </c:numRef>
          </c:xVal>
          <c:yVal>
            <c:numRef>
              <c:f>Sheet1!$B$2:$B$2</c:f>
              <c:numCache>
                <c:formatCode>General</c:formatCode>
                <c:ptCount val="1"/>
                <c:pt idx="0">
                  <c:v>1.4075659824046922</c:v>
                </c:pt>
              </c:numCache>
            </c:numRef>
          </c:yVal>
          <c:bubbleSize>
            <c:numRef>
              <c:f>Sheet1!$C$2:$C$2</c:f>
              <c:numCache>
                <c:formatCode>General</c:formatCode>
                <c:ptCount val="1"/>
                <c:pt idx="0">
                  <c:v>3778.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4075659824046922"/>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2.4"/>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04529F0-D0F2-4CB0-9CB0-DB7FAB278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E1110F78-96B8-4955-95DF-16467B104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E76E1CFC-7195-4F8F-A308-2C4665F54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FBF1560-6C96-45C1-A694-7A0DFC877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642A255-825E-4130-A078-DF5073D32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22B279A-4A07-4C54-A475-B20BB031E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B86F685E-80E9-48BC-BA37-CD7DC2D23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4686285-07F5-4EA8-961B-60A70BC24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7B24B0E-C1CA-4B38-A7D6-03BC67474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7453271A-1EC1-417E-AFB1-084160C10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EE78C18-DCF8-4963-8338-EF84A0E9C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08E64486-3CFD-4289-A2ED-482D51856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96331979-D9BF-4837-BA11-9A4F86A75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702F8C7E-1E09-4254-85EE-F42811F92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12C06F3-D2D2-49D5-A3AF-71300664E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747705C-5809-4866-923F-BDA0FB9FB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671F233-5527-4690-8DDF-31FCBA3FB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15AC7835-1699-44C8-8ADD-16601C371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58A7AD59-937B-405F-B8DE-C407FDDE2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8EE69D0-CA9E-4F77-B8F9-FBC65AB78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6ADBE6E-8DD4-474C-BB40-0FE7447E6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3D63B85D-7336-4958-9A14-FFC07E4E0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2A366CE2-2DB3-43EA-92E2-050FF2C8D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491D8AE-6505-41C5-991B-2047F5B43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F01E6BF8-63D0-4FD2-9119-A4338375D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53ADB97-0E5B-4D36-8FEC-F51C2AE04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BD38D19F-A827-49ED-95D2-7121F9F81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02D89C0-3526-4DEB-B89D-7FB6D75E4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565222AE-3D0A-4366-B517-32F9A9732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14860983-8446-4BF4-88DC-86E3E9252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7C009F9-51B5-413C-B8B1-DF45A98DC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A3DFD2D-80DD-4245-8EBB-D822F45EC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4E518E44-5B19-46B8-976E-2EE3A6F5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80B797C-40BD-4F61-B252-FDCD69117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E83E479-D78F-4CE7-8447-CFF559CB9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DF32FE2-80C6-4936-9D1D-2F93668EA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E852F84-48C3-4D30-BB30-0B49F2B25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2887F594-F8AA-4918-A1B9-6225B4990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EEF18ED0-194D-4797-AB4E-C0A450362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BD6697D0-8859-4B50-B3EC-EBDF9410D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628602F8-D132-473C-A30F-EF91E19CD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32EABC6-917D-40DD-BBA2-2E796A6EB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91A98B2A-2482-49F4-9820-81895EE57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5EDC6F67-C55C-493A-9572-5506FD19B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511DBD6F-1DA9-488D-8FC0-671568F54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85D07BA0-94C9-4262-ABEE-A151F1826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65</c:v>
                </c:pt>
              </c:numCache>
            </c:numRef>
          </c:xVal>
          <c:yVal>
            <c:numRef>
              <c:f>Sheet1!$B$2:$B$2</c:f>
              <c:numCache>
                <c:formatCode>General</c:formatCode>
                <c:ptCount val="1"/>
                <c:pt idx="0">
                  <c:v>3.0488875874447445</c:v>
                </c:pt>
              </c:numCache>
            </c:numRef>
          </c:yVal>
          <c:bubbleSize>
            <c:numRef>
              <c:f>Sheet1!$C$2:$C$2</c:f>
              <c:numCache>
                <c:formatCode>General</c:formatCode>
                <c:ptCount val="1"/>
                <c:pt idx="0">
                  <c:v>30347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3.048887587444744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6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8618EDD-C9E3-40CF-837B-3589F1635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F9F4328-A010-446B-B440-0CAFC927D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C1177612-523C-4B92-8B82-7EA03CED1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DFBA5BA3-7372-494D-B5B1-34E2495CE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110806EE-FFDF-4775-8AAC-124D6546E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C924A9D-1F43-4CF4-8867-DE797865E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3349516-BA9E-436C-B00D-D0EF4A746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CE4BE216-5D62-4AEB-924B-854E1F470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57D97864-3417-4C61-88B8-0436BB381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AE2CEE00-E407-477D-8665-CEB99DBF0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932CF63-A503-45AE-A826-637B567B5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713294F-8B04-42D0-B34C-FB7793CC1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8A8B2ED6-3CC2-46EF-8F39-58B34BE59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5EA93256-A438-42F1-B756-FE85E78E2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E88BE83-939A-40F8-9829-EA8499E75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C0AB7DA-3F51-4986-BFAF-799EBB817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1BD755B6-D09B-43A0-BCB5-88E9F49D4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065E09E-0243-4771-897E-28596696A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ABE5340-E4DD-4CDA-A7C6-A7539AA25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3170357-C7B8-4D66-9E78-A962CED92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E28CC4C-1040-44EC-B1AD-A71FDCDE0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FA87DDCD-790D-4301-8681-BE0001BBA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4458C58E-BDEC-4148-898E-3B9CD7BA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0FD2FE94-238B-42C8-A14B-8F2F354EB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386705A-D5DC-4120-8968-14E4CF82E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539CB689-4B32-41FB-9AAD-3B52BDBB9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24BE7BAF-7927-4A74-90CD-5A065D1F6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8B112EFA-D603-467A-B45B-E9C3CFBF6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A2D95884-9B42-45DE-B844-B67BC2D14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0C23D4A-450D-41ED-9762-ABAEE8408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2950CDC-73C3-4B7C-8CFC-7B32E9A43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15C5E00-1CD5-4E65-9838-D8C772E08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93569160-0DB0-47BF-802F-1E79535A3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5FE40C4-D379-45B8-93E0-1127C92E9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6D6D6FC-8092-4274-900D-9497F0A0F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49FE914-3C1E-4DF9-9FC2-91D36BD9E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54A5CB2-4F33-45CF-A233-2C8A204F8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488109A-02F9-4C92-B3B7-69E40216A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377E9BF4-7E05-4764-B6EC-31B480E8D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5E37DEF-B444-457E-86F4-3B17EE90E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95F1303B-5DC3-4982-A132-C376D8F4E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850C756-E7FC-421F-9E56-8673B1239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E0A8960F-0F3B-4AFE-B38D-2D7064405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2BC027FE-328D-4E63-9012-F69A7E8E4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561759E-2C3C-4733-A756-F557BF1ED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A5DC4777-1DC7-44B6-9BED-A8D1CEA90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c:v>
                </c:pt>
                <c:pt idx="1">
                  <c:v>9.05</c:v>
                </c:pt>
                <c:pt idx="2">
                  <c:v>1.61</c:v>
                </c:pt>
                <c:pt idx="3">
                  <c:v>7.06</c:v>
                </c:pt>
              </c:numCache>
            </c:numRef>
          </c:xVal>
          <c:yVal>
            <c:numRef>
              <c:f>Sheet1!$B$2:$B$5</c:f>
              <c:numCache>
                <c:formatCode>General</c:formatCode>
                <c:ptCount val="4"/>
                <c:pt idx="0">
                  <c:v>3.3346839193133797</c:v>
                </c:pt>
                <c:pt idx="1">
                  <c:v>4.399068322981367</c:v>
                </c:pt>
                <c:pt idx="2">
                  <c:v>0.42613313104494593</c:v>
                </c:pt>
                <c:pt idx="3">
                  <c:v>2.174038653118151</c:v>
                </c:pt>
              </c:numCache>
            </c:numRef>
          </c:yVal>
          <c:bubbleSize>
            <c:numRef>
              <c:f>Sheet1!$C$2:$C$5</c:f>
              <c:numCache>
                <c:formatCode>General</c:formatCode>
                <c:ptCount val="4"/>
                <c:pt idx="0">
                  <c:v>57139.0</c:v>
                </c:pt>
                <c:pt idx="1">
                  <c:v>33730.0</c:v>
                </c:pt>
                <c:pt idx="2">
                  <c:v>43980.0</c:v>
                </c:pt>
                <c:pt idx="3">
                  <c:v>1711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583481006614461"/>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229999999999999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F202F75-D598-42EF-9E5E-7B647E2E7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1DC1E38-E9DB-4361-A424-9400363CD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r>
                      <a:t>3</a:t>
                    </a:r>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899D707-137F-4B52-966F-777636FDA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3842B94C-61DD-47E0-AC0F-14012D0F0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F6CFCCB-46FC-4912-A7CF-2C0E36ABC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83A074D-683A-4EB8-82FD-BC9426C6A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6DBD2F5D-2716-4375-8D76-F73C84BEC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774EFD8-342B-487B-B2C8-EA11C5755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1423255-A9F6-4C4B-8A5D-92A9EBA97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D0D39156-86AA-4494-98FB-EB4A9F388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992A0EC0-5823-4245-ABF6-B8C006841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98443407-6A18-4EAE-A4CC-87EBD3B3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37B2BD9-068D-4932-81FD-473019B96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068AC32A-D87B-43F9-8341-BB76463C6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FB546FF-5697-4E2D-AC42-B7164E812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6B069CD7-849C-4BB7-A257-0621790E5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AC2FD124-86BC-4BA2-822C-A4FEC6B2F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DE3DF05-3A7E-4154-BC2D-59B0D708C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B79632BF-7EF2-43C0-8FDB-42F856821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CF29337-2EA2-4E71-9C92-35A5364B0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1041A215-D601-4718-9DD6-CEFE48AF7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A081E687-F485-4E33-90FF-984BF1EFD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4215835-B9E4-4C0A-8AB0-384382F5F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7B7CCBD-1E6B-4201-A41A-DB6E558D6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416D5A7-C1B7-4B87-886A-F01DAE51B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1C076DF4-B6C4-419B-ACD4-3F7246C47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A2328FAA-3349-43C2-A4A8-BB71DCD4B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82B8513-AB34-401F-BAED-4C308C5E9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CB2FC1D-0EDF-416B-A036-E7D007885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DDFC9BE-54B2-47AD-A106-E2F63CB4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17DF74E-310D-4C60-88EF-CAEF87E59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D80F0E3D-1020-4237-BF47-EA2BA1CA5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29C5C6C3-63B1-4645-BE66-AA036C1EF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8A6E6426-1F9E-4442-848B-A62573143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F9143738-6348-479C-8463-B11A6A20F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FCE8A0F4-11D9-49F8-9A9E-30CC52783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6F049226-1559-4841-B3ED-E39E532FC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8D478EFC-AC94-47EA-BE29-FFB278B44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51317A8-C540-4F75-990B-51CCEA12F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BCE273D1-5B76-43ED-BCA9-CFCE1581C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963691F7-CAC0-45AD-B683-979E96370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CE40457-0C5E-4E08-84EF-3F36CD2DD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E1E89BF-68C2-4F8E-BF17-261B808D7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C0042D4-945A-43AD-AF8C-B51E34985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3F5B6B2-1AF9-458F-8614-835E2C7D3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C8A51F29-C587-4F58-9B8E-596FCC268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B0DBD0AD-F200-41E9-A33F-04B71D14E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91</c:v>
                </c:pt>
                <c:pt idx="1">
                  <c:v>2.01</c:v>
                </c:pt>
                <c:pt idx="2">
                  <c:v>3.0</c:v>
                </c:pt>
              </c:numCache>
            </c:numRef>
          </c:xVal>
          <c:yVal>
            <c:numRef>
              <c:f>Sheet1!$B$2:$B$4</c:f>
              <c:numCache>
                <c:formatCode>General</c:formatCode>
                <c:ptCount val="3"/>
                <c:pt idx="0">
                  <c:v>4.224691358024692</c:v>
                </c:pt>
                <c:pt idx="1">
                  <c:v>0.5231497720098212</c:v>
                </c:pt>
                <c:pt idx="2">
                  <c:v>1.9581572273879966</c:v>
                </c:pt>
              </c:numCache>
            </c:numRef>
          </c:yVal>
          <c:bubbleSize>
            <c:numRef>
              <c:f>Sheet1!$C$2:$C$4</c:f>
              <c:numCache>
                <c:formatCode>General</c:formatCode>
                <c:ptCount val="3"/>
                <c:pt idx="0">
                  <c:v>16488.0</c:v>
                </c:pt>
                <c:pt idx="1">
                  <c:v>16800.0</c:v>
                </c:pt>
                <c:pt idx="2">
                  <c:v>6999.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23533278580750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973333333333333"/>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E282663D-46BC-474B-BCC6-8025203E9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A5CD9EE-81A8-467F-9F56-5E7E65911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C1A29118-1868-452A-8FCB-3BE8EDC7C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0E15C345-D371-4926-B9AE-89995E40F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136620A7-19EB-4033-8A8B-6A460863E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CD8FC40-3E23-4B2A-8732-7E21A2981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F03118F-D7A7-4A51-A301-7217CE929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57C43EA-1B00-4F78-8172-5DBBD34AE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47DB2AD-3E46-4321-A8E2-27CDB4D82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E7E684A7-E262-4BD3-B734-DE45B0EB6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E15FE7B-EB05-40E8-9DA2-C80BC895F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520298FA-F328-4166-8507-951653567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724C41C-04A0-4F7C-9481-09232612E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DCB32879-4C94-4020-A748-1BC52528E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43A24503-6563-441D-B575-6E304481D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08B27AD-CC17-42AE-84CB-56795E4C5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42A9D90F-877D-4B25-8DFE-87B86C655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40185EF-1538-4FC4-B1E3-95FEC496A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A6C735F5-8AEF-49D7-BF75-5021B8576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19B30910-30DE-493D-9A1B-2F32F6FAA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4446CBB6-3B07-46EF-AC06-14ADB3267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E9F830F-9037-4DC6-ABE1-1A214707B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1391D17-D782-4BC4-BC23-0AF97F0F0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6406AEA-3F65-4090-8DBC-DFAF0403D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882B9A4A-4BD2-4A10-A5F5-007FDDC70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006397AA-2372-49A8-B6A2-3BACB38D9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36BBDD8C-77A3-41F4-B4C6-CFAD25025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3AEED956-2761-4EB1-8C78-3B66468B9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3F078AD4-533A-4984-AA08-6B8FE97C7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FA8D217-8C3F-48DF-99AD-ECF7A49C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69BB1922-BE5A-4CB6-A958-F9B6FE2FE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0709C39-83B5-4763-882C-86F77B12D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6E685CC0-D681-442B-8C7B-707FA3C67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E089355-67DE-423C-A589-F82A2DD18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6ED0BD86-4216-4977-A9B3-19488A37F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32489D1-8CEB-467B-A467-3DAFB63D7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A4C96E80-073B-4588-B8B5-12A4C722D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CE05012-5F57-4625-A1D2-4B5E4CBE0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19ED578-E4E7-40F9-8ECF-61E261D6C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4608969-8EB8-481A-AF33-B8A55C619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01B59C77-4683-45AA-B385-CEB63FD9C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43DDB43-C153-4501-BB53-3EF139722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20CD3E3-1497-4792-BDD3-F2933BD3F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184532E-5933-45BD-817D-5FDE1C876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E946FADA-9A2A-4DB2-ADFE-E39EC2FFA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8944CF7C-2C24-4809-AFC4-CA038A8F8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c:v>
                </c:pt>
              </c:numCache>
            </c:numRef>
          </c:xVal>
          <c:yVal>
            <c:numRef>
              <c:f>Sheet1!$B$2:$B$2</c:f>
              <c:numCache>
                <c:formatCode>General</c:formatCode>
                <c:ptCount val="1"/>
                <c:pt idx="0">
                  <c:v>1.1658597898589524</c:v>
                </c:pt>
              </c:numCache>
            </c:numRef>
          </c:yVal>
          <c:bubbleSize>
            <c:numRef>
              <c:f>Sheet1!$C$2:$C$2</c:f>
              <c:numCache>
                <c:formatCode>General</c:formatCode>
                <c:ptCount val="1"/>
                <c:pt idx="0">
                  <c:v>25554.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1658597898589524"/>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7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B3FC17A9-EA2C-4131-984E-746D94A0A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59D89E6-9DB4-484B-8B9E-D08DE464E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r>
                      <a:t>3</a:t>
                    </a:r>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CEA78C4B-F7BB-4D4A-B3FA-9982272B0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622B951-4440-4D15-8A44-469E0D5E7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7B02CCF1-3666-4CE3-99E1-A26677289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4F3E02A-E3D4-4CEA-B022-1D1BFE4AC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844AED8-420F-4FB7-872E-23F287604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74A1C2B-62E6-4617-BC6D-79C314A63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A3855D9F-230B-4B94-8133-A22541A7F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44C7B672-4B6C-4ACF-8EBE-30B164CDF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90F9B573-08A6-4A48-8962-FFF292DFE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D051307E-6DC7-4852-B277-21BB4EB02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350F348C-3F8A-4F96-9EFA-B737F5493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80258A4B-CA54-4A6F-9274-01996DEF8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8A6E509F-1D0B-4453-A8B7-5D90E32E0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33B8408-BFB6-4EBB-BE32-FD60717E1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32CC68F6-B5C6-4237-9E8B-0D909564C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A5B81E2-4BEC-4D59-A44C-963B6D959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569A1BD-AE3B-44CE-872E-C93D55EB1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298DD0A3-8B29-4F13-8DEF-AC4601052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DBD54494-C8C1-46A7-A605-6D5C7D789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D80DF0C-A332-449F-AA18-DCE84D545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B041320-35B5-477A-A367-A4F0DC5D0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9162699-8568-406D-9596-199D6C96F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4FCA181-6B32-4F12-A136-C50C8E22D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26127387-8F1F-46BB-A9BD-C84906915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DC2FA4C-C24D-4024-96AD-6F20FCE48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8B6800D-622D-40BA-BDFB-B421C1736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15E9BB3-1EE6-432C-B862-00E55D817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76A4E474-7515-4CBE-A6DE-C2492AA10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CF01DA9-43B5-487D-BDF1-F12516544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895C699-148B-4E4C-82F5-F8E797ADA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FCBC150-33AE-4F2D-B06F-A63824D3B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DA51E702-0EF5-46B8-86AD-7C116B49A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1F89680B-CF95-4350-A29F-702D700CA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F5294A8-1B18-4F30-975D-A21E38725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EEF071F-7143-4E83-9485-D38C95FEF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764F475-DD68-4A64-B327-EAD4A7ADF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AE401646-03F1-439C-9675-18E3D29C7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771B3F43-7D39-4E34-B426-8A3AEC5ED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E285A03-7020-4E30-8123-9EBCC8EBE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4DBDD3F5-262D-49F9-87E2-45249CC63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EBBE5AA-B388-4E9C-A565-AC1CA77C8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B1CF846D-A6A5-4A54-BE68-3481D7FCD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2B7AB59-530B-4121-BEED-7BDCD918E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C92EC5BB-2FF0-41DE-B5D7-44D056B3D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AA0959BC-0707-4DF3-B176-C8BC32839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21</c:v>
                </c:pt>
                <c:pt idx="1">
                  <c:v>3.12</c:v>
                </c:pt>
                <c:pt idx="2">
                  <c:v>3.4</c:v>
                </c:pt>
              </c:numCache>
            </c:numRef>
          </c:xVal>
          <c:yVal>
            <c:numRef>
              <c:f>Sheet1!$B$2:$B$4</c:f>
              <c:numCache>
                <c:formatCode>General</c:formatCode>
                <c:ptCount val="3"/>
                <c:pt idx="0">
                  <c:v>5.334429824561403</c:v>
                </c:pt>
                <c:pt idx="1">
                  <c:v>1.7318799368088467</c:v>
                </c:pt>
                <c:pt idx="2">
                  <c:v>5.151469098277609</c:v>
                </c:pt>
              </c:numCache>
            </c:numRef>
          </c:yVal>
          <c:bubbleSize>
            <c:numRef>
              <c:f>Sheet1!$C$2:$C$4</c:f>
              <c:numCache>
                <c:formatCode>General</c:formatCode>
                <c:ptCount val="3"/>
                <c:pt idx="0">
                  <c:v>27645.0</c:v>
                </c:pt>
                <c:pt idx="1">
                  <c:v>28536.0</c:v>
                </c:pt>
                <c:pt idx="2">
                  <c:v>11955.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4.07259295321595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9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DA3FEFA-C904-4645-A27E-974D8A29D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011F581-EE46-4F04-89C8-5CF6C27B2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59EF7EC-A0C6-4796-B5CB-C3A683831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1A03D70D-F518-4AB0-AB74-85EC5C5BB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6D5E84CB-F21E-41ED-9093-BA1B87D77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F878535-DE9E-47A9-B978-A0E5CBC74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C3A6DEA2-DB17-4524-B6EA-CA7F7A756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2ABC8DE-7C38-412C-9E83-C75B5FBD4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97F67A7-D08D-4C29-BF7F-FAC35323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8354E4AA-FCEC-4264-85C3-17D7B18E3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01F9D51-8B72-49B0-BACD-A25975E9A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2E4C84BC-8F71-4819-85EE-38E0F8CD7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39880AAA-E59C-46BA-9677-86FFB5EFB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4A7098DF-9CEB-4036-B762-3E42B268B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A4CFE21B-586E-4506-AD77-55126A29F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62D66D7-EFF1-4D13-A0CF-F13786F2D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50AA1F6-5231-4DB7-A9B1-27B0383E8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818E3BE-88C2-47DA-A6FA-E85901E52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C2D1844-93AB-48A3-9088-B6746B1B4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F941E654-508B-4EA6-9671-35C8F7EDD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94BC56F4-F5E6-4B4D-802B-020E88BC3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E18413AE-763C-4BBF-A74A-693DCCF18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6097E20-BC38-439B-96E5-5D6050C99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F99E49F-CB25-401B-9824-03DD8D55E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598165B-9F29-4DD1-A175-2B6F06086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B10B461B-65D7-43EC-A090-08DE6384C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D7CE5E94-AB93-4303-8EC5-581ECE180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436772A-6CD3-468A-819D-31BD70A20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3D8EBAE-BC68-47B0-A846-5AA985EF8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808F00AE-2BBC-46C4-82E1-19800BDF7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4EA95AD3-7412-4325-B1CD-18C0E251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6274623-366F-4E87-818B-66E94A3E5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4AF8262-BFB9-4887-A9D3-E1CAE64AF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D1E953B-0A8A-434D-B579-C7161EC88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6ACCB2E-8B6D-4FED-999F-D6EF9619B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C3068B7-26D2-45D0-B28C-B2330E8D4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8E9A8663-CCBD-4D65-832F-203080B08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D9271E2D-1CC4-4A4A-AD2D-2F6356B37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1BCA9659-FDAD-48D1-95F7-5280C72F8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62B210F-5A1B-4110-8205-3FEDC600E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2A1B9875-444A-435F-BB45-64EEDBFE6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162D9A33-EE44-46F0-A1F4-402CA4D98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A07620EC-E18A-4155-9482-89105913B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49B84F4-BA07-443C-AA41-850BA9D86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57CDBF7-81EF-42BE-93D6-BED75F8CF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48E981A-9B8A-46F5-9ADF-9C8BE4072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8</c:f>
              <c:numCache>
                <c:formatCode>General</c:formatCode>
                <c:ptCount val="17"/>
                <c:pt idx="0">
                  <c:v>2.57</c:v>
                </c:pt>
                <c:pt idx="1">
                  <c:v>15.95</c:v>
                </c:pt>
                <c:pt idx="2">
                  <c:v>4.17</c:v>
                </c:pt>
                <c:pt idx="3">
                  <c:v>3.42</c:v>
                </c:pt>
                <c:pt idx="4">
                  <c:v>5.62</c:v>
                </c:pt>
                <c:pt idx="5">
                  <c:v>5.65</c:v>
                </c:pt>
                <c:pt idx="6">
                  <c:v>2.54</c:v>
                </c:pt>
                <c:pt idx="7">
                  <c:v>5.03</c:v>
                </c:pt>
                <c:pt idx="8">
                  <c:v>5.75</c:v>
                </c:pt>
                <c:pt idx="9">
                  <c:v>3.72</c:v>
                </c:pt>
                <c:pt idx="10">
                  <c:v>5.33</c:v>
                </c:pt>
                <c:pt idx="11">
                  <c:v>4.77</c:v>
                </c:pt>
                <c:pt idx="12">
                  <c:v>4.53</c:v>
                </c:pt>
                <c:pt idx="13">
                  <c:v>5.74</c:v>
                </c:pt>
                <c:pt idx="14">
                  <c:v>5.26</c:v>
                </c:pt>
                <c:pt idx="15">
                  <c:v>3.8</c:v>
                </c:pt>
                <c:pt idx="16">
                  <c:v>3.77</c:v>
                </c:pt>
              </c:numCache>
            </c:numRef>
          </c:xVal>
          <c:yVal>
            <c:numRef>
              <c:f>Sheet1!$B$2:$B$18</c:f>
              <c:numCache>
                <c:formatCode>General</c:formatCode>
                <c:ptCount val="17"/>
                <c:pt idx="0">
                  <c:v>5.027034491208144</c:v>
                </c:pt>
                <c:pt idx="1">
                  <c:v>1.3403257487438467</c:v>
                </c:pt>
                <c:pt idx="2">
                  <c:v>0.45197689004534497</c:v>
                </c:pt>
                <c:pt idx="3">
                  <c:v>4.60126046182263</c:v>
                </c:pt>
                <c:pt idx="4">
                  <c:v>2.829139426940273</c:v>
                </c:pt>
                <c:pt idx="5">
                  <c:v>1.9149138567153128</c:v>
                </c:pt>
                <c:pt idx="6">
                  <c:v>0.8380719404344014</c:v>
                </c:pt>
                <c:pt idx="7">
                  <c:v>1.3283814093778568</c:v>
                </c:pt>
                <c:pt idx="8">
                  <c:v>1.4760141993196054</c:v>
                </c:pt>
                <c:pt idx="9">
                  <c:v>0.6547992441121029</c:v>
                </c:pt>
                <c:pt idx="10">
                  <c:v>1.2175539234577462</c:v>
                </c:pt>
                <c:pt idx="11">
                  <c:v>0.8428319275710447</c:v>
                </c:pt>
                <c:pt idx="12">
                  <c:v>1.792805312107631</c:v>
                </c:pt>
                <c:pt idx="13">
                  <c:v>2.461434263649078</c:v>
                </c:pt>
                <c:pt idx="14">
                  <c:v>1.275233249933053</c:v>
                </c:pt>
                <c:pt idx="15">
                  <c:v>2.8444347063978968</c:v>
                </c:pt>
                <c:pt idx="16">
                  <c:v>0.6260898007320236</c:v>
                </c:pt>
              </c:numCache>
            </c:numRef>
          </c:yVal>
          <c:bubbleSize>
            <c:numRef>
              <c:f>Sheet1!$C$2:$C$18</c:f>
              <c:numCache>
                <c:formatCode>General</c:formatCode>
                <c:ptCount val="17"/>
                <c:pt idx="0">
                  <c:v>358883.0</c:v>
                </c:pt>
                <c:pt idx="1">
                  <c:v>123846.0</c:v>
                </c:pt>
                <c:pt idx="2">
                  <c:v>441750.0</c:v>
                </c:pt>
                <c:pt idx="3">
                  <c:v>163411.0</c:v>
                </c:pt>
                <c:pt idx="4">
                  <c:v>157243.0</c:v>
                </c:pt>
                <c:pt idx="5">
                  <c:v>133177.0</c:v>
                </c:pt>
                <c:pt idx="6">
                  <c:v>190805.0</c:v>
                </c:pt>
                <c:pt idx="7">
                  <c:v>141986.0</c:v>
                </c:pt>
                <c:pt idx="8">
                  <c:v>120339.0</c:v>
                </c:pt>
                <c:pt idx="9">
                  <c:v>158478.0</c:v>
                </c:pt>
                <c:pt idx="10">
                  <c:v>103774.0</c:v>
                </c:pt>
                <c:pt idx="11">
                  <c:v>113895.0</c:v>
                </c:pt>
                <c:pt idx="12">
                  <c:v>72268.0</c:v>
                </c:pt>
                <c:pt idx="13">
                  <c:v>67514.0</c:v>
                </c:pt>
                <c:pt idx="14">
                  <c:v>74029.0</c:v>
                </c:pt>
                <c:pt idx="15">
                  <c:v>50160.0</c:v>
                </c:pt>
                <c:pt idx="16">
                  <c:v>5763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8542529913275292"/>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5.154117647058823"/>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4E90FD6-7552-4A34-8D0D-699B5E9DD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608E2E1-96A0-4BE9-9DA6-0DCC74D29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82BD631-BEA2-4CAB-88EC-2B2FCA47D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94295F08-7D65-4ED1-844C-E5E265A2B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6FC63F8-CCA2-452E-B8AE-226D236B0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7847C4C-87BA-4C56-8646-5CB37F50B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F24D7AA-9CCF-4C53-8093-78099D700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25464E84-A3CD-427B-8F65-13995E799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89B8CBB-FB67-4AF2-B2F0-2E59D9FE6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A99FB329-C032-48DA-BC6A-FAA89FAE3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05400A7-10F9-462E-A863-CBEF73467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F2A613E2-A9D1-4816-A88C-B4C8E25A6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D534E01-17D0-4B95-A328-E7798DA11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1C9459F7-C241-45F4-B0A7-32A18E6CC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C917543-CEBB-476A-BDE1-E2B3F4BB7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C7B0C65-8762-43E7-BECE-E843DF95C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1DA074E7-139B-49F3-B5B7-4A945A553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94C893C-F010-4B31-8CB8-80C72CA89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CC7A45A2-BE23-4A4A-8527-CADF80F57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66F0209-83D3-4438-945C-A7FA1B6ED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C6152D34-A11C-4925-A85A-BE7B19276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1E9D99E-89AC-4C1C-A7D0-2B6C39FF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DBA0A19E-4175-444C-B204-3833EE0E4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73E60586-A9DD-47C5-B506-80A17E28F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CD52BFF-739A-46B5-8AB9-28EAA485F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351FA6CB-AA93-4D18-B61D-EB10C7799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360D6963-6118-489F-89A4-D643BF257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BFD7E279-8252-436C-B125-87B92D93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7B18F9F-AC7A-4409-AE4B-6F55BDBC8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3AB18D4-7C83-48DD-A622-EFEBD7667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9E937E32-B1FA-468E-9EA2-021DF989A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9AF2183-1818-48B1-8653-A674C7D68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2BBB298-1FF9-497B-BF52-920DBBA16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67532F2-BA27-4619-B80F-BCB096D88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AA84B00-9137-47BF-B16C-B0C8BCD57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00366126-FEA1-496F-BAF3-DDF73BFBA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C4FA663-9184-4E9E-B9D4-4D4B2F911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2E4D163-7F49-4659-9052-64CF4921A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7EF552DE-0B2B-4074-9400-E6C191219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CD057EB-5D70-46D3-87FF-3A3A81B15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E54BF55-C5E2-4EBD-B2A0-48F4B4BF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A37B758-BF2C-4514-86D1-8025AA79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A3D3488-B747-479C-A3D4-71C83D5E5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15FB1FB-64AB-4B97-80F4-9BBA9B044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C53B93D8-7BCE-47FD-95C0-90EE005C6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6FE81FBF-88FE-4127-B46F-3757F824A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41</c:v>
                </c:pt>
              </c:numCache>
            </c:numRef>
          </c:xVal>
          <c:yVal>
            <c:numRef>
              <c:f>Sheet1!$B$2:$B$2</c:f>
              <c:numCache>
                <c:formatCode>General</c:formatCode>
                <c:ptCount val="1"/>
                <c:pt idx="0">
                  <c:v>2.5419962309675923</c:v>
                </c:pt>
              </c:numCache>
            </c:numRef>
          </c:yVal>
          <c:bubbleSize>
            <c:numRef>
              <c:f>Sheet1!$C$2:$C$2</c:f>
              <c:numCache>
                <c:formatCode>General</c:formatCode>
                <c:ptCount val="1"/>
                <c:pt idx="0">
                  <c:v>224212.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5419962309675923"/>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4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2BDA8E32-C03B-4A82-A8D1-D07E6DF54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F30D62E-DAF8-4171-9489-F0BB37B51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r>
                      <a:t>3</a:t>
                    </a:r>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4B53718-A28D-4239-8FC7-E94AF726C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4A44F7D9-AC96-4797-924E-AEF02BE98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68933B8-86F5-4DBD-B928-34D80240A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73B24E6-B05E-4BDF-90CE-A3337933E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C1B9F0E4-3EAC-46D9-9F15-5C47C954D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82A96BA-F697-4B63-9106-3DAE9D688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26D0EFAF-8B7B-42A2-9FF9-2E01A416E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0068E42-0BE6-41F2-855A-1D39B7F4E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0A63154C-C106-4512-A797-653C238BC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D7D4D20-09E0-4FE8-AEBB-1DEEDB021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34D4383B-ADD1-4494-A6E9-7394BC252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E64D6FFD-19D0-4997-8DF5-7E6E92AEE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BF3A0D82-64D2-4836-BC45-CE62F235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9BFCFFC-1236-42B3-90E4-EC7543755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2AA6CE8F-5AB6-4375-A2BB-703D3D5A9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5CEF1B80-42C7-4ACC-ABCB-DE7CB4640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09B0C05-6151-4253-88ED-0AFDA261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490068D8-8325-4097-8DEA-B681E890A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ACD5C86A-520B-495A-AF99-A27391974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6E5DC76-B10F-4C31-ABD4-B4BFBFB40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1983AD8-F922-498A-92BE-7A8250DF3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00B8F9C-A99E-482E-8DF6-442681016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153A6F5E-16EB-4AC8-B63C-3B464459F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8F73E96E-2928-4A60-8EF9-501773B0B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AD3A118C-3C89-40B0-9B62-1F669E658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1550FD9-3609-4731-9C9A-2931E4B3C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6E54C9C7-3C15-4B92-8415-E694D618E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6ADB0066-1E9E-4AF6-AA5B-3E52ED2AB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B992A3AA-DDE3-4C68-AE70-0028012C5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E687202F-AEEF-4C55-9AAD-CE872E2F7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4ABDA45-50F4-4CB4-ADD0-07D24F3C9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29366B9-F372-49B6-8C72-3A380AD66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1E42F281-EAE1-4A4D-9638-FCF35C54A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822A647-20EC-4DAF-B5B1-11726E7DF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FBA1ED30-449E-4D23-BF59-60DF8A57F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8FACEF84-3766-4463-923A-CC79A5AF2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42F5231-7D01-41EB-A7EE-F9C5F1944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4D120EED-DB1A-4C26-BDA9-1E87FDB53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0FD1274-B2D2-40F8-B5E2-24C4FF3E6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A6DE2AA-4D50-4581-A227-3D70E616D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DFD96CE-6B5E-413F-8203-431E3A815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BD66BD0-FE29-41C3-9357-D818E8375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64FE76CE-424D-40A2-B1D6-3E11B3AEC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FE4B4AE-10AF-4F19-8B5F-E2243BCBB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DD8CB6EC-8E7A-4994-A645-2842D90B7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24</c:v>
                </c:pt>
                <c:pt idx="1">
                  <c:v>4.25</c:v>
                </c:pt>
                <c:pt idx="2">
                  <c:v>4.14</c:v>
                </c:pt>
              </c:numCache>
            </c:numRef>
          </c:xVal>
          <c:yVal>
            <c:numRef>
              <c:f>Sheet1!$B$2:$B$4</c:f>
              <c:numCache>
                <c:formatCode>General</c:formatCode>
                <c:ptCount val="3"/>
                <c:pt idx="0">
                  <c:v>1.0200830060857493</c:v>
                </c:pt>
                <c:pt idx="1">
                  <c:v>3.5468150422102838</c:v>
                </c:pt>
                <c:pt idx="2">
                  <c:v>2.494798234552333</c:v>
                </c:pt>
              </c:numCache>
            </c:numRef>
          </c:yVal>
          <c:bubbleSize>
            <c:numRef>
              <c:f>Sheet1!$C$2:$C$4</c:f>
              <c:numCache>
                <c:formatCode>General</c:formatCode>
                <c:ptCount val="3"/>
                <c:pt idx="0">
                  <c:v>55969.0</c:v>
                </c:pt>
                <c:pt idx="1">
                  <c:v>19252.0</c:v>
                </c:pt>
                <c:pt idx="2">
                  <c:v>20441.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2.3538987609494555"/>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4.2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F3CF2D28-9DBA-4B1C-BC28-B08084FAA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3C6FD9A-8784-4E5F-9FEA-64F46CBBB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9F96C27-3191-49B0-AF31-8431B9CDD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7799453-3ED1-4A77-BDAE-4D0DC68AD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E8181D5-7C88-4BF6-A29D-A247B6BC3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DD755C13-39CC-4991-8DCA-EE39C7977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AC2CCA6-3A8A-425E-91C6-AE55CFA3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49FCEF9-A3B3-491B-83CA-63C9566F3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66D66BD-D94C-4E2B-A427-917232523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963101B-41B1-41D2-88DC-B30B562FD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5D216A2-6187-45BF-8379-FBFE675CA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48458574-E466-493B-BC6A-9717B9B33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36D0193-E920-4F8A-9B2C-04901414E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CD99FB3-F664-4D8C-ACAB-0AF12B1E8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6C42BAC6-153E-4F28-A737-43715A37A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117C5FB-F800-46B1-B6F6-DA13A05E2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1756FD7-5973-4021-B059-E75AB489B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1567B37-780A-4493-9B56-010F9CCCD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10A21FB-E8D4-48D0-9371-03833B7BD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19F900A2-3C26-44E6-A137-3EB103696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4A67782C-639A-4C06-8721-FD1DBCFB7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3B7F5553-06CC-4E6D-8A1E-387BEE7AB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C54F27BF-AC81-4CB0-840C-9FDF6FC9E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78EB9134-83AB-48E9-B24E-8EF8C15D3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C77EA9A-E9B5-4A4F-9AF8-C47126E7A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70613BAD-6759-4A18-937D-791B256DE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7452225-0AC9-41FC-8E08-AB7163278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BFFAFD35-10E9-4B10-891B-2ECDACE37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70FAB794-74C5-4434-98F0-897B43D3C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4685DBC5-C947-4618-9132-730ABF38D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D44B84A6-1739-491E-A2FC-DC7CD0F5D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A46EDC5-6B4F-4645-80FB-E3CC33D4F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DDBD3C76-431A-4854-97F2-17068F0EB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111E2F8-558C-438C-8B10-2609D5B7F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E4A3CDDF-8405-4D6C-B9E0-FB328159E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529405A7-1788-47CD-A9D9-E3FDAEC8D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0459B8C-965D-4486-B49E-C2E85C0D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29502A63-9AFE-4A68-AC12-28B4754A7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2B1F4938-C81D-4583-AA82-0189BC18B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1CB685A5-CD7F-4012-8B49-09BD4E18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A08A7CB-6020-4B46-8F46-C06D1D34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1CD638B1-69D4-49D0-A9C9-8CC5E6A7A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DE920A6-C83F-4B62-B285-D6BF3186E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DC3D94F4-5336-494E-8DD1-48444C98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0ABBDDF5-BEA3-403C-88BD-C22CB5C4E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838033F9-966F-4E5F-B7EB-8E17C51E5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57</c:v>
                </c:pt>
                <c:pt idx="1">
                  <c:v>3.17</c:v>
                </c:pt>
              </c:numCache>
            </c:numRef>
          </c:xVal>
          <c:yVal>
            <c:numRef>
              <c:f>Sheet1!$B$2:$B$3</c:f>
              <c:numCache>
                <c:formatCode>General</c:formatCode>
                <c:ptCount val="2"/>
                <c:pt idx="0">
                  <c:v>1.1505565319273579</c:v>
                </c:pt>
                <c:pt idx="1">
                  <c:v>2.5271722564722774</c:v>
                </c:pt>
              </c:numCache>
            </c:numRef>
          </c:yVal>
          <c:bubbleSize>
            <c:numRef>
              <c:f>Sheet1!$C$2:$C$3</c:f>
              <c:numCache>
                <c:formatCode>General</c:formatCode>
                <c:ptCount val="2"/>
                <c:pt idx="0">
                  <c:v>26519.0</c:v>
                </c:pt>
                <c:pt idx="1">
                  <c:v>7525.0</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838864394199817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3.37"/>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8</c:v>
                </c:pt>
                <c:pt idx="1">
                  <c:v>0.4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2</c:v>
                </c:pt>
                <c:pt idx="1">
                  <c:v>0.57000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9</c:v>
                </c:pt>
                <c:pt idx="1">
                  <c:v>0.4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1</c:v>
                </c:pt>
                <c:pt idx="1">
                  <c:v>0.5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8</c:v>
                </c:pt>
                <c:pt idx="1">
                  <c:v>0.42</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2</c:v>
                </c:pt>
                <c:pt idx="1">
                  <c:v>0.58000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8</c:v>
                </c:pt>
                <c:pt idx="1">
                  <c:v>0.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2</c:v>
                </c:pt>
                <c:pt idx="1">
                  <c:v>0.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2</c:v>
                </c:pt>
                <c:pt idx="1">
                  <c:v>0.02</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8</c:v>
                </c:pt>
                <c:pt idx="1">
                  <c:v>0.98</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8</c:v>
                </c:pt>
                <c:pt idx="1">
                  <c:v>0.4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2</c:v>
                </c:pt>
                <c:pt idx="1">
                  <c:v>0.57000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2</c:v>
                </c:pt>
                <c:pt idx="1">
                  <c:v>0.02</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8</c:v>
                </c:pt>
                <c:pt idx="1">
                  <c:v>0.98</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9</c:v>
                </c:pt>
                <c:pt idx="1">
                  <c:v>0.4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1</c:v>
                </c:pt>
                <c:pt idx="1">
                  <c:v>0.5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38</c:v>
                </c:pt>
                <c:pt idx="1">
                  <c:v>0.4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62</c:v>
                </c:pt>
                <c:pt idx="1">
                  <c:v>0.57000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Total</c:v>
                </c:pt>
                <c:pt idx="1">
                  <c:v>Champagnes</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DEDDDD"/>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DEDDDD"/>
              </a:solidFill>
            </c:spPr>
            <c:extLst>
              <c:ext xmlns:c16="http://schemas.microsoft.com/office/drawing/2014/chart" uri="{C3380CC4-5D6E-409C-BE32-E72D297353CC}">
                <c16:uniqueId val="{00000002-615A-458F-B49B-C3992C8CBC6B}"/>
              </c:ext>
            </c:extLst>
          </c:dPt>
          <c:dPt>
            <c:idx val="4"/>
            <c:invertIfNegative val="0"/>
            <c:bubble3D val="0"/>
            <c:spPr>
              <a:solidFill>
                <a:srgbClr val="DEDDDD"/>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c:rich>
              </c:tx>
              <c:showLegendKey val="0"/>
              <c:showVal val="1"/>
              <c:showCatName val="0"/>
              <c:showSerName val="0"/>
              <c:showPercent val="0"/>
              <c:showBubbleSize val="0"/>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5.2</c:v>
                </c:pt>
                <c:pt idx="1">
                  <c:v>-0.06000000000000005</c:v>
                </c:pt>
                <c:pt idx="2">
                  <c:v>-0.07199999999999995</c:v>
                </c:pt>
                <c:pt idx="3">
                  <c:v>0.028999999999999915</c:v>
                </c:pt>
                <c:pt idx="4">
                  <c:v>0.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5</c:v>
                </c:pt>
                <c:pt idx="1">
                  <c:v>0.04</c:v>
                </c:pt>
                <c:pt idx="2">
                  <c:v>0.23</c:v>
                </c:pt>
                <c:pt idx="3">
                  <c:v>0.29</c:v>
                </c:pt>
                <c:pt idx="4">
                  <c:v>0.49</c:v>
                </c:pt>
                <c:pt idx="5">
                  <c:v>0.07</c:v>
                </c:pt>
                <c:pt idx="6">
                  <c:v>0.1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5</c:v>
                </c:pt>
                <c:pt idx="1">
                  <c:v>0.96</c:v>
                </c:pt>
                <c:pt idx="2">
                  <c:v>0.77</c:v>
                </c:pt>
                <c:pt idx="3">
                  <c:v>0.71</c:v>
                </c:pt>
                <c:pt idx="4">
                  <c:v>0.51</c:v>
                </c:pt>
                <c:pt idx="5">
                  <c:v>0.9299999999999999</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3</c:v>
                </c:pt>
                <c:pt idx="1">
                  <c:v>0.42</c:v>
                </c:pt>
                <c:pt idx="2">
                  <c:v>0.08</c:v>
                </c:pt>
                <c:pt idx="3">
                  <c:v>0.38</c:v>
                </c:pt>
                <c:pt idx="4">
                  <c:v>0.35</c:v>
                </c:pt>
                <c:pt idx="5">
                  <c:v>0.16</c:v>
                </c:pt>
                <c:pt idx="6">
                  <c:v>0.71</c:v>
                </c:pt>
                <c:pt idx="7">
                  <c:v>0.68</c:v>
                </c:pt>
                <c:pt idx="8">
                  <c:v>0.52</c:v>
                </c:pt>
                <c:pt idx="9">
                  <c:v>0.37</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700000000000001</c:v>
                </c:pt>
                <c:pt idx="1">
                  <c:v>0.5800000000000001</c:v>
                </c:pt>
                <c:pt idx="2">
                  <c:v>0.92</c:v>
                </c:pt>
                <c:pt idx="3">
                  <c:v>0.62</c:v>
                </c:pt>
                <c:pt idx="4">
                  <c:v>0.65</c:v>
                </c:pt>
                <c:pt idx="5">
                  <c:v>0.84</c:v>
                </c:pt>
                <c:pt idx="6">
                  <c:v>0.29000000000000004</c:v>
                </c:pt>
                <c:pt idx="7">
                  <c:v>0.31999999999999995</c:v>
                </c:pt>
                <c:pt idx="8">
                  <c:v>0.48</c:v>
                </c:pt>
                <c:pt idx="9">
                  <c:v>0.63</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3</c:v>
                </c:pt>
                <c:pt idx="1">
                  <c:v>0.02</c:v>
                </c:pt>
                <c:pt idx="3">
                  <c:v>0.06</c:v>
                </c:pt>
                <c:pt idx="7">
                  <c:v>0.38</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7</c:v>
                </c:pt>
                <c:pt idx="1">
                  <c:v>0.98</c:v>
                </c:pt>
                <c:pt idx="3">
                  <c:v>0.94</c:v>
                </c:pt>
                <c:pt idx="7">
                  <c:v>0.62</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DEDDDD"/>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Ruinart</c:v>
                </c:pt>
                <c:pt idx="1">
                  <c:v>Malard</c:v>
                </c:pt>
                <c:pt idx="2">
                  <c:v>Heidsieck &amp; Co Monopole</c:v>
                </c:pt>
                <c:pt idx="3">
                  <c:v>Nicolas Feuillatte</c:v>
                </c:pt>
                <c:pt idx="4">
                  <c:v>Nicolas</c:v>
                </c:pt>
              </c:strCache>
            </c:strRef>
          </c:cat>
          <c:val>
            <c:numRef>
              <c:f>Sheet1!$B$2:$B$6</c:f>
              <c:numCache>
                <c:formatCode>General</c:formatCode>
                <c:ptCount val="5"/>
                <c:pt idx="0">
                  <c:v>-0.12199605163786909</c:v>
                </c:pt>
                <c:pt idx="1">
                  <c:v>-0.330199867957778</c:v>
                </c:pt>
                <c:pt idx="2">
                  <c:v>-0.6080316098256713</c:v>
                </c:pt>
                <c:pt idx="3">
                  <c:v>-0.30256054012478206</c:v>
                </c:pt>
                <c:pt idx="4">
                  <c:v>1.323852276183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4</c:v>
                </c:pt>
                <c:pt idx="1">
                  <c:v>0.42</c:v>
                </c:pt>
                <c:pt idx="2">
                  <c:v>0.04</c:v>
                </c:pt>
                <c:pt idx="3">
                  <c:v>0.38</c:v>
                </c:pt>
                <c:pt idx="4">
                  <c:v>0.39</c:v>
                </c:pt>
                <c:pt idx="5">
                  <c:v>0.19</c:v>
                </c:pt>
                <c:pt idx="6">
                  <c:v>0.71</c:v>
                </c:pt>
                <c:pt idx="7">
                  <c:v>0.68</c:v>
                </c:pt>
                <c:pt idx="8">
                  <c:v>0.52</c:v>
                </c:pt>
                <c:pt idx="9">
                  <c:v>0.42</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6</c:v>
                </c:pt>
                <c:pt idx="1">
                  <c:v>0.5800000000000001</c:v>
                </c:pt>
                <c:pt idx="2">
                  <c:v>0.96</c:v>
                </c:pt>
                <c:pt idx="3">
                  <c:v>0.62</c:v>
                </c:pt>
                <c:pt idx="4">
                  <c:v>0.61</c:v>
                </c:pt>
                <c:pt idx="5">
                  <c:v>0.81</c:v>
                </c:pt>
                <c:pt idx="6">
                  <c:v>0.29000000000000004</c:v>
                </c:pt>
                <c:pt idx="7">
                  <c:v>0.31999999999999995</c:v>
                </c:pt>
                <c:pt idx="8">
                  <c:v>0.48</c:v>
                </c:pt>
                <c:pt idx="9">
                  <c:v>0.58000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3</c:v>
                </c:pt>
                <c:pt idx="1">
                  <c:v>0.02</c:v>
                </c:pt>
                <c:pt idx="3">
                  <c:v>0.06</c:v>
                </c:pt>
                <c:pt idx="7">
                  <c:v>0.4</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7</c:v>
                </c:pt>
                <c:pt idx="1">
                  <c:v>0.98</c:v>
                </c:pt>
                <c:pt idx="3">
                  <c:v>0.94</c:v>
                </c:pt>
                <c:pt idx="7">
                  <c:v>0.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3</c:v>
                </c:pt>
                <c:pt idx="1">
                  <c:v>0.02</c:v>
                </c:pt>
                <c:pt idx="2">
                  <c:v>0.24</c:v>
                </c:pt>
                <c:pt idx="3">
                  <c:v>0.31</c:v>
                </c:pt>
                <c:pt idx="4">
                  <c:v>0.61</c:v>
                </c:pt>
                <c:pt idx="5">
                  <c:v>0.03</c:v>
                </c:pt>
                <c:pt idx="6">
                  <c:v>0.1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7</c:v>
                </c:pt>
                <c:pt idx="1">
                  <c:v>0.98</c:v>
                </c:pt>
                <c:pt idx="2">
                  <c:v>0.76</c:v>
                </c:pt>
                <c:pt idx="3">
                  <c:v>0.69</c:v>
                </c:pt>
                <c:pt idx="4">
                  <c:v>0.39</c:v>
                </c:pt>
                <c:pt idx="5">
                  <c:v>0.97</c:v>
                </c:pt>
                <c:pt idx="6">
                  <c:v>0.89</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7</c:v>
                </c:pt>
                <c:pt idx="1">
                  <c:v>0.06</c:v>
                </c:pt>
                <c:pt idx="2">
                  <c:v>0.26</c:v>
                </c:pt>
                <c:pt idx="3">
                  <c:v>0.27</c:v>
                </c:pt>
                <c:pt idx="4">
                  <c:v>0.51</c:v>
                </c:pt>
                <c:pt idx="5">
                  <c:v>0.12</c:v>
                </c:pt>
                <c:pt idx="6">
                  <c:v>0.16</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3</c:v>
                </c:pt>
                <c:pt idx="1">
                  <c:v>0.94</c:v>
                </c:pt>
                <c:pt idx="2">
                  <c:v>0.74</c:v>
                </c:pt>
                <c:pt idx="3">
                  <c:v>0.73</c:v>
                </c:pt>
                <c:pt idx="4">
                  <c:v>0.49</c:v>
                </c:pt>
                <c:pt idx="5">
                  <c:v>0.88</c:v>
                </c:pt>
                <c:pt idx="6">
                  <c:v>0.84</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pt idx="0">
                  <c:v>0.27</c:v>
                </c:pt>
                <c:pt idx="1">
                  <c:v>0.06</c:v>
                </c:pt>
                <c:pt idx="2">
                  <c:v>0.26</c:v>
                </c:pt>
                <c:pt idx="3">
                  <c:v>0.27</c:v>
                </c:pt>
                <c:pt idx="4">
                  <c:v>0.51</c:v>
                </c:pt>
                <c:pt idx="5">
                  <c:v>0.12</c:v>
                </c:pt>
                <c:pt idx="6">
                  <c:v>0.16</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pt idx="0">
                  <c:v>0.73</c:v>
                </c:pt>
                <c:pt idx="1">
                  <c:v>0.94</c:v>
                </c:pt>
                <c:pt idx="2">
                  <c:v>0.74</c:v>
                </c:pt>
                <c:pt idx="3">
                  <c:v>0.73</c:v>
                </c:pt>
                <c:pt idx="4">
                  <c:v>0.49</c:v>
                </c:pt>
                <c:pt idx="5">
                  <c:v>0.88</c:v>
                </c:pt>
                <c:pt idx="6">
                  <c:v>0.84</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B$2:$B$8</c:f>
              <c:numCache>
                <c:formatCode>General</c:formatCode>
                <c:ptCount val="7"/>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7"/>
                <c:pt idx="0">
                  <c:v>Mousseux Total</c:v>
                </c:pt>
                <c:pt idx="1">
                  <c:v>Mousseux Autres</c:v>
                </c:pt>
                <c:pt idx="2">
                  <c:v>Mousseux Val De Loire</c:v>
                </c:pt>
                <c:pt idx="3">
                  <c:v>Mousseux Italiens</c:v>
                </c:pt>
                <c:pt idx="4">
                  <c:v>Mousseux Bourgogne</c:v>
                </c:pt>
                <c:pt idx="5">
                  <c:v>Mousseux Alsace</c:v>
                </c:pt>
                <c:pt idx="6">
                  <c:v>Mousseux Bordelais</c:v>
                </c:pt>
              </c:strCache>
            </c:strRef>
          </c:cat>
          <c:val>
            <c:numRef>
              <c:f>Sheet1!$C$2:$C$8</c:f>
              <c:numCache>
                <c:formatCode>General</c:formatCode>
                <c:ptCount val="7"/>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3</c:v>
                </c:pt>
                <c:pt idx="1">
                  <c:v>0.42</c:v>
                </c:pt>
                <c:pt idx="2">
                  <c:v>0.05</c:v>
                </c:pt>
                <c:pt idx="3">
                  <c:v>0.38</c:v>
                </c:pt>
                <c:pt idx="4">
                  <c:v>0.37</c:v>
                </c:pt>
                <c:pt idx="5">
                  <c:v>0.16</c:v>
                </c:pt>
                <c:pt idx="6">
                  <c:v>0.71</c:v>
                </c:pt>
                <c:pt idx="7">
                  <c:v>0.68</c:v>
                </c:pt>
                <c:pt idx="8">
                  <c:v>0.53</c:v>
                </c:pt>
                <c:pt idx="9">
                  <c:v>0.38</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700000000000001</c:v>
                </c:pt>
                <c:pt idx="1">
                  <c:v>0.5800000000000001</c:v>
                </c:pt>
                <c:pt idx="2">
                  <c:v>0.95</c:v>
                </c:pt>
                <c:pt idx="3">
                  <c:v>0.62</c:v>
                </c:pt>
                <c:pt idx="4">
                  <c:v>0.63</c:v>
                </c:pt>
                <c:pt idx="5">
                  <c:v>0.84</c:v>
                </c:pt>
                <c:pt idx="6">
                  <c:v>0.29000000000000004</c:v>
                </c:pt>
                <c:pt idx="7">
                  <c:v>0.31999999999999995</c:v>
                </c:pt>
                <c:pt idx="8">
                  <c:v>0.47</c:v>
                </c:pt>
                <c:pt idx="9">
                  <c:v>0.6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3</c:v>
                </c:pt>
                <c:pt idx="1">
                  <c:v>0.02</c:v>
                </c:pt>
                <c:pt idx="3">
                  <c:v>0.06</c:v>
                </c:pt>
                <c:pt idx="7">
                  <c:v>0.39</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7</c:v>
                </c:pt>
                <c:pt idx="1">
                  <c:v>0.98</c:v>
                </c:pt>
                <c:pt idx="3">
                  <c:v>0.94</c:v>
                </c:pt>
                <c:pt idx="7">
                  <c:v>0.61</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41</c:v>
                </c:pt>
                <c:pt idx="1">
                  <c:v>0.42</c:v>
                </c:pt>
                <c:pt idx="2">
                  <c:v>0.22</c:v>
                </c:pt>
                <c:pt idx="3">
                  <c:v>0.36</c:v>
                </c:pt>
                <c:pt idx="4">
                  <c:v>0.29</c:v>
                </c:pt>
                <c:pt idx="5">
                  <c:v>0.1</c:v>
                </c:pt>
                <c:pt idx="6">
                  <c:v>0.73</c:v>
                </c:pt>
                <c:pt idx="7">
                  <c:v>0.69</c:v>
                </c:pt>
                <c:pt idx="8">
                  <c:v>0.49</c:v>
                </c:pt>
                <c:pt idx="9">
                  <c:v>0.34</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5900000000000001</c:v>
                </c:pt>
                <c:pt idx="1">
                  <c:v>0.5800000000000001</c:v>
                </c:pt>
                <c:pt idx="2">
                  <c:v>0.78</c:v>
                </c:pt>
                <c:pt idx="3">
                  <c:v>0.64</c:v>
                </c:pt>
                <c:pt idx="4">
                  <c:v>0.71</c:v>
                </c:pt>
                <c:pt idx="5">
                  <c:v>0.9</c:v>
                </c:pt>
                <c:pt idx="6">
                  <c:v>0.27</c:v>
                </c:pt>
                <c:pt idx="7">
                  <c:v>0.31000000000000005</c:v>
                </c:pt>
                <c:pt idx="8">
                  <c:v>0.51</c:v>
                </c:pt>
                <c:pt idx="9">
                  <c:v>0.6599999999999999</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B$2:$B$11</c:f>
              <c:numCache>
                <c:formatCode>General</c:formatCode>
                <c:ptCount val="10"/>
                <c:pt idx="0">
                  <c:v>0.02</c:v>
                </c:pt>
                <c:pt idx="1">
                  <c:v>0.01</c:v>
                </c:pt>
                <c:pt idx="3">
                  <c:v>0.04</c:v>
                </c:pt>
                <c:pt idx="7">
                  <c:v>0.34</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1</c:f>
              <c:strCache>
                <c:ptCount val="10"/>
                <c:pt idx="0">
                  <c:v>Champagnes Total</c:v>
                </c:pt>
                <c:pt idx="1">
                  <c:v>Bruts</c:v>
                </c:pt>
                <c:pt idx="2">
                  <c:v>Demi-Secs</c:v>
                </c:pt>
                <c:pt idx="3">
                  <c:v>Rosés</c:v>
                </c:pt>
                <c:pt idx="4">
                  <c:v>Millesimes</c:v>
                </c:pt>
                <c:pt idx="5">
                  <c:v>Blanc De Blancs</c:v>
                </c:pt>
                <c:pt idx="6">
                  <c:v>Extra Brut</c:v>
                </c:pt>
                <c:pt idx="7">
                  <c:v>Crus</c:v>
                </c:pt>
                <c:pt idx="8">
                  <c:v>Blanc De Noirs</c:v>
                </c:pt>
                <c:pt idx="9">
                  <c:v>Brut Nature</c:v>
                </c:pt>
              </c:strCache>
            </c:strRef>
          </c:cat>
          <c:val>
            <c:numRef>
              <c:f>Sheet1!$C$2:$C$11</c:f>
              <c:numCache>
                <c:formatCode>General</c:formatCode>
                <c:ptCount val="10"/>
                <c:pt idx="0">
                  <c:v>0.98</c:v>
                </c:pt>
                <c:pt idx="1">
                  <c:v>0.99</c:v>
                </c:pt>
                <c:pt idx="3">
                  <c:v>0.96</c:v>
                </c:pt>
                <c:pt idx="7">
                  <c:v>0.659999999999999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pt idx="0">
                  <c:v>0.03</c:v>
                </c:pt>
                <c:pt idx="1">
                  <c:v>0.03</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pt idx="0">
                  <c:v>0.97</c:v>
                </c:pt>
                <c:pt idx="1">
                  <c:v>0.97</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Effervescents Sans Alcool Total</c:v>
                </c:pt>
                <c:pt idx="1">
                  <c:v>Effervescents Sans Alcool</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olors10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0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9/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4.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2.xml"/></Relationships>
</file>

<file path=ppt/notesSlides/_rels/notesSlide10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7.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8.xml"/></Relationships>
</file>

<file path=ppt/notesSlides/_rels/notesSlide10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6.xml"/></Relationships>
</file>

<file path=ppt/notesSlides/_rels/notesSlide10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3.xml"/></Relationships>
</file>

<file path=ppt/notesSlides/_rels/notesSlide10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5.xml"/></Relationships>
</file>

<file path=ppt/notesSlides/_rels/notesSlide10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9.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1.xml"/></Relationships>
</file>

<file path=ppt/notesSlides/_rels/notesSlide10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7.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1.xml"/></Relationships>
</file>

<file path=ppt/notesSlides/_rels/notesSlide10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2.xml"/></Relationships>
</file>

<file path=ppt/notesSlides/_rels/notesSlide10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4.xml"/></Relationships>
</file>

<file path=ppt/notesSlides/_rels/notesSlide10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8.xml"/></Relationships>
</file>

<file path=ppt/notesSlides/_rels/notesSlide10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0.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6.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5.xml"/></Relationships>
</file>

<file path=ppt/notesSlides/_rels/notesSlide10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4.xml"/></Relationships>
</file>

<file path=ppt/notesSlides/_rels/notesSlide1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0.xml"/></Relationships>
</file>

<file path=ppt/notesSlides/_rels/notesSlide1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2.xml"/></Relationships>
</file>

<file path=ppt/notesSlides/_rels/notesSlide1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6.xml"/></Relationships>
</file>

<file path=ppt/notesSlides/_rels/notesSlide1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8.xml"/></Relationships>
</file>

<file path=ppt/notesSlides/_rels/notesSlide1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5.xml"/></Relationships>
</file>

<file path=ppt/notesSlides/_rels/notesSlide1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4.xml"/></Relationships>
</file>

<file path=ppt/notesSlides/_rels/notesSlide1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0.xml"/></Relationships>
</file>

<file path=ppt/notesSlides/_rels/notesSlide1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2.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9.xml"/></Relationships>
</file>

<file path=ppt/notesSlides/_rels/notesSlide1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1.xml"/></Relationships>
</file>

<file path=ppt/notesSlides/_rels/notesSlide1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7.xml"/></Relationships>
</file>

<file path=ppt/notesSlides/_rels/notesSlide1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1.xml"/></Relationships>
</file>

<file path=ppt/notesSlides/_rels/notesSlide1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2.xml"/></Relationships>
</file>

<file path=ppt/notesSlides/_rels/notesSlide1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4.xml"/></Relationships>
</file>

<file path=ppt/notesSlides/_rels/notesSlide1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8.xml"/></Relationships>
</file>

<file path=ppt/notesSlides/_rels/notesSlide1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0.xml"/></Relationships>
</file>

<file path=ppt/notesSlides/_rels/notesSlide1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6.xml"/></Relationships>
</file>

<file path=ppt/notesSlides/_rels/notesSlide1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3.xml"/></Relationships>
</file>

<file path=ppt/notesSlides/_rels/notesSlide1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5.xml"/></Relationships>
</file>

<file path=ppt/notesSlides/_rels/notesSlide1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1.xml"/></Relationships>
</file>

<file path=ppt/notesSlides/_rels/notesSlide1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7.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9.xml"/></Relationships>
</file>

<file path=ppt/notesSlides/_rels/notesSlide1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2.xml"/></Relationships>
</file>

<file path=ppt/notesSlides/_rels/notesSlide1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4.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0.xml"/></Relationships>
</file>

<file path=ppt/notesSlides/_rels/notesSlide1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6.xml"/></Relationships>
</file>

<file path=ppt/notesSlides/_rels/notesSlide1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8.xml"/></Relationships>
</file>

<file path=ppt/notesSlides/_rels/notesSlide1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4.xml"/></Relationships>
</file>

<file path=ppt/notesSlides/_rels/notesSlide1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5.xml"/></Relationships>
</file>

<file path=ppt/notesSlides/_rels/notesSlide1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7.xml"/></Relationships>
</file>

<file path=ppt/notesSlides/_rels/notesSlide1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4.xml"/></Relationships>
</file>

<file path=ppt/notesSlides/_rels/notesSlide1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0.xml"/></Relationships>
</file>

<file path=ppt/notesSlides/_rels/notesSlide1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2.xml"/></Relationships>
</file>

<file path=ppt/notesSlides/_rels/notesSlide1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7.xml"/></Relationships>
</file>

<file path=ppt/notesSlides/_rels/notesSlide1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8.xml"/></Relationships>
</file>

<file path=ppt/notesSlides/_rels/notesSlide1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6.xml"/></Relationships>
</file>

<file path=ppt/notesSlides/_rels/notesSlide1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3.xml"/></Relationships>
</file>

<file path=ppt/notesSlides/_rels/notesSlide1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5.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9.xml"/></Relationships>
</file>

<file path=ppt/notesSlides/_rels/notesSlide1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1.xml"/></Relationships>
</file>

<file path=ppt/notesSlides/_rels/notesSlide1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7.xml"/></Relationships>
</file>

<file path=ppt/notesSlides/_rels/notesSlide1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1.xml"/></Relationships>
</file>

<file path=ppt/notesSlides/_rels/notesSlide1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2.xml"/></Relationships>
</file>

<file path=ppt/notesSlides/_rels/notesSlide1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4.xml"/></Relationships>
</file>

<file path=ppt/notesSlides/_rels/notesSlide1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8.xml"/></Relationships>
</file>

<file path=ppt/notesSlides/_rels/notesSlide1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0.xml"/></Relationships>
</file>

<file path=ppt/notesSlides/_rels/notesSlide1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6.xml"/></Relationships>
</file>

<file path=ppt/notesSlides/_rels/notesSlide1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3.xml"/></Relationships>
</file>

<file path=ppt/notesSlides/_rels/notesSlide1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5.xml"/></Relationships>
</file>

<file path=ppt/notesSlides/_rels/notesSlide1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1.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6.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7.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2.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8.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0.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1.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0.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5.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9.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4.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3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7.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8.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3.xml"/></Relationships>
</file>

<file path=ppt/notesSlides/_rels/notesSlide4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4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6.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7.xml"/></Relationships>
</file>

<file path=ppt/notesSlides/_rels/notesSlide4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6.xml"/></Relationships>
</file>

<file path=ppt/notesSlides/_rels/notesSlide4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5.xml"/></Relationships>
</file>

<file path=ppt/notesSlides/_rels/notesSlide4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1.xml"/></Relationships>
</file>

<file path=ppt/notesSlides/_rels/notesSlide4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4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4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0.xml"/></Relationships>
</file>

<file path=ppt/notesSlides/_rels/notesSlide4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4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4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7.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4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5.xml"/></Relationships>
</file>

<file path=ppt/notesSlides/_rels/notesSlide4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2.xml"/></Relationships>
</file>

<file path=ppt/notesSlides/_rels/notesSlide4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9.xml"/></Relationships>
</file>

<file path=ppt/notesSlides/_rels/notesSlide4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4.xml"/></Relationships>
</file>

<file path=ppt/notesSlides/_rels/notesSlide5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7.xml"/></Relationships>
</file>

<file path=ppt/notesSlides/_rels/notesSlide5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8.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3.xml"/></Relationships>
</file>

<file path=ppt/notesSlides/_rels/notesSlide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5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6.xml"/></Relationships>
</file>

<file path=ppt/notesSlides/_rels/notesSlide5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2.xml"/></Relationships>
</file>

<file path=ppt/notesSlides/_rels/notesSlide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1.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2.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5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6.xml"/></Relationships>
</file>

<file path=ppt/notesSlides/_rels/notesSlide6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5.xml"/></Relationships>
</file>

<file path=ppt/notesSlides/_rels/notesSlide6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1.xml"/></Relationships>
</file>

<file path=ppt/notesSlides/_rels/notesSlide6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6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7.xml"/></Relationships>
</file>

<file path=ppt/notesSlides/_rels/notesSlide6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8.xml"/></Relationships>
</file>

<file path=ppt/notesSlides/_rels/notesSlide6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6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6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3.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6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9.xml"/></Relationships>
</file>

<file path=ppt/notesSlides/_rels/notesSlide6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6.xml"/></Relationships>
</file>

<file path=ppt/notesSlides/_rels/notesSlide6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6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2.xml"/></Relationships>
</file>

<file path=ppt/notesSlides/_rels/notesSlide6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6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8.xml"/></Relationships>
</file>

<file path=ppt/notesSlides/_rels/notesSlide6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0.xml"/></Relationships>
</file>

<file path=ppt/notesSlides/_rels/notesSlide6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6.xml"/></Relationships>
</file>

<file path=ppt/notesSlides/_rels/notesSlide6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5.xml"/></Relationships>
</file>

<file path=ppt/notesSlides/_rels/notesSlide7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0.xml"/></Relationships>
</file>

<file path=ppt/notesSlides/_rels/notesSlide7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1.xml"/></Relationships>
</file>

<file path=ppt/notesSlides/_rels/notesSlide7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3.xml"/></Relationships>
</file>

<file path=ppt/notesSlides/_rels/notesSlide7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7.xml"/></Relationships>
</file>

<file path=ppt/notesSlides/_rels/notesSlide7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9.xml"/></Relationships>
</file>

<file path=ppt/notesSlides/_rels/notesSlide7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2.xml"/></Relationships>
</file>

<file path=ppt/notesSlides/_rels/notesSlide7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4.xml"/></Relationships>
</file>

<file path=ppt/notesSlides/_rels/notesSlide7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3.xml"/></Relationships>
</file>

<file path=ppt/notesSlides/_rels/notesSlide7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9.xml"/></Relationships>
</file>

<file path=ppt/notesSlides/_rels/notesSlide7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1.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7.xml"/></Relationships>
</file>

<file path=ppt/notesSlides/_rels/notesSlide7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4.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2.xml"/></Relationships>
</file>

<file path=ppt/notesSlides/_rels/notesSlide7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7.xml"/></Relationships>
</file>

<file path=ppt/notesSlides/_rels/notesSlide7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8.xml"/></Relationships>
</file>

<file path=ppt/notesSlides/_rels/notesSlide7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0.xml"/></Relationships>
</file>

<file path=ppt/notesSlides/_rels/notesSlide7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6.xml"/></Relationships>
</file>

<file path=ppt/notesSlides/_rels/notesSlide7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3.xml"/></Relationships>
</file>

<file path=ppt/notesSlides/_rels/notesSlide7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5.xml"/></Relationships>
</file>

<file path=ppt/notesSlides/_rels/notesSlide7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9.xml"/></Relationships>
</file>

<file path=ppt/notesSlides/_rels/notesSlide7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6.xml"/></Relationships>
</file>

<file path=ppt/notesSlides/_rels/notesSlide8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7.xml"/></Relationships>
</file>

<file path=ppt/notesSlides/_rels/notesSlide8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7.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1.xml"/></Relationships>
</file>

<file path=ppt/notesSlides/_rels/notesSlide8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2.xml"/></Relationships>
</file>

<file path=ppt/notesSlides/_rels/notesSlide8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4.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8.xml"/></Relationships>
</file>

<file path=ppt/notesSlides/_rels/notesSlide8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0.xml"/></Relationships>
</file>

<file path=ppt/notesSlides/_rels/notesSlide8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6.xml"/></Relationships>
</file>

<file path=ppt/notesSlides/_rels/notesSlide8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5.xml"/></Relationships>
</file>

<file path=ppt/notesSlides/_rels/notesSlide8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0.xml"/></Relationships>
</file>

<file path=ppt/notesSlides/_rels/notesSlide8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1.xml"/></Relationships>
</file>

<file path=ppt/notesSlides/_rels/notesSlide8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7.xml"/></Relationships>
</file>

<file path=ppt/notesSlides/_rels/notesSlide8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9.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2.xml"/></Relationships>
</file>

<file path=ppt/notesSlides/_rels/notesSlide8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4.xml"/></Relationships>
</file>

<file path=ppt/notesSlides/_rels/notesSlide8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0.xml"/></Relationships>
</file>

<file path=ppt/notesSlides/_rels/notesSlide8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6.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8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3.xml"/></Relationships>
</file>

<file path=ppt/notesSlides/_rels/notesSlide8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5.xml"/></Relationships>
</file>

<file path=ppt/notesSlides/_rels/notesSlide9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9.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1.xml"/></Relationships>
</file>

<file path=ppt/notesSlides/_rels/notesSlide9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7.xml"/></Relationships>
</file>

<file path=ppt/notesSlides/_rels/notesSlide9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1.xml"/></Relationships>
</file>

<file path=ppt/notesSlides/_rels/notesSlide9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2.xml"/></Relationships>
</file>

<file path=ppt/notesSlides/_rels/notesSlide9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4.xml"/></Relationships>
</file>

<file path=ppt/notesSlides/_rels/notesSlide9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8.xml"/></Relationships>
</file>

<file path=ppt/notesSlides/_rels/notesSlide9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0.xml"/></Relationships>
</file>

<file path=ppt/notesSlides/_rels/notesSlide9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6.xml"/></Relationships>
</file>

<file path=ppt/notesSlides/_rels/notesSlide9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5.xml"/></Relationships>
</file>

<file path=ppt/notesSlides/_rels/notesSlide9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0.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1.xml"/></Relationships>
</file>

<file path=ppt/notesSlides/_rels/notesSlide9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7.xml"/></Relationships>
</file>

<file path=ppt/notesSlides/_rels/notesSlide9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9.xml"/></Relationships>
</file>

<file path=ppt/notesSlides/_rels/notesSlide9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2.xml"/></Relationships>
</file>

<file path=ppt/notesSlides/_rels/notesSlide9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4.xml"/></Relationships>
</file>

<file path=ppt/notesSlides/_rels/notesSlide9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0.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9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8.xml"/></Relationships>
</file>

<file path=ppt/notesSlides/_rels/notesSlide9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9.xml"/></Relationships>
</file>

<file path=ppt/notesSlides/_rels/notesSlide9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1.xml"/></Relationships>
</file>

<file path=ppt/notesSlides/_rels/notesSlide9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1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4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4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8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9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0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9/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s>
</file>

<file path=ppt/slides/_rels/slide1005.xml.rels><?xml version='1.0' encoding='UTF-8' standalone='yes'?>
<Relationships xmlns="http://schemas.openxmlformats.org/package/2006/relationships"><Relationship Id="rId1" Type="http://schemas.openxmlformats.org/officeDocument/2006/relationships/tags" Target="../tags/tag1032.xml"/><Relationship Id="rId2" Type="http://schemas.openxmlformats.org/officeDocument/2006/relationships/slideLayout" Target="../slideLayouts/slideLayout7.xml"/><Relationship Id="rId3" Type="http://schemas.openxmlformats.org/officeDocument/2006/relationships/notesSlide" Target="../notesSlides/notesSlide4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2.xml"/><Relationship Id="rId7" Type="http://schemas.openxmlformats.org/officeDocument/2006/relationships/chart" Target="../charts/chart883.xml"/></Relationships>
</file>

<file path=ppt/slides/_rels/slide1012.xml.rels><?xml version='1.0' encoding='UTF-8' standalone='yes'?>
<Relationships xmlns="http://schemas.openxmlformats.org/package/2006/relationships"><Relationship Id="rId1" Type="http://schemas.openxmlformats.org/officeDocument/2006/relationships/tags" Target="../tags/tag1039.xml"/><Relationship Id="rId2" Type="http://schemas.openxmlformats.org/officeDocument/2006/relationships/slideLayout" Target="../slideLayouts/slideLayout7.xml"/><Relationship Id="rId3" Type="http://schemas.openxmlformats.org/officeDocument/2006/relationships/notesSlide" Target="../notesSlides/notesSlide4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6.xml"/><Relationship Id="rId7" Type="http://schemas.openxmlformats.org/officeDocument/2006/relationships/chart" Target="../charts/chart897.xml"/></Relationships>
</file>

<file path=ppt/slides/_rels/slide1013.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notesSlide" Target="../notesSlides/notesSlide4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8.xml"/><Relationship Id="rId7" Type="http://schemas.openxmlformats.org/officeDocument/2006/relationships/chart" Target="../charts/chart899.xml"/></Relationships>
</file>

<file path=ppt/slides/_rels/slide1019.xml.rels><?xml version='1.0' encoding='UTF-8' standalone='yes'?>
<Relationships xmlns="http://schemas.openxmlformats.org/package/2006/relationships"><Relationship Id="rId1" Type="http://schemas.openxmlformats.org/officeDocument/2006/relationships/tags" Target="../tags/tag1046.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0.xml"/><Relationship Id="rId7" Type="http://schemas.openxmlformats.org/officeDocument/2006/relationships/chart" Target="../charts/chart911.xml"/></Relationships>
</file>

<file path=ppt/slides/_rels/slide1021.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notesSlide" Target="../notesSlides/notesSlide4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4.xml"/><Relationship Id="rId7" Type="http://schemas.openxmlformats.org/officeDocument/2006/relationships/chart" Target="../charts/chart915.xml"/></Relationships>
</file>

<file path=ppt/slides/_rels/slide1027.xml.rels><?xml version='1.0' encoding='UTF-8' standalone='yes'?>
<Relationships xmlns="http://schemas.openxmlformats.org/package/2006/relationships"><Relationship Id="rId1" Type="http://schemas.openxmlformats.org/officeDocument/2006/relationships/tags" Target="../tags/tag1054.xml"/><Relationship Id="rId2" Type="http://schemas.openxmlformats.org/officeDocument/2006/relationships/slideLayout" Target="../slideLayouts/slideLayout7.xml"/><Relationship Id="rId3" Type="http://schemas.openxmlformats.org/officeDocument/2006/relationships/notesSlide" Target="../notesSlides/notesSlide5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6.xml"/><Relationship Id="rId7" Type="http://schemas.openxmlformats.org/officeDocument/2006/relationships/chart" Target="../charts/chart927.xml"/></Relationships>
</file>

<file path=ppt/slides/_rels/slide1034.xml.rels><?xml version='1.0' encoding='UTF-8' standalone='yes'?>
<Relationships xmlns="http://schemas.openxmlformats.org/package/2006/relationships"><Relationship Id="rId1" Type="http://schemas.openxmlformats.org/officeDocument/2006/relationships/tags" Target="../tags/tag1061.xml"/><Relationship Id="rId2" Type="http://schemas.openxmlformats.org/officeDocument/2006/relationships/slideLayout" Target="../slideLayouts/slideLayout7.xml"/><Relationship Id="rId3" Type="http://schemas.openxmlformats.org/officeDocument/2006/relationships/notesSlide" Target="../notesSlides/notesSlide5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0.xml"/><Relationship Id="rId7" Type="http://schemas.openxmlformats.org/officeDocument/2006/relationships/chart" Target="../charts/chart941.xml"/></Relationships>
</file>

<file path=ppt/slides/_rels/slide1042.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notesSlide" Target="../notesSlides/notesSlide5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6.xml"/><Relationship Id="rId7" Type="http://schemas.openxmlformats.org/officeDocument/2006/relationships/chart" Target="../charts/chart957.xml"/></Relationships>
</file>

<file path=ppt/slides/_rels/slide1047.xml.rels><?xml version='1.0' encoding='UTF-8' standalone='yes'?>
<Relationships xmlns="http://schemas.openxmlformats.org/package/2006/relationships"><Relationship Id="rId1" Type="http://schemas.openxmlformats.org/officeDocument/2006/relationships/tags" Target="../tags/tag1074.xml"/><Relationship Id="rId2" Type="http://schemas.openxmlformats.org/officeDocument/2006/relationships/slideLayout" Target="../slideLayouts/slideLayout7.xml"/><Relationship Id="rId3" Type="http://schemas.openxmlformats.org/officeDocument/2006/relationships/notesSlide" Target="../notesSlides/notesSlide5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6.xml"/><Relationship Id="rId7" Type="http://schemas.openxmlformats.org/officeDocument/2006/relationships/chart" Target="../charts/chart967.xml"/></Relationships>
</file>

<file path=ppt/slides/_rels/slide1048.xml.rels><?xml version='1.0' encoding='UTF-8' standalone='yes'?>
<Relationships xmlns="http://schemas.openxmlformats.org/package/2006/relationships"><Relationship Id="rId1" Type="http://schemas.openxmlformats.org/officeDocument/2006/relationships/tags" Target="../tags/tag1075.xml"/><Relationship Id="rId2" Type="http://schemas.openxmlformats.org/officeDocument/2006/relationships/slideLayout" Target="../slideLayouts/slideLayout7.xml"/><Relationship Id="rId3" Type="http://schemas.openxmlformats.org/officeDocument/2006/relationships/notesSlide" Target="../notesSlides/notesSlide5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8.xml"/><Relationship Id="rId7" Type="http://schemas.openxmlformats.org/officeDocument/2006/relationships/chart" Target="../charts/chart969.xml"/></Relationships>
</file>

<file path=ppt/slides/_rels/slide1050.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notesSlide" Target="../notesSlides/notesSlide5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2.xml"/><Relationship Id="rId7" Type="http://schemas.openxmlformats.org/officeDocument/2006/relationships/chart" Target="../charts/chart973.xml"/></Relationships>
</file>

<file path=ppt/slides/_rels/slide1056.xml.rels><?xml version='1.0' encoding='UTF-8' standalone='yes'?>
<Relationships xmlns="http://schemas.openxmlformats.org/package/2006/relationships"><Relationship Id="rId1" Type="http://schemas.openxmlformats.org/officeDocument/2006/relationships/tags" Target="../tags/tag1083.xml"/><Relationship Id="rId2" Type="http://schemas.openxmlformats.org/officeDocument/2006/relationships/slideLayout" Target="../slideLayouts/slideLayout7.xml"/><Relationship Id="rId3" Type="http://schemas.openxmlformats.org/officeDocument/2006/relationships/notesSlide" Target="../notesSlides/notesSlide5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4.xml"/><Relationship Id="rId7" Type="http://schemas.openxmlformats.org/officeDocument/2006/relationships/chart" Target="../charts/chart98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 Id="rId7" Type="http://schemas.openxmlformats.org/officeDocument/2006/relationships/chart" Target="../charts/chart212.xml"/></Relationships>
</file>

<file path=ppt/slides/_rels/slide1063.xml.rels><?xml version='1.0' encoding='UTF-8' standalone='yes'?>
<Relationships xmlns="http://schemas.openxmlformats.org/package/2006/relationships"><Relationship Id="rId1" Type="http://schemas.openxmlformats.org/officeDocument/2006/relationships/tags" Target="../tags/tag1090.xml"/><Relationship Id="rId2" Type="http://schemas.openxmlformats.org/officeDocument/2006/relationships/slideLayout" Target="../slideLayouts/slideLayout7.xml"/><Relationship Id="rId3" Type="http://schemas.openxmlformats.org/officeDocument/2006/relationships/notesSlide" Target="../notesSlides/notesSlide5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8.xml"/><Relationship Id="rId7" Type="http://schemas.openxmlformats.org/officeDocument/2006/relationships/chart" Target="../charts/chart999.xml"/></Relationships>
</file>

<file path=ppt/slides/_rels/slide1065.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notesSlide" Target="../notesSlides/notesSlide5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2.xml"/><Relationship Id="rId7" Type="http://schemas.openxmlformats.org/officeDocument/2006/relationships/chart" Target="../charts/chart1003.xml"/></Relationships>
</file>

<file path=ppt/slides/_rels/slide1071.xml.rels><?xml version='1.0' encoding='UTF-8' standalone='yes'?>
<Relationships xmlns="http://schemas.openxmlformats.org/package/2006/relationships"><Relationship Id="rId1" Type="http://schemas.openxmlformats.org/officeDocument/2006/relationships/tags" Target="../tags/tag1098.xml"/><Relationship Id="rId2" Type="http://schemas.openxmlformats.org/officeDocument/2006/relationships/slideLayout" Target="../slideLayouts/slideLayout7.xml"/><Relationship Id="rId3" Type="http://schemas.openxmlformats.org/officeDocument/2006/relationships/notesSlide" Target="../notesSlides/notesSlide5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4.xml"/><Relationship Id="rId7" Type="http://schemas.openxmlformats.org/officeDocument/2006/relationships/chart" Target="../charts/chart1015.xml"/></Relationships>
</file>

<file path=ppt/slides/_rels/slide1076.xml.rels><?xml version='1.0' encoding='UTF-8' standalone='yes'?>
<Relationships xmlns="http://schemas.openxmlformats.org/package/2006/relationships"><Relationship Id="rId1" Type="http://schemas.openxmlformats.org/officeDocument/2006/relationships/tags" Target="../tags/tag1103.xml"/><Relationship Id="rId2" Type="http://schemas.openxmlformats.org/officeDocument/2006/relationships/slideLayout" Target="../slideLayouts/slideLayout7.xml"/><Relationship Id="rId3" Type="http://schemas.openxmlformats.org/officeDocument/2006/relationships/notesSlide" Target="../notesSlides/notesSlide5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4.xml"/><Relationship Id="rId7" Type="http://schemas.openxmlformats.org/officeDocument/2006/relationships/chart" Target="../charts/chart1025.xml"/></Relationships>
</file>

<file path=ppt/slides/_rels/slide1077.xml.rels><?xml version='1.0' encoding='UTF-8' standalone='yes'?>
<Relationships xmlns="http://schemas.openxmlformats.org/package/2006/relationships"><Relationship Id="rId1" Type="http://schemas.openxmlformats.org/officeDocument/2006/relationships/tags" Target="../tags/tag1104.xml"/><Relationship Id="rId2" Type="http://schemas.openxmlformats.org/officeDocument/2006/relationships/slideLayout" Target="../slideLayouts/slideLayout7.xml"/><Relationship Id="rId3" Type="http://schemas.openxmlformats.org/officeDocument/2006/relationships/notesSlide" Target="../notesSlides/notesSlide5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6.xml"/><Relationship Id="rId7" Type="http://schemas.openxmlformats.org/officeDocument/2006/relationships/chart" Target="../charts/chart102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 Id="rId7" Type="http://schemas.openxmlformats.org/officeDocument/2006/relationships/chart" Target="../charts/chart216.xml"/></Relationships>
</file>

<file path=ppt/slides/_rels/slide1092.xml.rels><?xml version='1.0' encoding='UTF-8' standalone='yes'?>
<Relationships xmlns="http://schemas.openxmlformats.org/package/2006/relationships"><Relationship Id="rId1" Type="http://schemas.openxmlformats.org/officeDocument/2006/relationships/tags" Target="../tags/tag1119.xml"/><Relationship Id="rId2" Type="http://schemas.openxmlformats.org/officeDocument/2006/relationships/slideLayout" Target="../slideLayouts/slideLayout7.xml"/><Relationship Id="rId3" Type="http://schemas.openxmlformats.org/officeDocument/2006/relationships/notesSlide" Target="../notesSlides/notesSlide5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6.xml"/><Relationship Id="rId7" Type="http://schemas.openxmlformats.org/officeDocument/2006/relationships/chart" Target="../charts/chart1057.xml"/></Relationships>
</file>

<file path=ppt/slides/_rels/slide1094.xml.rels><?xml version='1.0' encoding='UTF-8' standalone='yes'?>
<Relationships xmlns="http://schemas.openxmlformats.org/package/2006/relationships"><Relationship Id="rId1" Type="http://schemas.openxmlformats.org/officeDocument/2006/relationships/tags" Target="../tags/tag1121.xml"/><Relationship Id="rId2" Type="http://schemas.openxmlformats.org/officeDocument/2006/relationships/slideLayout" Target="../slideLayouts/slideLayout7.xml"/><Relationship Id="rId3" Type="http://schemas.openxmlformats.org/officeDocument/2006/relationships/notesSlide" Target="../notesSlides/notesSlide5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0.xml"/><Relationship Id="rId7" Type="http://schemas.openxmlformats.org/officeDocument/2006/relationships/chart" Target="../charts/chart1061.xml"/></Relationships>
</file>

<file path=ppt/slides/_rels/slide1101.xml.rels><?xml version='1.0' encoding='UTF-8' standalone='yes'?>
<Relationships xmlns="http://schemas.openxmlformats.org/package/2006/relationships"><Relationship Id="rId1" Type="http://schemas.openxmlformats.org/officeDocument/2006/relationships/tags" Target="../tags/tag1128.xml"/><Relationship Id="rId2" Type="http://schemas.openxmlformats.org/officeDocument/2006/relationships/slideLayout" Target="../slideLayouts/slideLayout7.xml"/><Relationship Id="rId3" Type="http://schemas.openxmlformats.org/officeDocument/2006/relationships/notesSlide" Target="../notesSlides/notesSlide5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4.xml"/><Relationship Id="rId7" Type="http://schemas.openxmlformats.org/officeDocument/2006/relationships/chart" Target="../charts/chart1075.xml"/></Relationships>
</file>

<file path=ppt/slides/_rels/slide1103.xml.rels><?xml version='1.0' encoding='UTF-8' standalone='yes'?>
<Relationships xmlns="http://schemas.openxmlformats.org/package/2006/relationships"><Relationship Id="rId1" Type="http://schemas.openxmlformats.org/officeDocument/2006/relationships/tags" Target="../tags/tag1130.xml"/><Relationship Id="rId2" Type="http://schemas.openxmlformats.org/officeDocument/2006/relationships/slideLayout" Target="../slideLayouts/slideLayout7.xml"/><Relationship Id="rId3" Type="http://schemas.openxmlformats.org/officeDocument/2006/relationships/notesSlide" Target="../notesSlides/notesSlide5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8.xml"/><Relationship Id="rId7" Type="http://schemas.openxmlformats.org/officeDocument/2006/relationships/chart" Target="../charts/chart1079.xml"/></Relationships>
</file>

<file path=ppt/slides/_rels/slide1109.xml.rels><?xml version='1.0' encoding='UTF-8' standalone='yes'?>
<Relationships xmlns="http://schemas.openxmlformats.org/package/2006/relationships"><Relationship Id="rId1" Type="http://schemas.openxmlformats.org/officeDocument/2006/relationships/tags" Target="../tags/tag1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8.xml"/></Relationships>
</file>

<file path=ppt/slides/_rels/slide1117.xml.rels><?xml version='1.0' encoding='UTF-8' standalone='yes'?>
<Relationships xmlns="http://schemas.openxmlformats.org/package/2006/relationships"><Relationship Id="rId1" Type="http://schemas.openxmlformats.org/officeDocument/2006/relationships/tags" Target="../tags/tag1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6.xml"/></Relationships>
</file>

<file path=ppt/slides/_rels/slide1123.xml.rels><?xml version='1.0' encoding='UTF-8' standalone='yes'?>
<Relationships xmlns="http://schemas.openxmlformats.org/package/2006/relationships"><Relationship Id="rId1" Type="http://schemas.openxmlformats.org/officeDocument/2006/relationships/tags" Target="../tags/tag1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2.xml"/></Relationships>
</file>

<file path=ppt/slides/_rels/slide1124.xml.rels><?xml version='1.0' encoding='UTF-8' standalone='yes'?>
<Relationships xmlns="http://schemas.openxmlformats.org/package/2006/relationships"><Relationship Id="rId1" Type="http://schemas.openxmlformats.org/officeDocument/2006/relationships/tags" Target="../tags/tag1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s>
</file>

<file path=ppt/slides/_rels/slide1130.xml.rels><?xml version='1.0' encoding='UTF-8' standalone='yes'?>
<Relationships xmlns="http://schemas.openxmlformats.org/package/2006/relationships"><Relationship Id="rId1" Type="http://schemas.openxmlformats.org/officeDocument/2006/relationships/tags" Target="../tags/tag1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9.xml"/></Relationships>
</file>

<file path=ppt/slides/_rels/slide1132.xml.rels><?xml version='1.0' encoding='UTF-8' standalone='yes'?>
<Relationships xmlns="http://schemas.openxmlformats.org/package/2006/relationships"><Relationship Id="rId1" Type="http://schemas.openxmlformats.org/officeDocument/2006/relationships/tags" Target="../tags/tag1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1.xml"/></Relationships>
</file>

<file path=ppt/slides/_rels/slide1138.xml.rels><?xml version='1.0' encoding='UTF-8' standalone='yes'?>
<Relationships xmlns="http://schemas.openxmlformats.org/package/2006/relationships"><Relationship Id="rId1" Type="http://schemas.openxmlformats.org/officeDocument/2006/relationships/tags" Target="../tags/tag1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s>
</file>

<file path=ppt/slides/_rels/slide1145.xml.rels><?xml version='1.0' encoding='UTF-8' standalone='yes'?>
<Relationships xmlns="http://schemas.openxmlformats.org/package/2006/relationships"><Relationship Id="rId1" Type="http://schemas.openxmlformats.org/officeDocument/2006/relationships/tags" Target="../tags/tag1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s>
</file>

<file path=ppt/slides/_rels/slide1153.xml.rels><?xml version='1.0' encoding='UTF-8' standalone='yes'?>
<Relationships xmlns="http://schemas.openxmlformats.org/package/2006/relationships"><Relationship Id="rId1" Type="http://schemas.openxmlformats.org/officeDocument/2006/relationships/tags" Target="../tags/tag1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2.xml"/></Relationships>
</file>

<file path=ppt/slides/_rels/slide1159.xml.rels><?xml version='1.0' encoding='UTF-8' standalone='yes'?>
<Relationships xmlns="http://schemas.openxmlformats.org/package/2006/relationships"><Relationship Id="rId1" Type="http://schemas.openxmlformats.org/officeDocument/2006/relationships/tags" Target="../tags/tag1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8.xml"/></Relationships>
</file>

<file path=ppt/slides/_rels/slide1161.xml.rels><?xml version='1.0' encoding='UTF-8' standalone='yes'?>
<Relationships xmlns="http://schemas.openxmlformats.org/package/2006/relationships"><Relationship Id="rId1" Type="http://schemas.openxmlformats.org/officeDocument/2006/relationships/tags" Target="../tags/tag1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0.xml"/></Relationships>
</file>

<file path=ppt/slides/_rels/slide1167.xml.rels><?xml version='1.0' encoding='UTF-8' standalone='yes'?>
<Relationships xmlns="http://schemas.openxmlformats.org/package/2006/relationships"><Relationship Id="rId1" Type="http://schemas.openxmlformats.org/officeDocument/2006/relationships/tags" Target="../tags/tag1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6.xml"/></Relationships>
</file>

<file path=ppt/slides/_rels/slide1174.xml.rels><?xml version='1.0' encoding='UTF-8' standalone='yes'?>
<Relationships xmlns="http://schemas.openxmlformats.org/package/2006/relationships"><Relationship Id="rId1" Type="http://schemas.openxmlformats.org/officeDocument/2006/relationships/tags" Target="../tags/tag1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3.xml"/></Relationships>
</file>

<file path=ppt/slides/_rels/slide1182.xml.rels><?xml version='1.0' encoding='UTF-8' standalone='yes'?>
<Relationships xmlns="http://schemas.openxmlformats.org/package/2006/relationships"><Relationship Id="rId1" Type="http://schemas.openxmlformats.org/officeDocument/2006/relationships/tags" Target="../tags/tag1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s>
</file>

<file path=ppt/slides/_rels/slide1187.xml.rels><?xml version='1.0' encoding='UTF-8' standalone='yes'?>
<Relationships xmlns="http://schemas.openxmlformats.org/package/2006/relationships"><Relationship Id="rId1" Type="http://schemas.openxmlformats.org/officeDocument/2006/relationships/tags" Target="../tags/tag1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6.xml"/></Relationships>
</file>

<file path=ppt/slides/_rels/slide1188.xml.rels><?xml version='1.0' encoding='UTF-8' standalone='yes'?>
<Relationships xmlns="http://schemas.openxmlformats.org/package/2006/relationships"><Relationship Id="rId1" Type="http://schemas.openxmlformats.org/officeDocument/2006/relationships/tags" Target="../tags/tag1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7.xml"/></Relationships>
</file>

<file path=ppt/slides/_rels/slide1190.xml.rels><?xml version='1.0' encoding='UTF-8' standalone='yes'?>
<Relationships xmlns="http://schemas.openxmlformats.org/package/2006/relationships"><Relationship Id="rId1" Type="http://schemas.openxmlformats.org/officeDocument/2006/relationships/tags" Target="../tags/tag1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9.xml"/></Relationships>
</file>

<file path=ppt/slides/_rels/slide1197.xml.rels><?xml version='1.0' encoding='UTF-8' standalone='yes'?>
<Relationships xmlns="http://schemas.openxmlformats.org/package/2006/relationships"><Relationship Id="rId1" Type="http://schemas.openxmlformats.org/officeDocument/2006/relationships/tags" Target="../tags/tag1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6.xml"/></Relationships>
</file>

<file path=ppt/slides/_rels/slide1199.xml.rels><?xml version='1.0' encoding='UTF-8' standalone='yes'?>
<Relationships xmlns="http://schemas.openxmlformats.org/package/2006/relationships"><Relationship Id="rId1" Type="http://schemas.openxmlformats.org/officeDocument/2006/relationships/tags" Target="../tags/tag1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8.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s>
</file>

<file path=ppt/slides/_rels/slide1212.xml.rels><?xml version='1.0' encoding='UTF-8' standalone='yes'?>
<Relationships xmlns="http://schemas.openxmlformats.org/package/2006/relationships"><Relationship Id="rId1" Type="http://schemas.openxmlformats.org/officeDocument/2006/relationships/tags" Target="../tags/tag1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1.xml"/></Relationships>
</file>

<file path=ppt/slides/_rels/slide1214.xml.rels><?xml version='1.0' encoding='UTF-8' standalone='yes'?>
<Relationships xmlns="http://schemas.openxmlformats.org/package/2006/relationships"><Relationship Id="rId1" Type="http://schemas.openxmlformats.org/officeDocument/2006/relationships/tags" Target="../tags/tag1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3.xml"/></Relationships>
</file>

<file path=ppt/slides/_rels/slide1219.xml.rels><?xml version='1.0' encoding='UTF-8' standalone='yes'?>
<Relationships xmlns="http://schemas.openxmlformats.org/package/2006/relationships"><Relationship Id="rId1" Type="http://schemas.openxmlformats.org/officeDocument/2006/relationships/tags" Target="../tags/tag1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8.xml"/></Relationships>
</file>

<file path=ppt/slides/_rels/slide1220.xml.rels><?xml version='1.0' encoding='UTF-8' standalone='yes'?>
<Relationships xmlns="http://schemas.openxmlformats.org/package/2006/relationships"><Relationship Id="rId1" Type="http://schemas.openxmlformats.org/officeDocument/2006/relationships/tags" Target="../tags/tag1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9.xml"/></Relationships>
</file>

<file path=ppt/slides/_rels/slide1226.xml.rels><?xml version='1.0' encoding='UTF-8' standalone='yes'?>
<Relationships xmlns="http://schemas.openxmlformats.org/package/2006/relationships"><Relationship Id="rId1" Type="http://schemas.openxmlformats.org/officeDocument/2006/relationships/tags" Target="../tags/tag1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5.xml"/></Relationships>
</file>

<file path=ppt/slides/_rels/slide1228.xml.rels><?xml version='1.0' encoding='UTF-8' standalone='yes'?>
<Relationships xmlns="http://schemas.openxmlformats.org/package/2006/relationships"><Relationship Id="rId1" Type="http://schemas.openxmlformats.org/officeDocument/2006/relationships/tags" Target="../tags/tag1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7.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 Id="rId7" Type="http://schemas.openxmlformats.org/officeDocument/2006/relationships/chart" Target="../charts/chart246.xml"/></Relationships>
</file>

<file path=ppt/slides/_rels/slide1235.xml.rels><?xml version='1.0' encoding='UTF-8' standalone='yes'?>
<Relationships xmlns="http://schemas.openxmlformats.org/package/2006/relationships"><Relationship Id="rId1" Type="http://schemas.openxmlformats.org/officeDocument/2006/relationships/tags" Target="../tags/tag1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4.xml"/></Relationships>
</file>

<file path=ppt/slides/_rels/slide1241.xml.rels><?xml version='1.0' encoding='UTF-8' standalone='yes'?>
<Relationships xmlns="http://schemas.openxmlformats.org/package/2006/relationships"><Relationship Id="rId1" Type="http://schemas.openxmlformats.org/officeDocument/2006/relationships/tags" Target="../tags/tag1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0.xml"/></Relationships>
</file>

<file path=ppt/slides/_rels/slide1243.xml.rels><?xml version='1.0' encoding='UTF-8' standalone='yes'?>
<Relationships xmlns="http://schemas.openxmlformats.org/package/2006/relationships"><Relationship Id="rId1" Type="http://schemas.openxmlformats.org/officeDocument/2006/relationships/tags" Target="../tags/tag1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2.xml"/></Relationships>
</file>

<file path=ppt/slides/_rels/slide1249.xml.rels><?xml version='1.0' encoding='UTF-8' standalone='yes'?>
<Relationships xmlns="http://schemas.openxmlformats.org/package/2006/relationships"><Relationship Id="rId1" Type="http://schemas.openxmlformats.org/officeDocument/2006/relationships/tags" Target="../tags/tag1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8.xml"/></Relationships>
</file>

<file path=ppt/slides/_rels/slide1257.xml.rels><?xml version='1.0' encoding='UTF-8' standalone='yes'?>
<Relationships xmlns="http://schemas.openxmlformats.org/package/2006/relationships"><Relationship Id="rId1" Type="http://schemas.openxmlformats.org/officeDocument/2006/relationships/tags" Target="../tags/tag1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6.xml"/></Relationships>
</file>

<file path=ppt/slides/_rels/slide1263.xml.rels><?xml version='1.0' encoding='UTF-8' standalone='yes'?>
<Relationships xmlns="http://schemas.openxmlformats.org/package/2006/relationships"><Relationship Id="rId1" Type="http://schemas.openxmlformats.org/officeDocument/2006/relationships/tags" Target="../tags/tag1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2.xml"/></Relationships>
</file>

<file path=ppt/slides/_rels/slide1264.xml.rels><?xml version='1.0' encoding='UTF-8' standalone='yes'?>
<Relationships xmlns="http://schemas.openxmlformats.org/package/2006/relationships"><Relationship Id="rId1" Type="http://schemas.openxmlformats.org/officeDocument/2006/relationships/tags" Target="../tags/tag1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3.xml"/></Relationships>
</file>

<file path=ppt/slides/_rels/slide1270.xml.rels><?xml version='1.0' encoding='UTF-8' standalone='yes'?>
<Relationships xmlns="http://schemas.openxmlformats.org/package/2006/relationships"><Relationship Id="rId1" Type="http://schemas.openxmlformats.org/officeDocument/2006/relationships/tags" Target="../tags/tag1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9.xml"/></Relationships>
</file>

<file path=ppt/slides/_rels/slide1272.xml.rels><?xml version='1.0' encoding='UTF-8' standalone='yes'?>
<Relationships xmlns="http://schemas.openxmlformats.org/package/2006/relationships"><Relationship Id="rId1" Type="http://schemas.openxmlformats.org/officeDocument/2006/relationships/tags" Target="../tags/tag1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1.xml"/></Relationships>
</file>

<file path=ppt/slides/_rels/slide1278.xml.rels><?xml version='1.0' encoding='UTF-8' standalone='yes'?>
<Relationships xmlns="http://schemas.openxmlformats.org/package/2006/relationships"><Relationship Id="rId1" Type="http://schemas.openxmlformats.org/officeDocument/2006/relationships/tags" Target="../tags/tag1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7.xml"/></Relationships>
</file>

<file path=ppt/slides/_rels/slide1285.xml.rels><?xml version='1.0' encoding='UTF-8' standalone='yes'?>
<Relationships xmlns="http://schemas.openxmlformats.org/package/2006/relationships"><Relationship Id="rId1" Type="http://schemas.openxmlformats.org/officeDocument/2006/relationships/tags" Target="../tags/tag1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4.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s>
</file>

<file path=ppt/slides/_rels/slide1293.xml.rels><?xml version='1.0' encoding='UTF-8' standalone='yes'?>
<Relationships xmlns="http://schemas.openxmlformats.org/package/2006/relationships"><Relationship Id="rId1" Type="http://schemas.openxmlformats.org/officeDocument/2006/relationships/tags" Target="../tags/tag1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2.xml"/></Relationships>
</file>

<file path=ppt/slides/_rels/slide1302.xml.rels><?xml version='1.0' encoding='UTF-8' standalone='yes'?>
<Relationships xmlns="http://schemas.openxmlformats.org/package/2006/relationships"><Relationship Id="rId1" Type="http://schemas.openxmlformats.org/officeDocument/2006/relationships/tags" Target="../tags/tag1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1.xml"/></Relationships>
</file>

<file path=ppt/slides/_rels/slide1304.xml.rels><?xml version='1.0' encoding='UTF-8' standalone='yes'?>
<Relationships xmlns="http://schemas.openxmlformats.org/package/2006/relationships"><Relationship Id="rId1" Type="http://schemas.openxmlformats.org/officeDocument/2006/relationships/tags" Target="../tags/tag1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3.xml"/></Relationships>
</file>

<file path=ppt/slides/_rels/slide1308.xml.rels><?xml version='1.0' encoding='UTF-8' standalone='yes'?>
<Relationships xmlns="http://schemas.openxmlformats.org/package/2006/relationships"><Relationship Id="rId1" Type="http://schemas.openxmlformats.org/officeDocument/2006/relationships/tags" Target="../tags/tag1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7.xml"/></Relationships>
</file>

<file path=ppt/slides/_rels/slide1310.xml.rels><?xml version='1.0' encoding='UTF-8' standalone='yes'?>
<Relationships xmlns="http://schemas.openxmlformats.org/package/2006/relationships"><Relationship Id="rId1" Type="http://schemas.openxmlformats.org/officeDocument/2006/relationships/tags" Target="../tags/tag1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9.xml"/></Relationships>
</file>

<file path=ppt/slides/_rels/slide1316.xml.rels><?xml version='1.0' encoding='UTF-8' standalone='yes'?>
<Relationships xmlns="http://schemas.openxmlformats.org/package/2006/relationships"><Relationship Id="rId1" Type="http://schemas.openxmlformats.org/officeDocument/2006/relationships/tags" Target="../tags/tag1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5.xml"/></Relationships>
</file>

<file path=ppt/slides/_rels/slide1325.xml.rels><?xml version='1.0' encoding='UTF-8' standalone='yes'?>
<Relationships xmlns="http://schemas.openxmlformats.org/package/2006/relationships"><Relationship Id="rId1" Type="http://schemas.openxmlformats.org/officeDocument/2006/relationships/tags" Target="../tags/tag1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4.xml"/></Relationships>
</file>

<file path=ppt/slides/_rels/slide1330.xml.rels><?xml version='1.0' encoding='UTF-8' standalone='yes'?>
<Relationships xmlns="http://schemas.openxmlformats.org/package/2006/relationships"><Relationship Id="rId1" Type="http://schemas.openxmlformats.org/officeDocument/2006/relationships/tags" Target="../tags/tag1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9.xml"/></Relationships>
</file>

<file path=ppt/slides/_rels/slide1331.xml.rels><?xml version='1.0' encoding='UTF-8' standalone='yes'?>
<Relationships xmlns="http://schemas.openxmlformats.org/package/2006/relationships"><Relationship Id="rId1" Type="http://schemas.openxmlformats.org/officeDocument/2006/relationships/tags" Target="../tags/tag1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0.xml"/></Relationships>
</file>

<file path=ppt/slides/_rels/slide1333.xml.rels><?xml version='1.0' encoding='UTF-8' standalone='yes'?>
<Relationships xmlns="http://schemas.openxmlformats.org/package/2006/relationships"><Relationship Id="rId1" Type="http://schemas.openxmlformats.org/officeDocument/2006/relationships/tags" Target="../tags/tag1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2.xml"/></Relationships>
</file>

<file path=ppt/slides/_rels/slide1337.xml.rels><?xml version='1.0' encoding='UTF-8' standalone='yes'?>
<Relationships xmlns="http://schemas.openxmlformats.org/package/2006/relationships"><Relationship Id="rId1" Type="http://schemas.openxmlformats.org/officeDocument/2006/relationships/tags" Target="../tags/tag1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6.xml"/></Relationships>
</file>

<file path=ppt/slides/_rels/slide1339.xml.rels><?xml version='1.0' encoding='UTF-8' standalone='yes'?>
<Relationships xmlns="http://schemas.openxmlformats.org/package/2006/relationships"><Relationship Id="rId1" Type="http://schemas.openxmlformats.org/officeDocument/2006/relationships/tags" Target="../tags/tag1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8.xml"/></Relationships>
</file>

<file path=ppt/slides/_rels/slide1352.xml.rels><?xml version='1.0' encoding='UTF-8' standalone='yes'?>
<Relationships xmlns="http://schemas.openxmlformats.org/package/2006/relationships"><Relationship Id="rId1" Type="http://schemas.openxmlformats.org/officeDocument/2006/relationships/tags" Target="../tags/tag1379.xml"/><Relationship Id="rId2" Type="http://schemas.openxmlformats.org/officeDocument/2006/relationships/slideLayout" Target="../slideLayouts/slideLayout7.xml"/><Relationship Id="rId3" Type="http://schemas.openxmlformats.org/officeDocument/2006/relationships/notesSlide" Target="../notesSlides/notesSlide5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1.xml"/></Relationships>
</file>

<file path=ppt/slides/_rels/slide1354.xml.rels><?xml version='1.0' encoding='UTF-8' standalone='yes'?>
<Relationships xmlns="http://schemas.openxmlformats.org/package/2006/relationships"><Relationship Id="rId1" Type="http://schemas.openxmlformats.org/officeDocument/2006/relationships/tags" Target="../tags/tag1381.xml"/><Relationship Id="rId2" Type="http://schemas.openxmlformats.org/officeDocument/2006/relationships/slideLayout" Target="../slideLayouts/slideLayout7.xml"/><Relationship Id="rId3" Type="http://schemas.openxmlformats.org/officeDocument/2006/relationships/notesSlide" Target="../notesSlides/notesSlide5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3.xml"/></Relationships>
</file>

<file path=ppt/slides/_rels/slide1360.xml.rels><?xml version='1.0' encoding='UTF-8' standalone='yes'?>
<Relationships xmlns="http://schemas.openxmlformats.org/package/2006/relationships"><Relationship Id="rId1" Type="http://schemas.openxmlformats.org/officeDocument/2006/relationships/tags" Target="../tags/tag1387.xml"/><Relationship Id="rId2" Type="http://schemas.openxmlformats.org/officeDocument/2006/relationships/slideLayout" Target="../slideLayouts/slideLayout7.xml"/><Relationship Id="rId3" Type="http://schemas.openxmlformats.org/officeDocument/2006/relationships/notesSlide" Target="../notesSlides/notesSlide5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9.xml"/></Relationships>
</file>

<file path=ppt/slides/_rels/slide1366.xml.rels><?xml version='1.0' encoding='UTF-8' standalone='yes'?>
<Relationships xmlns="http://schemas.openxmlformats.org/package/2006/relationships"><Relationship Id="rId1" Type="http://schemas.openxmlformats.org/officeDocument/2006/relationships/tags" Target="../tags/tag1393.xml"/><Relationship Id="rId2" Type="http://schemas.openxmlformats.org/officeDocument/2006/relationships/slideLayout" Target="../slideLayouts/slideLayout7.xml"/><Relationship Id="rId3" Type="http://schemas.openxmlformats.org/officeDocument/2006/relationships/notesSlide" Target="../notesSlides/notesSlide6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5.xml"/></Relationships>
</file>

<file path=ppt/slides/_rels/slide1368.xml.rels><?xml version='1.0' encoding='UTF-8' standalone='yes'?>
<Relationships xmlns="http://schemas.openxmlformats.org/package/2006/relationships"><Relationship Id="rId1" Type="http://schemas.openxmlformats.org/officeDocument/2006/relationships/tags" Target="../tags/tag1395.xml"/><Relationship Id="rId2" Type="http://schemas.openxmlformats.org/officeDocument/2006/relationships/slideLayout" Target="../slideLayouts/slideLayout7.xml"/><Relationship Id="rId3" Type="http://schemas.openxmlformats.org/officeDocument/2006/relationships/notesSlide" Target="../notesSlides/notesSlide6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7.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s>
</file>

<file path=ppt/slides/_rels/slide1375.xml.rels><?xml version='1.0' encoding='UTF-8' standalone='yes'?>
<Relationships xmlns="http://schemas.openxmlformats.org/package/2006/relationships"><Relationship Id="rId1" Type="http://schemas.openxmlformats.org/officeDocument/2006/relationships/tags" Target="../tags/tag1402.xml"/><Relationship Id="rId2" Type="http://schemas.openxmlformats.org/officeDocument/2006/relationships/slideLayout" Target="../slideLayouts/slideLayout7.xml"/><Relationship Id="rId3" Type="http://schemas.openxmlformats.org/officeDocument/2006/relationships/notesSlide" Target="../notesSlides/notesSlide6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4.xml"/></Relationships>
</file>

<file path=ppt/slides/_rels/slide1381.xml.rels><?xml version='1.0' encoding='UTF-8' standalone='yes'?>
<Relationships xmlns="http://schemas.openxmlformats.org/package/2006/relationships"><Relationship Id="rId1" Type="http://schemas.openxmlformats.org/officeDocument/2006/relationships/tags" Target="../tags/tag1408.xml"/><Relationship Id="rId2" Type="http://schemas.openxmlformats.org/officeDocument/2006/relationships/slideLayout" Target="../slideLayouts/slideLayout7.xml"/><Relationship Id="rId3" Type="http://schemas.openxmlformats.org/officeDocument/2006/relationships/notesSlide" Target="../notesSlides/notesSlide6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0.xml"/></Relationships>
</file>

<file path=ppt/slides/_rels/slide1383.xml.rels><?xml version='1.0' encoding='UTF-8' standalone='yes'?>
<Relationships xmlns="http://schemas.openxmlformats.org/package/2006/relationships"><Relationship Id="rId1" Type="http://schemas.openxmlformats.org/officeDocument/2006/relationships/tags" Target="../tags/tag1410.xml"/><Relationship Id="rId2" Type="http://schemas.openxmlformats.org/officeDocument/2006/relationships/slideLayout" Target="../slideLayouts/slideLayout7.xml"/><Relationship Id="rId3" Type="http://schemas.openxmlformats.org/officeDocument/2006/relationships/notesSlide" Target="../notesSlides/notesSlide6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2.xml"/></Relationships>
</file>

<file path=ppt/slides/_rels/slide1389.xml.rels><?xml version='1.0' encoding='UTF-8' standalone='yes'?>
<Relationships xmlns="http://schemas.openxmlformats.org/package/2006/relationships"><Relationship Id="rId1" Type="http://schemas.openxmlformats.org/officeDocument/2006/relationships/tags" Target="../tags/tag1416.xml"/><Relationship Id="rId2" Type="http://schemas.openxmlformats.org/officeDocument/2006/relationships/slideLayout" Target="../slideLayouts/slideLayout7.xml"/><Relationship Id="rId3" Type="http://schemas.openxmlformats.org/officeDocument/2006/relationships/notesSlide" Target="../notesSlides/notesSlide6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8.xml"/></Relationships>
</file>

<file path=ppt/slides/_rels/slide1397.xml.rels><?xml version='1.0' encoding='UTF-8' standalone='yes'?>
<Relationships xmlns="http://schemas.openxmlformats.org/package/2006/relationships"><Relationship Id="rId1" Type="http://schemas.openxmlformats.org/officeDocument/2006/relationships/tags" Target="../tags/tag1424.xml"/><Relationship Id="rId2" Type="http://schemas.openxmlformats.org/officeDocument/2006/relationships/slideLayout" Target="../slideLayouts/slideLayout7.xml"/><Relationship Id="rId3" Type="http://schemas.openxmlformats.org/officeDocument/2006/relationships/notesSlide" Target="../notesSlides/notesSlide6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6.xml"/></Relationships>
</file>

<file path=ppt/slides/_rels/slide1398.xml.rels><?xml version='1.0' encoding='UTF-8' standalone='yes'?>
<Relationships xmlns="http://schemas.openxmlformats.org/package/2006/relationships"><Relationship Id="rId1" Type="http://schemas.openxmlformats.org/officeDocument/2006/relationships/tags" Target="../tags/tag1425.xml"/><Relationship Id="rId2" Type="http://schemas.openxmlformats.org/officeDocument/2006/relationships/slideLayout" Target="../slideLayouts/slideLayout7.xml"/><Relationship Id="rId3" Type="http://schemas.openxmlformats.org/officeDocument/2006/relationships/notesSlide" Target="../notesSlides/notesSlide6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7.xml"/></Relationships>
</file>

<file path=ppt/slides/_rels/slide1400.xml.rels><?xml version='1.0' encoding='UTF-8' standalone='yes'?>
<Relationships xmlns="http://schemas.openxmlformats.org/package/2006/relationships"><Relationship Id="rId1" Type="http://schemas.openxmlformats.org/officeDocument/2006/relationships/tags" Target="../tags/tag1427.xml"/><Relationship Id="rId2" Type="http://schemas.openxmlformats.org/officeDocument/2006/relationships/slideLayout" Target="../slideLayouts/slideLayout7.xml"/><Relationship Id="rId3" Type="http://schemas.openxmlformats.org/officeDocument/2006/relationships/notesSlide" Target="../notesSlides/notesSlide6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9.xml"/></Relationships>
</file>

<file path=ppt/slides/_rels/slide1406.xml.rels><?xml version='1.0' encoding='UTF-8' standalone='yes'?>
<Relationships xmlns="http://schemas.openxmlformats.org/package/2006/relationships"><Relationship Id="rId1" Type="http://schemas.openxmlformats.org/officeDocument/2006/relationships/tags" Target="../tags/tag1433.xml"/><Relationship Id="rId2" Type="http://schemas.openxmlformats.org/officeDocument/2006/relationships/slideLayout" Target="../slideLayouts/slideLayout7.xml"/><Relationship Id="rId3" Type="http://schemas.openxmlformats.org/officeDocument/2006/relationships/notesSlide" Target="../notesSlides/notesSlide6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5.xml"/></Relationships>
</file>

<file path=ppt/slides/_rels/slide1413.xml.rels><?xml version='1.0' encoding='UTF-8' standalone='yes'?>
<Relationships xmlns="http://schemas.openxmlformats.org/package/2006/relationships"><Relationship Id="rId1" Type="http://schemas.openxmlformats.org/officeDocument/2006/relationships/tags" Target="../tags/tag1440.xml"/><Relationship Id="rId2" Type="http://schemas.openxmlformats.org/officeDocument/2006/relationships/slideLayout" Target="../slideLayouts/slideLayout7.xml"/><Relationship Id="rId3" Type="http://schemas.openxmlformats.org/officeDocument/2006/relationships/notesSlide" Target="../notesSlides/notesSlide6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2.xml"/></Relationships>
</file>

<file path=ppt/slides/_rels/slide1415.xml.rels><?xml version='1.0' encoding='UTF-8' standalone='yes'?>
<Relationships xmlns="http://schemas.openxmlformats.org/package/2006/relationships"><Relationship Id="rId1" Type="http://schemas.openxmlformats.org/officeDocument/2006/relationships/tags" Target="../tags/tag1442.xml"/><Relationship Id="rId2" Type="http://schemas.openxmlformats.org/officeDocument/2006/relationships/slideLayout" Target="../slideLayouts/slideLayout7.xml"/><Relationship Id="rId3" Type="http://schemas.openxmlformats.org/officeDocument/2006/relationships/notesSlide" Target="../notesSlides/notesSlide6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4.xml"/></Relationships>
</file>

<file path=ppt/slides/_rels/slide1419.xml.rels><?xml version='1.0' encoding='UTF-8' standalone='yes'?>
<Relationships xmlns="http://schemas.openxmlformats.org/package/2006/relationships"><Relationship Id="rId1" Type="http://schemas.openxmlformats.org/officeDocument/2006/relationships/tags" Target="../tags/tag1446.xml"/><Relationship Id="rId2" Type="http://schemas.openxmlformats.org/officeDocument/2006/relationships/slideLayout" Target="../slideLayouts/slideLayout7.xml"/><Relationship Id="rId3" Type="http://schemas.openxmlformats.org/officeDocument/2006/relationships/notesSlide" Target="../notesSlides/notesSlide6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8.xml"/></Relationships>
</file>

<file path=ppt/slides/_rels/slide1421.xml.rels><?xml version='1.0' encoding='UTF-8' standalone='yes'?>
<Relationships xmlns="http://schemas.openxmlformats.org/package/2006/relationships"><Relationship Id="rId1" Type="http://schemas.openxmlformats.org/officeDocument/2006/relationships/tags" Target="../tags/tag1448.xml"/><Relationship Id="rId2" Type="http://schemas.openxmlformats.org/officeDocument/2006/relationships/slideLayout" Target="../slideLayouts/slideLayout7.xml"/><Relationship Id="rId3" Type="http://schemas.openxmlformats.org/officeDocument/2006/relationships/notesSlide" Target="../notesSlides/notesSlide6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0.xml"/></Relationships>
</file>

<file path=ppt/slides/_rels/slide1426.xml.rels><?xml version='1.0' encoding='UTF-8' standalone='yes'?>
<Relationships xmlns="http://schemas.openxmlformats.org/package/2006/relationships"><Relationship Id="rId1" Type="http://schemas.openxmlformats.org/officeDocument/2006/relationships/tags" Target="../tags/tag1453.xml"/><Relationship Id="rId2" Type="http://schemas.openxmlformats.org/officeDocument/2006/relationships/slideLayout" Target="../slideLayouts/slideLayout7.xml"/><Relationship Id="rId3" Type="http://schemas.openxmlformats.org/officeDocument/2006/relationships/notesSlide" Target="../notesSlides/notesSlide6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5.xml"/></Relationships>
</file>

<file path=ppt/slides/_rels/slide1427.xml.rels><?xml version='1.0' encoding='UTF-8' standalone='yes'?>
<Relationships xmlns="http://schemas.openxmlformats.org/package/2006/relationships"><Relationship Id="rId1" Type="http://schemas.openxmlformats.org/officeDocument/2006/relationships/tags" Target="../tags/tag1454.xml"/><Relationship Id="rId2" Type="http://schemas.openxmlformats.org/officeDocument/2006/relationships/slideLayout" Target="../slideLayouts/slideLayout7.xml"/><Relationship Id="rId3" Type="http://schemas.openxmlformats.org/officeDocument/2006/relationships/notesSlide" Target="../notesSlides/notesSlide6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6.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 Id="rId7" Type="http://schemas.openxmlformats.org/officeDocument/2006/relationships/chart" Target="../charts/chart28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s>
</file>

<file path=ppt/slides/_rels/slide1442.xml.rels><?xml version='1.0' encoding='UTF-8' standalone='yes'?>
<Relationships xmlns="http://schemas.openxmlformats.org/package/2006/relationships"><Relationship Id="rId1" Type="http://schemas.openxmlformats.org/officeDocument/2006/relationships/tags" Target="../tags/tag1469.xml"/><Relationship Id="rId2" Type="http://schemas.openxmlformats.org/officeDocument/2006/relationships/slideLayout" Target="../slideLayouts/slideLayout7.xml"/><Relationship Id="rId3" Type="http://schemas.openxmlformats.org/officeDocument/2006/relationships/notesSlide" Target="../notesSlides/notesSlide6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1.xml"/></Relationships>
</file>

<file path=ppt/slides/_rels/slide1444.xml.rels><?xml version='1.0' encoding='UTF-8' standalone='yes'?>
<Relationships xmlns="http://schemas.openxmlformats.org/package/2006/relationships"><Relationship Id="rId1" Type="http://schemas.openxmlformats.org/officeDocument/2006/relationships/tags" Target="../tags/tag1471.xml"/><Relationship Id="rId2" Type="http://schemas.openxmlformats.org/officeDocument/2006/relationships/slideLayout" Target="../slideLayouts/slideLayout7.xml"/><Relationship Id="rId3" Type="http://schemas.openxmlformats.org/officeDocument/2006/relationships/notesSlide" Target="../notesSlides/notesSlide6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3.xml"/></Relationships>
</file>

<file path=ppt/slides/_rels/slide1448.xml.rels><?xml version='1.0' encoding='UTF-8' standalone='yes'?>
<Relationships xmlns="http://schemas.openxmlformats.org/package/2006/relationships"><Relationship Id="rId1" Type="http://schemas.openxmlformats.org/officeDocument/2006/relationships/tags" Target="../tags/tag1475.xml"/><Relationship Id="rId2" Type="http://schemas.openxmlformats.org/officeDocument/2006/relationships/slideLayout" Target="../slideLayouts/slideLayout7.xml"/><Relationship Id="rId3" Type="http://schemas.openxmlformats.org/officeDocument/2006/relationships/notesSlide" Target="../notesSlides/notesSlide6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7.xml"/></Relationships>
</file>

<file path=ppt/slides/_rels/slide1450.xml.rels><?xml version='1.0' encoding='UTF-8' standalone='yes'?>
<Relationships xmlns="http://schemas.openxmlformats.org/package/2006/relationships"><Relationship Id="rId1" Type="http://schemas.openxmlformats.org/officeDocument/2006/relationships/tags" Target="../tags/tag1477.xml"/><Relationship Id="rId2" Type="http://schemas.openxmlformats.org/officeDocument/2006/relationships/slideLayout" Target="../slideLayouts/slideLayout7.xml"/><Relationship Id="rId3" Type="http://schemas.openxmlformats.org/officeDocument/2006/relationships/notesSlide" Target="../notesSlides/notesSlide6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9.xml"/></Relationships>
</file>

<file path=ppt/slides/_rels/slide1456.xml.rels><?xml version='1.0' encoding='UTF-8' standalone='yes'?>
<Relationships xmlns="http://schemas.openxmlformats.org/package/2006/relationships"><Relationship Id="rId1" Type="http://schemas.openxmlformats.org/officeDocument/2006/relationships/tags" Target="../tags/tag1483.xml"/><Relationship Id="rId2" Type="http://schemas.openxmlformats.org/officeDocument/2006/relationships/slideLayout" Target="../slideLayouts/slideLayout7.xml"/><Relationship Id="rId3" Type="http://schemas.openxmlformats.org/officeDocument/2006/relationships/notesSlide" Target="../notesSlides/notesSlide6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5.xml"/></Relationships>
</file>

<file path=ppt/slides/_rels/slide1465.xml.rels><?xml version='1.0' encoding='UTF-8' standalone='yes'?>
<Relationships xmlns="http://schemas.openxmlformats.org/package/2006/relationships"><Relationship Id="rId1" Type="http://schemas.openxmlformats.org/officeDocument/2006/relationships/tags" Target="../tags/tag1492.xml"/><Relationship Id="rId2" Type="http://schemas.openxmlformats.org/officeDocument/2006/relationships/slideLayout" Target="../slideLayouts/slideLayout7.xml"/><Relationship Id="rId3" Type="http://schemas.openxmlformats.org/officeDocument/2006/relationships/notesSlide" Target="../notesSlides/notesSlide6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4.xml"/></Relationships>
</file>

<file path=ppt/slides/_rels/slide1470.xml.rels><?xml version='1.0' encoding='UTF-8' standalone='yes'?>
<Relationships xmlns="http://schemas.openxmlformats.org/package/2006/relationships"><Relationship Id="rId1" Type="http://schemas.openxmlformats.org/officeDocument/2006/relationships/tags" Target="../tags/tag1497.xml"/><Relationship Id="rId2" Type="http://schemas.openxmlformats.org/officeDocument/2006/relationships/slideLayout" Target="../slideLayouts/slideLayout7.xml"/><Relationship Id="rId3" Type="http://schemas.openxmlformats.org/officeDocument/2006/relationships/notesSlide" Target="../notesSlides/notesSlide7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9.xml"/></Relationships>
</file>

<file path=ppt/slides/_rels/slide1471.xml.rels><?xml version='1.0' encoding='UTF-8' standalone='yes'?>
<Relationships xmlns="http://schemas.openxmlformats.org/package/2006/relationships"><Relationship Id="rId1" Type="http://schemas.openxmlformats.org/officeDocument/2006/relationships/tags" Target="../tags/tag1498.xml"/><Relationship Id="rId2" Type="http://schemas.openxmlformats.org/officeDocument/2006/relationships/slideLayout" Target="../slideLayouts/slideLayout7.xml"/><Relationship Id="rId3" Type="http://schemas.openxmlformats.org/officeDocument/2006/relationships/notesSlide" Target="../notesSlides/notesSlide7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0.xml"/></Relationships>
</file>

<file path=ppt/slides/_rels/slide1473.xml.rels><?xml version='1.0' encoding='UTF-8' standalone='yes'?>
<Relationships xmlns="http://schemas.openxmlformats.org/package/2006/relationships"><Relationship Id="rId1" Type="http://schemas.openxmlformats.org/officeDocument/2006/relationships/tags" Target="../tags/tag1500.xml"/><Relationship Id="rId2" Type="http://schemas.openxmlformats.org/officeDocument/2006/relationships/slideLayout" Target="../slideLayouts/slideLayout7.xml"/><Relationship Id="rId3" Type="http://schemas.openxmlformats.org/officeDocument/2006/relationships/notesSlide" Target="../notesSlides/notesSlide7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2.xml"/></Relationships>
</file>

<file path=ppt/slides/_rels/slide1477.xml.rels><?xml version='1.0' encoding='UTF-8' standalone='yes'?>
<Relationships xmlns="http://schemas.openxmlformats.org/package/2006/relationships"><Relationship Id="rId1" Type="http://schemas.openxmlformats.org/officeDocument/2006/relationships/tags" Target="../tags/tag1504.xml"/><Relationship Id="rId2" Type="http://schemas.openxmlformats.org/officeDocument/2006/relationships/slideLayout" Target="../slideLayouts/slideLayout7.xml"/><Relationship Id="rId3" Type="http://schemas.openxmlformats.org/officeDocument/2006/relationships/notesSlide" Target="../notesSlides/notesSlide7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6.xml"/></Relationships>
</file>

<file path=ppt/slides/_rels/slide1479.xml.rels><?xml version='1.0' encoding='UTF-8' standalone='yes'?>
<Relationships xmlns="http://schemas.openxmlformats.org/package/2006/relationships"><Relationship Id="rId1" Type="http://schemas.openxmlformats.org/officeDocument/2006/relationships/tags" Target="../tags/tag1506.xml"/><Relationship Id="rId2" Type="http://schemas.openxmlformats.org/officeDocument/2006/relationships/slideLayout" Target="../slideLayouts/slideLayout7.xml"/><Relationship Id="rId3" Type="http://schemas.openxmlformats.org/officeDocument/2006/relationships/notesSlide" Target="../notesSlides/notesSlide7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8.xml"/></Relationships>
</file>

<file path=ppt/slides/_rels/slide1492.xml.rels><?xml version='1.0' encoding='UTF-8' standalone='yes'?>
<Relationships xmlns="http://schemas.openxmlformats.org/package/2006/relationships"><Relationship Id="rId1" Type="http://schemas.openxmlformats.org/officeDocument/2006/relationships/tags" Target="../tags/tag1519.xml"/><Relationship Id="rId2" Type="http://schemas.openxmlformats.org/officeDocument/2006/relationships/slideLayout" Target="../slideLayouts/slideLayout7.xml"/><Relationship Id="rId3" Type="http://schemas.openxmlformats.org/officeDocument/2006/relationships/notesSlide" Target="../notesSlides/notesSlide7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1.xml"/></Relationships>
</file>

<file path=ppt/slides/_rels/slide1494.xml.rels><?xml version='1.0' encoding='UTF-8' standalone='yes'?>
<Relationships xmlns="http://schemas.openxmlformats.org/package/2006/relationships"><Relationship Id="rId1" Type="http://schemas.openxmlformats.org/officeDocument/2006/relationships/tags" Target="../tags/tag1521.xml"/><Relationship Id="rId2" Type="http://schemas.openxmlformats.org/officeDocument/2006/relationships/slideLayout" Target="../slideLayouts/slideLayout7.xml"/><Relationship Id="rId3" Type="http://schemas.openxmlformats.org/officeDocument/2006/relationships/notesSlide" Target="../notesSlides/notesSlide7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3.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 Id="rId7" Type="http://schemas.openxmlformats.org/officeDocument/2006/relationships/chart" Target="../charts/chart300.xml"/></Relationships>
</file>

<file path=ppt/slides/_rels/slide1503.xml.rels><?xml version='1.0' encoding='UTF-8' standalone='yes'?>
<Relationships xmlns="http://schemas.openxmlformats.org/package/2006/relationships"><Relationship Id="rId1" Type="http://schemas.openxmlformats.org/officeDocument/2006/relationships/tags" Target="../tags/tag1530.xml"/><Relationship Id="rId2" Type="http://schemas.openxmlformats.org/officeDocument/2006/relationships/slideLayout" Target="../slideLayouts/slideLayout7.xml"/><Relationship Id="rId3" Type="http://schemas.openxmlformats.org/officeDocument/2006/relationships/notesSlide" Target="../notesSlides/notesSlide7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2.xml"/></Relationships>
</file>

<file path=ppt/slides/_rels/slide1509.xml.rels><?xml version='1.0' encoding='UTF-8' standalone='yes'?>
<Relationships xmlns="http://schemas.openxmlformats.org/package/2006/relationships"><Relationship Id="rId1" Type="http://schemas.openxmlformats.org/officeDocument/2006/relationships/tags" Target="../tags/tag1536.xml"/><Relationship Id="rId2" Type="http://schemas.openxmlformats.org/officeDocument/2006/relationships/slideLayout" Target="../slideLayouts/slideLayout7.xml"/><Relationship Id="rId3" Type="http://schemas.openxmlformats.org/officeDocument/2006/relationships/notesSlide" Target="../notesSlides/notesSlide7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8.xml"/></Relationships>
</file>

<file path=ppt/slides/_rels/slide1511.xml.rels><?xml version='1.0' encoding='UTF-8' standalone='yes'?>
<Relationships xmlns="http://schemas.openxmlformats.org/package/2006/relationships"><Relationship Id="rId1" Type="http://schemas.openxmlformats.org/officeDocument/2006/relationships/tags" Target="../tags/tag1538.xml"/><Relationship Id="rId2" Type="http://schemas.openxmlformats.org/officeDocument/2006/relationships/slideLayout" Target="../slideLayouts/slideLayout7.xml"/><Relationship Id="rId3" Type="http://schemas.openxmlformats.org/officeDocument/2006/relationships/notesSlide" Target="../notesSlides/notesSlide7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0.xml"/></Relationships>
</file>

<file path=ppt/slides/_rels/slide1517.xml.rels><?xml version='1.0' encoding='UTF-8' standalone='yes'?>
<Relationships xmlns="http://schemas.openxmlformats.org/package/2006/relationships"><Relationship Id="rId1" Type="http://schemas.openxmlformats.org/officeDocument/2006/relationships/tags" Target="../tags/tag1544.xml"/><Relationship Id="rId2" Type="http://schemas.openxmlformats.org/officeDocument/2006/relationships/slideLayout" Target="../slideLayouts/slideLayout7.xml"/><Relationship Id="rId3" Type="http://schemas.openxmlformats.org/officeDocument/2006/relationships/notesSlide" Target="../notesSlides/notesSlide7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6.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 Id="rId7" Type="http://schemas.openxmlformats.org/officeDocument/2006/relationships/chart" Target="../charts/chart304.xml"/></Relationships>
</file>

<file path=ppt/slides/_rels/slide1524.xml.rels><?xml version='1.0' encoding='UTF-8' standalone='yes'?>
<Relationships xmlns="http://schemas.openxmlformats.org/package/2006/relationships"><Relationship Id="rId1" Type="http://schemas.openxmlformats.org/officeDocument/2006/relationships/tags" Target="../tags/tag1551.xml"/><Relationship Id="rId2" Type="http://schemas.openxmlformats.org/officeDocument/2006/relationships/slideLayout" Target="../slideLayouts/slideLayout7.xml"/><Relationship Id="rId3" Type="http://schemas.openxmlformats.org/officeDocument/2006/relationships/notesSlide" Target="../notesSlides/notesSlide7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3.xml"/></Relationships>
</file>

<file path=ppt/slides/_rels/slide1532.xml.rels><?xml version='1.0' encoding='UTF-8' standalone='yes'?>
<Relationships xmlns="http://schemas.openxmlformats.org/package/2006/relationships"><Relationship Id="rId1" Type="http://schemas.openxmlformats.org/officeDocument/2006/relationships/tags" Target="../tags/tag1559.xml"/><Relationship Id="rId2" Type="http://schemas.openxmlformats.org/officeDocument/2006/relationships/slideLayout" Target="../slideLayouts/slideLayout7.xml"/><Relationship Id="rId3" Type="http://schemas.openxmlformats.org/officeDocument/2006/relationships/notesSlide" Target="../notesSlides/notesSlide7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1.xml"/></Relationships>
</file>

<file path=ppt/slides/_rels/slide1537.xml.rels><?xml version='1.0' encoding='UTF-8' standalone='yes'?>
<Relationships xmlns="http://schemas.openxmlformats.org/package/2006/relationships"><Relationship Id="rId1" Type="http://schemas.openxmlformats.org/officeDocument/2006/relationships/tags" Target="../tags/tag1564.xml"/><Relationship Id="rId2" Type="http://schemas.openxmlformats.org/officeDocument/2006/relationships/slideLayout" Target="../slideLayouts/slideLayout7.xml"/><Relationship Id="rId3" Type="http://schemas.openxmlformats.org/officeDocument/2006/relationships/notesSlide" Target="../notesSlides/notesSlide7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6.xml"/></Relationships>
</file>

<file path=ppt/slides/_rels/slide1538.xml.rels><?xml version='1.0' encoding='UTF-8' standalone='yes'?>
<Relationships xmlns="http://schemas.openxmlformats.org/package/2006/relationships"><Relationship Id="rId1" Type="http://schemas.openxmlformats.org/officeDocument/2006/relationships/tags" Target="../tags/tag1565.xml"/><Relationship Id="rId2" Type="http://schemas.openxmlformats.org/officeDocument/2006/relationships/slideLayout" Target="../slideLayouts/slideLayout7.xml"/><Relationship Id="rId3" Type="http://schemas.openxmlformats.org/officeDocument/2006/relationships/notesSlide" Target="../notesSlides/notesSlide7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7.xml"/></Relationships>
</file>

<file path=ppt/slides/_rels/slide1540.xml.rels><?xml version='1.0' encoding='UTF-8' standalone='yes'?>
<Relationships xmlns="http://schemas.openxmlformats.org/package/2006/relationships"><Relationship Id="rId1" Type="http://schemas.openxmlformats.org/officeDocument/2006/relationships/tags" Target="../tags/tag1567.xml"/><Relationship Id="rId2" Type="http://schemas.openxmlformats.org/officeDocument/2006/relationships/slideLayout" Target="../slideLayouts/slideLayout7.xml"/><Relationship Id="rId3" Type="http://schemas.openxmlformats.org/officeDocument/2006/relationships/notesSlide" Target="../notesSlides/notesSlide7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9.xml"/></Relationships>
</file>

<file path=ppt/slides/_rels/slide1546.xml.rels><?xml version='1.0' encoding='UTF-8' standalone='yes'?>
<Relationships xmlns="http://schemas.openxmlformats.org/package/2006/relationships"><Relationship Id="rId1" Type="http://schemas.openxmlformats.org/officeDocument/2006/relationships/tags" Target="../tags/tag1573.xml"/><Relationship Id="rId2" Type="http://schemas.openxmlformats.org/officeDocument/2006/relationships/slideLayout" Target="../slideLayouts/slideLayout7.xml"/><Relationship Id="rId3" Type="http://schemas.openxmlformats.org/officeDocument/2006/relationships/notesSlide" Target="../notesSlides/notesSlide7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5.xml"/></Relationships>
</file>

<file path=ppt/slides/_rels/slide1553.xml.rels><?xml version='1.0' encoding='UTF-8' standalone='yes'?>
<Relationships xmlns="http://schemas.openxmlformats.org/package/2006/relationships"><Relationship Id="rId1" Type="http://schemas.openxmlformats.org/officeDocument/2006/relationships/tags" Target="../tags/tag1580.xml"/><Relationship Id="rId2" Type="http://schemas.openxmlformats.org/officeDocument/2006/relationships/slideLayout" Target="../slideLayouts/slideLayout7.xml"/><Relationship Id="rId3" Type="http://schemas.openxmlformats.org/officeDocument/2006/relationships/notesSlide" Target="../notesSlides/notesSlide7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2.xml"/></Relationships>
</file>

<file path=ppt/slides/_rels/slide1555.xml.rels><?xml version='1.0' encoding='UTF-8' standalone='yes'?>
<Relationships xmlns="http://schemas.openxmlformats.org/package/2006/relationships"><Relationship Id="rId1" Type="http://schemas.openxmlformats.org/officeDocument/2006/relationships/tags" Target="../tags/tag1582.xml"/><Relationship Id="rId2" Type="http://schemas.openxmlformats.org/officeDocument/2006/relationships/slideLayout" Target="../slideLayouts/slideLayout7.xml"/><Relationship Id="rId3" Type="http://schemas.openxmlformats.org/officeDocument/2006/relationships/notesSlide" Target="../notesSlides/notesSlide7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4.xml"/></Relationships>
</file>

<file path=ppt/slides/_rels/slide1559.xml.rels><?xml version='1.0' encoding='UTF-8' standalone='yes'?>
<Relationships xmlns="http://schemas.openxmlformats.org/package/2006/relationships"><Relationship Id="rId1" Type="http://schemas.openxmlformats.org/officeDocument/2006/relationships/tags" Target="../tags/tag1586.xml"/><Relationship Id="rId2" Type="http://schemas.openxmlformats.org/officeDocument/2006/relationships/slideLayout" Target="../slideLayouts/slideLayout7.xml"/><Relationship Id="rId3" Type="http://schemas.openxmlformats.org/officeDocument/2006/relationships/notesSlide" Target="../notesSlides/notesSlide7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8.xml"/></Relationships>
</file>

<file path=ppt/slides/_rels/slide1561.xml.rels><?xml version='1.0' encoding='UTF-8' standalone='yes'?>
<Relationships xmlns="http://schemas.openxmlformats.org/package/2006/relationships"><Relationship Id="rId1" Type="http://schemas.openxmlformats.org/officeDocument/2006/relationships/tags" Target="../tags/tag1588.xml"/><Relationship Id="rId2" Type="http://schemas.openxmlformats.org/officeDocument/2006/relationships/slideLayout" Target="../slideLayouts/slideLayout7.xml"/><Relationship Id="rId3" Type="http://schemas.openxmlformats.org/officeDocument/2006/relationships/notesSlide" Target="../notesSlides/notesSlide7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0.xml"/></Relationships>
</file>

<file path=ppt/slides/_rels/slide1566.xml.rels><?xml version='1.0' encoding='UTF-8' standalone='yes'?>
<Relationships xmlns="http://schemas.openxmlformats.org/package/2006/relationships"><Relationship Id="rId1" Type="http://schemas.openxmlformats.org/officeDocument/2006/relationships/tags" Target="../tags/tag1593.xml"/><Relationship Id="rId2" Type="http://schemas.openxmlformats.org/officeDocument/2006/relationships/slideLayout" Target="../slideLayouts/slideLayout7.xml"/><Relationship Id="rId3" Type="http://schemas.openxmlformats.org/officeDocument/2006/relationships/notesSlide" Target="../notesSlides/notesSlide8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5.xml"/></Relationships>
</file>

<file path=ppt/slides/_rels/slide1567.xml.rels><?xml version='1.0' encoding='UTF-8' standalone='yes'?>
<Relationships xmlns="http://schemas.openxmlformats.org/package/2006/relationships"><Relationship Id="rId1" Type="http://schemas.openxmlformats.org/officeDocument/2006/relationships/tags" Target="../tags/tag1594.xml"/><Relationship Id="rId2" Type="http://schemas.openxmlformats.org/officeDocument/2006/relationships/slideLayout" Target="../slideLayouts/slideLayout7.xml"/><Relationship Id="rId3" Type="http://schemas.openxmlformats.org/officeDocument/2006/relationships/notesSlide" Target="../notesSlides/notesSlide8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6.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 Id="rId7" Type="http://schemas.openxmlformats.org/officeDocument/2006/relationships/chart" Target="../charts/chart316.xml"/></Relationships>
</file>

<file path=ppt/slides/_rels/slide1582.xml.rels><?xml version='1.0' encoding='UTF-8' standalone='yes'?>
<Relationships xmlns="http://schemas.openxmlformats.org/package/2006/relationships"><Relationship Id="rId1" Type="http://schemas.openxmlformats.org/officeDocument/2006/relationships/tags" Target="../tags/tag16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1.xml"/></Relationships>
</file>

<file path=ppt/slides/_rels/slide1584.xml.rels><?xml version='1.0' encoding='UTF-8' standalone='yes'?>
<Relationships xmlns="http://schemas.openxmlformats.org/package/2006/relationships"><Relationship Id="rId1" Type="http://schemas.openxmlformats.org/officeDocument/2006/relationships/tags" Target="../tags/tag16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3.xml"/></Relationships>
</file>

<file path=ppt/slides/_rels/slide1588.xml.rels><?xml version='1.0' encoding='UTF-8' standalone='yes'?>
<Relationships xmlns="http://schemas.openxmlformats.org/package/2006/relationships"><Relationship Id="rId1" Type="http://schemas.openxmlformats.org/officeDocument/2006/relationships/tags" Target="../tags/tag16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7.xml"/></Relationships>
</file>

<file path=ppt/slides/_rels/slide1590.xml.rels><?xml version='1.0' encoding='UTF-8' standalone='yes'?>
<Relationships xmlns="http://schemas.openxmlformats.org/package/2006/relationships"><Relationship Id="rId1" Type="http://schemas.openxmlformats.org/officeDocument/2006/relationships/tags" Target="../tags/tag16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9.xml"/></Relationships>
</file>

<file path=ppt/slides/_rels/slide1599.xml.rels><?xml version='1.0' encoding='UTF-8' standalone='yes'?>
<Relationships xmlns="http://schemas.openxmlformats.org/package/2006/relationships"><Relationship Id="rId1" Type="http://schemas.openxmlformats.org/officeDocument/2006/relationships/tags" Target="../tags/tag16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7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607.xml.rels><?xml version='1.0' encoding='UTF-8' standalone='yes'?>
<Relationships xmlns="http://schemas.openxmlformats.org/package/2006/relationships"><Relationship Id="rId1" Type="http://schemas.openxmlformats.org/officeDocument/2006/relationships/tags" Target="../tags/tag16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6.xml"/></Relationships>
</file>

<file path=ppt/slides/_rels/slide1613.xml.rels><?xml version='1.0' encoding='UTF-8' standalone='yes'?>
<Relationships xmlns="http://schemas.openxmlformats.org/package/2006/relationships"><Relationship Id="rId1" Type="http://schemas.openxmlformats.org/officeDocument/2006/relationships/tags" Target="../tags/tag16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2.xml"/></Relationships>
</file>

<file path=ppt/slides/_rels/slide1614.xml.rels><?xml version='1.0' encoding='UTF-8' standalone='yes'?>
<Relationships xmlns="http://schemas.openxmlformats.org/package/2006/relationships"><Relationship Id="rId1" Type="http://schemas.openxmlformats.org/officeDocument/2006/relationships/tags" Target="../tags/tag16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3.xml"/></Relationships>
</file>

<file path=ppt/slides/_rels/slide1620.xml.rels><?xml version='1.0' encoding='UTF-8' standalone='yes'?>
<Relationships xmlns="http://schemas.openxmlformats.org/package/2006/relationships"><Relationship Id="rId1" Type="http://schemas.openxmlformats.org/officeDocument/2006/relationships/tags" Target="../tags/tag16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9.xml"/></Relationships>
</file>

<file path=ppt/slides/_rels/slide1622.xml.rels><?xml version='1.0' encoding='UTF-8' standalone='yes'?>
<Relationships xmlns="http://schemas.openxmlformats.org/package/2006/relationships"><Relationship Id="rId1" Type="http://schemas.openxmlformats.org/officeDocument/2006/relationships/tags" Target="../tags/tag16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1.xml"/></Relationships>
</file>

<file path=ppt/slides/_rels/slide1626.xml.rels><?xml version='1.0' encoding='UTF-8' standalone='yes'?>
<Relationships xmlns="http://schemas.openxmlformats.org/package/2006/relationships"><Relationship Id="rId1" Type="http://schemas.openxmlformats.org/officeDocument/2006/relationships/tags" Target="../tags/tag16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5.xml"/></Relationships>
</file>

<file path=ppt/slides/_rels/slide1628.xml.rels><?xml version='1.0' encoding='UTF-8' standalone='yes'?>
<Relationships xmlns="http://schemas.openxmlformats.org/package/2006/relationships"><Relationship Id="rId1" Type="http://schemas.openxmlformats.org/officeDocument/2006/relationships/tags" Target="../tags/tag16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7.xml"/></Relationships>
</file>

<file path=ppt/slides/_rels/slide1635.xml.rels><?xml version='1.0' encoding='UTF-8' standalone='yes'?>
<Relationships xmlns="http://schemas.openxmlformats.org/package/2006/relationships"><Relationship Id="rId1" Type="http://schemas.openxmlformats.org/officeDocument/2006/relationships/tags" Target="../tags/tag16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4.xml"/></Relationships>
</file>

<file path=ppt/slides/_rels/slide1643.xml.rels><?xml version='1.0' encoding='UTF-8' standalone='yes'?>
<Relationships xmlns="http://schemas.openxmlformats.org/package/2006/relationships"><Relationship Id="rId1" Type="http://schemas.openxmlformats.org/officeDocument/2006/relationships/tags" Target="../tags/tag16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2.xml"/></Relationships>
</file>

<file path=ppt/slides/_rels/slide1649.xml.rels><?xml version='1.0' encoding='UTF-8' standalone='yes'?>
<Relationships xmlns="http://schemas.openxmlformats.org/package/2006/relationships"><Relationship Id="rId1" Type="http://schemas.openxmlformats.org/officeDocument/2006/relationships/tags" Target="../tags/tag16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8.xml"/></Relationships>
</file>

<file path=ppt/slides/_rels/slide1651.xml.rels><?xml version='1.0' encoding='UTF-8' standalone='yes'?>
<Relationships xmlns="http://schemas.openxmlformats.org/package/2006/relationships"><Relationship Id="rId1" Type="http://schemas.openxmlformats.org/officeDocument/2006/relationships/tags" Target="../tags/tag16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0.xml"/></Relationships>
</file>

<file path=ppt/slides/_rels/slide1657.xml.rels><?xml version='1.0' encoding='UTF-8' standalone='yes'?>
<Relationships xmlns="http://schemas.openxmlformats.org/package/2006/relationships"><Relationship Id="rId1" Type="http://schemas.openxmlformats.org/officeDocument/2006/relationships/tags" Target="../tags/tag16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6.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s>
</file>

<file path=ppt/slides/_rels/slide1664.xml.rels><?xml version='1.0' encoding='UTF-8' standalone='yes'?>
<Relationships xmlns="http://schemas.openxmlformats.org/package/2006/relationships"><Relationship Id="rId1" Type="http://schemas.openxmlformats.org/officeDocument/2006/relationships/tags" Target="../tags/tag16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3.xml"/></Relationships>
</file>

<file path=ppt/slides/_rels/slide1672.xml.rels><?xml version='1.0' encoding='UTF-8' standalone='yes'?>
<Relationships xmlns="http://schemas.openxmlformats.org/package/2006/relationships"><Relationship Id="rId1" Type="http://schemas.openxmlformats.org/officeDocument/2006/relationships/tags" Target="../tags/tag16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1.xml"/></Relationships>
</file>

<file path=ppt/slides/_rels/slide1677.xml.rels><?xml version='1.0' encoding='UTF-8' standalone='yes'?>
<Relationships xmlns="http://schemas.openxmlformats.org/package/2006/relationships"><Relationship Id="rId1" Type="http://schemas.openxmlformats.org/officeDocument/2006/relationships/tags" Target="../tags/tag17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6.xml"/></Relationships>
</file>

<file path=ppt/slides/_rels/slide1678.xml.rels><?xml version='1.0' encoding='UTF-8' standalone='yes'?>
<Relationships xmlns="http://schemas.openxmlformats.org/package/2006/relationships"><Relationship Id="rId1" Type="http://schemas.openxmlformats.org/officeDocument/2006/relationships/tags" Target="../tags/tag17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7.xml"/></Relationships>
</file>

<file path=ppt/slides/_rels/slide1680.xml.rels><?xml version='1.0' encoding='UTF-8' standalone='yes'?>
<Relationships xmlns="http://schemas.openxmlformats.org/package/2006/relationships"><Relationship Id="rId1" Type="http://schemas.openxmlformats.org/officeDocument/2006/relationships/tags" Target="../tags/tag17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9.xml"/></Relationships>
</file>

<file path=ppt/slides/_rels/slide1686.xml.rels><?xml version='1.0' encoding='UTF-8' standalone='yes'?>
<Relationships xmlns="http://schemas.openxmlformats.org/package/2006/relationships"><Relationship Id="rId1" Type="http://schemas.openxmlformats.org/officeDocument/2006/relationships/tags" Target="../tags/tag17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5.xml"/></Relationships>
</file>

<file path=ppt/slides/_rels/slide1693.xml.rels><?xml version='1.0' encoding='UTF-8' standalone='yes'?>
<Relationships xmlns="http://schemas.openxmlformats.org/package/2006/relationships"><Relationship Id="rId1" Type="http://schemas.openxmlformats.org/officeDocument/2006/relationships/tags" Target="../tags/tag17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2.xml"/></Relationships>
</file>

<file path=ppt/slides/_rels/slide1695.xml.rels><?xml version='1.0' encoding='UTF-8' standalone='yes'?>
<Relationships xmlns="http://schemas.openxmlformats.org/package/2006/relationships"><Relationship Id="rId1" Type="http://schemas.openxmlformats.org/officeDocument/2006/relationships/tags" Target="../tags/tag17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4.xml"/></Relationships>
</file>

<file path=ppt/slides/_rels/slide1702.xml.rels><?xml version='1.0' encoding='UTF-8' standalone='yes'?>
<Relationships xmlns="http://schemas.openxmlformats.org/package/2006/relationships"><Relationship Id="rId1" Type="http://schemas.openxmlformats.org/officeDocument/2006/relationships/tags" Target="../tags/tag17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1.xml"/></Relationships>
</file>

<file path=ppt/slides/_rels/slide1704.xml.rels><?xml version='1.0' encoding='UTF-8' standalone='yes'?>
<Relationships xmlns="http://schemas.openxmlformats.org/package/2006/relationships"><Relationship Id="rId1" Type="http://schemas.openxmlformats.org/officeDocument/2006/relationships/tags" Target="../tags/tag17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3.xml"/></Relationships>
</file>

<file path=ppt/slides/_rels/slide1710.xml.rels><?xml version='1.0' encoding='UTF-8' standalone='yes'?>
<Relationships xmlns="http://schemas.openxmlformats.org/package/2006/relationships"><Relationship Id="rId1" Type="http://schemas.openxmlformats.org/officeDocument/2006/relationships/tags" Target="../tags/tag17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9.xml"/></Relationships>
</file>

<file path=ppt/slides/_rels/slide1716.xml.rels><?xml version='1.0' encoding='UTF-8' standalone='yes'?>
<Relationships xmlns="http://schemas.openxmlformats.org/package/2006/relationships"><Relationship Id="rId1" Type="http://schemas.openxmlformats.org/officeDocument/2006/relationships/tags" Target="../tags/tag17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5.xml"/></Relationships>
</file>

<file path=ppt/slides/_rels/slide1718.xml.rels><?xml version='1.0' encoding='UTF-8' standalone='yes'?>
<Relationships xmlns="http://schemas.openxmlformats.org/package/2006/relationships"><Relationship Id="rId1" Type="http://schemas.openxmlformats.org/officeDocument/2006/relationships/tags" Target="../tags/tag17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7.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 Id="rId7" Type="http://schemas.openxmlformats.org/officeDocument/2006/relationships/chart" Target="../charts/chart344.xml"/></Relationships>
</file>

<file path=ppt/slides/_rels/slide1724.xml.rels><?xml version='1.0' encoding='UTF-8' standalone='yes'?>
<Relationships xmlns="http://schemas.openxmlformats.org/package/2006/relationships"><Relationship Id="rId1" Type="http://schemas.openxmlformats.org/officeDocument/2006/relationships/tags" Target="../tags/tag17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3.xml"/></Relationships>
</file>

<file path=ppt/slides/_rels/slide1725.xml.rels><?xml version='1.0' encoding='UTF-8' standalone='yes'?>
<Relationships xmlns="http://schemas.openxmlformats.org/package/2006/relationships"><Relationship Id="rId1" Type="http://schemas.openxmlformats.org/officeDocument/2006/relationships/tags" Target="../tags/tag17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4.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s>
</file>

<file path=ppt/slides/_rels/slide1731.xml.rels><?xml version='1.0' encoding='UTF-8' standalone='yes'?>
<Relationships xmlns="http://schemas.openxmlformats.org/package/2006/relationships"><Relationship Id="rId1" Type="http://schemas.openxmlformats.org/officeDocument/2006/relationships/tags" Target="../tags/tag17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0.xml"/></Relationships>
</file>

<file path=ppt/slides/_rels/slide1733.xml.rels><?xml version='1.0' encoding='UTF-8' standalone='yes'?>
<Relationships xmlns="http://schemas.openxmlformats.org/package/2006/relationships"><Relationship Id="rId1" Type="http://schemas.openxmlformats.org/officeDocument/2006/relationships/tags" Target="../tags/tag17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2.xml"/></Relationships>
</file>

<file path=ppt/slides/_rels/slide1739.xml.rels><?xml version='1.0' encoding='UTF-8' standalone='yes'?>
<Relationships xmlns="http://schemas.openxmlformats.org/package/2006/relationships"><Relationship Id="rId1" Type="http://schemas.openxmlformats.org/officeDocument/2006/relationships/tags" Target="../tags/tag17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8.xml"/></Relationships>
</file>

<file path=ppt/slides/_rels/slide1747.xml.rels><?xml version='1.0' encoding='UTF-8' standalone='yes'?>
<Relationships xmlns="http://schemas.openxmlformats.org/package/2006/relationships"><Relationship Id="rId1" Type="http://schemas.openxmlformats.org/officeDocument/2006/relationships/tags" Target="../tags/tag17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6.xml"/></Relationships>
</file>

<file path=ppt/slides/_rels/slide1753.xml.rels><?xml version='1.0' encoding='UTF-8' standalone='yes'?>
<Relationships xmlns="http://schemas.openxmlformats.org/package/2006/relationships"><Relationship Id="rId1" Type="http://schemas.openxmlformats.org/officeDocument/2006/relationships/tags" Target="../tags/tag17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2.xml"/></Relationships>
</file>

<file path=ppt/slides/_rels/slide1754.xml.rels><?xml version='1.0' encoding='UTF-8' standalone='yes'?>
<Relationships xmlns="http://schemas.openxmlformats.org/package/2006/relationships"><Relationship Id="rId1" Type="http://schemas.openxmlformats.org/officeDocument/2006/relationships/tags" Target="../tags/tag17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3.xml"/></Relationships>
</file>

<file path=ppt/slides/_rels/slide1760.xml.rels><?xml version='1.0' encoding='UTF-8' standalone='yes'?>
<Relationships xmlns="http://schemas.openxmlformats.org/package/2006/relationships"><Relationship Id="rId1" Type="http://schemas.openxmlformats.org/officeDocument/2006/relationships/tags" Target="../tags/tag17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9.xml"/></Relationships>
</file>

<file path=ppt/slides/_rels/slide1762.xml.rels><?xml version='1.0' encoding='UTF-8' standalone='yes'?>
<Relationships xmlns="http://schemas.openxmlformats.org/package/2006/relationships"><Relationship Id="rId1" Type="http://schemas.openxmlformats.org/officeDocument/2006/relationships/tags" Target="../tags/tag17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1.xml"/></Relationships>
</file>

<file path=ppt/slides/_rels/slide1766.xml.rels><?xml version='1.0' encoding='UTF-8' standalone='yes'?>
<Relationships xmlns="http://schemas.openxmlformats.org/package/2006/relationships"><Relationship Id="rId1" Type="http://schemas.openxmlformats.org/officeDocument/2006/relationships/tags" Target="../tags/tag17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4.xml"/><Relationship Id="rId6" Type="http://schemas.openxmlformats.org/officeDocument/2006/relationships/chart" Target="../charts/chart1755.xml"/><Relationship Id="rId7" Type="http://schemas.openxmlformats.org/officeDocument/2006/relationships/chart" Target="../charts/chart1756.xml"/><Relationship Id="rId8" Type="http://schemas.openxmlformats.org/officeDocument/2006/relationships/chart" Target="../charts/chart1757.xml"/></Relationships>
</file>

<file path=ppt/slides/_rels/slide1768.xml.rels><?xml version='1.0' encoding='UTF-8' standalone='yes'?>
<Relationships xmlns="http://schemas.openxmlformats.org/package/2006/relationships"><Relationship Id="rId1" Type="http://schemas.openxmlformats.org/officeDocument/2006/relationships/tags" Target="../tags/tag17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2.xml"/><Relationship Id="rId6" Type="http://schemas.openxmlformats.org/officeDocument/2006/relationships/chart" Target="../charts/chart1763.xml"/><Relationship Id="rId7" Type="http://schemas.openxmlformats.org/officeDocument/2006/relationships/chart" Target="../charts/chart1764.xml"/><Relationship Id="rId8" Type="http://schemas.openxmlformats.org/officeDocument/2006/relationships/chart" Target="../charts/chart1765.xml"/></Relationships>
</file>

<file path=ppt/slides/_rels/slide1775.xml.rels><?xml version='1.0' encoding='UTF-8' standalone='yes'?>
<Relationships xmlns="http://schemas.openxmlformats.org/package/2006/relationships"><Relationship Id="rId1" Type="http://schemas.openxmlformats.org/officeDocument/2006/relationships/tags" Target="../tags/tag18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0.xml"/><Relationship Id="rId6" Type="http://schemas.openxmlformats.org/officeDocument/2006/relationships/chart" Target="../charts/chart1791.xml"/><Relationship Id="rId7" Type="http://schemas.openxmlformats.org/officeDocument/2006/relationships/chart" Target="../charts/chart1792.xml"/><Relationship Id="rId8" Type="http://schemas.openxmlformats.org/officeDocument/2006/relationships/chart" Target="../charts/chart1793.xml"/></Relationships>
</file>

<file path=ppt/slides/_rels/slide1783.xml.rels><?xml version='1.0' encoding='UTF-8' standalone='yes'?>
<Relationships xmlns="http://schemas.openxmlformats.org/package/2006/relationships"><Relationship Id="rId1" Type="http://schemas.openxmlformats.org/officeDocument/2006/relationships/tags" Target="../tags/tag18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2.xml"/><Relationship Id="rId6" Type="http://schemas.openxmlformats.org/officeDocument/2006/relationships/chart" Target="../charts/chart1823.xml"/><Relationship Id="rId7" Type="http://schemas.openxmlformats.org/officeDocument/2006/relationships/chart" Target="../charts/chart1824.xml"/><Relationship Id="rId8" Type="http://schemas.openxmlformats.org/officeDocument/2006/relationships/chart" Target="../charts/chart1825.xml"/></Relationships>
</file>

<file path=ppt/slides/_rels/slide1789.xml.rels><?xml version='1.0' encoding='UTF-8' standalone='yes'?>
<Relationships xmlns="http://schemas.openxmlformats.org/package/2006/relationships"><Relationship Id="rId1" Type="http://schemas.openxmlformats.org/officeDocument/2006/relationships/tags" Target="../tags/tag18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6.xml"/><Relationship Id="rId6" Type="http://schemas.openxmlformats.org/officeDocument/2006/relationships/chart" Target="../charts/chart1847.xml"/><Relationship Id="rId7" Type="http://schemas.openxmlformats.org/officeDocument/2006/relationships/chart" Target="../charts/chart1848.xml"/><Relationship Id="rId8" Type="http://schemas.openxmlformats.org/officeDocument/2006/relationships/chart" Target="../charts/chart1849.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 Id="rId7" Type="http://schemas.openxmlformats.org/officeDocument/2006/relationships/chart" Target="../charts/chart358.xml"/></Relationships>
</file>

<file path=ppt/slides/_rels/slide1791.xml.rels><?xml version='1.0' encoding='UTF-8' standalone='yes'?>
<Relationships xmlns="http://schemas.openxmlformats.org/package/2006/relationships"><Relationship Id="rId1" Type="http://schemas.openxmlformats.org/officeDocument/2006/relationships/tags" Target="../tags/tag18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4.xml"/><Relationship Id="rId6" Type="http://schemas.openxmlformats.org/officeDocument/2006/relationships/chart" Target="../charts/chart1855.xml"/><Relationship Id="rId7" Type="http://schemas.openxmlformats.org/officeDocument/2006/relationships/chart" Target="../charts/chart1856.xml"/><Relationship Id="rId8" Type="http://schemas.openxmlformats.org/officeDocument/2006/relationships/chart" Target="../charts/chart1857.xml"/></Relationships>
</file>

<file path=ppt/slides/_rels/slide1798.xml.rels><?xml version='1.0' encoding='UTF-8' standalone='yes'?>
<Relationships xmlns="http://schemas.openxmlformats.org/package/2006/relationships"><Relationship Id="rId1" Type="http://schemas.openxmlformats.org/officeDocument/2006/relationships/tags" Target="../tags/tag18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2.xml"/><Relationship Id="rId6" Type="http://schemas.openxmlformats.org/officeDocument/2006/relationships/chart" Target="../charts/chart1883.xml"/><Relationship Id="rId7" Type="http://schemas.openxmlformats.org/officeDocument/2006/relationships/chart" Target="../charts/chart1884.xml"/><Relationship Id="rId8" Type="http://schemas.openxmlformats.org/officeDocument/2006/relationships/chart" Target="../charts/chart1885.xml"/></Relationships>
</file>

<file path=ppt/slides/_rels/slide1800.xml.rels><?xml version='1.0' encoding='UTF-8' standalone='yes'?>
<Relationships xmlns="http://schemas.openxmlformats.org/package/2006/relationships"><Relationship Id="rId1" Type="http://schemas.openxmlformats.org/officeDocument/2006/relationships/tags" Target="../tags/tag18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0.xml"/><Relationship Id="rId6" Type="http://schemas.openxmlformats.org/officeDocument/2006/relationships/chart" Target="../charts/chart1891.xml"/><Relationship Id="rId7" Type="http://schemas.openxmlformats.org/officeDocument/2006/relationships/chart" Target="../charts/chart1892.xml"/><Relationship Id="rId8" Type="http://schemas.openxmlformats.org/officeDocument/2006/relationships/chart" Target="../charts/chart1893.xml"/></Relationships>
</file>

<file path=ppt/slides/_rels/slide1806.xml.rels><?xml version='1.0' encoding='UTF-8' standalone='yes'?>
<Relationships xmlns="http://schemas.openxmlformats.org/package/2006/relationships"><Relationship Id="rId1" Type="http://schemas.openxmlformats.org/officeDocument/2006/relationships/tags" Target="../tags/tag18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4.xml"/><Relationship Id="rId6" Type="http://schemas.openxmlformats.org/officeDocument/2006/relationships/chart" Target="../charts/chart1915.xml"/><Relationship Id="rId7" Type="http://schemas.openxmlformats.org/officeDocument/2006/relationships/chart" Target="../charts/chart1916.xml"/><Relationship Id="rId8" Type="http://schemas.openxmlformats.org/officeDocument/2006/relationships/chart" Target="../charts/chart1917.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s>
</file>

<file path=ppt/slides/_rels/slide1815.xml.rels><?xml version='1.0' encoding='UTF-8' standalone='yes'?>
<Relationships xmlns="http://schemas.openxmlformats.org/package/2006/relationships"><Relationship Id="rId1" Type="http://schemas.openxmlformats.org/officeDocument/2006/relationships/tags" Target="../tags/tag18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2.xml"/><Relationship Id="rId6" Type="http://schemas.openxmlformats.org/officeDocument/2006/relationships/chart" Target="../charts/chart1943.xml"/></Relationships>
</file>

<file path=ppt/slides/_rels/slide1820.xml.rels><?xml version='1.0' encoding='UTF-8' standalone='yes'?>
<Relationships xmlns="http://schemas.openxmlformats.org/package/2006/relationships"><Relationship Id="rId1" Type="http://schemas.openxmlformats.org/officeDocument/2006/relationships/tags" Target="../tags/tag18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2.xml"/><Relationship Id="rId6" Type="http://schemas.openxmlformats.org/officeDocument/2006/relationships/chart" Target="../charts/chart1953.xml"/></Relationships>
</file>

<file path=ppt/slides/_rels/slide1821.xml.rels><?xml version='1.0' encoding='UTF-8' standalone='yes'?>
<Relationships xmlns="http://schemas.openxmlformats.org/package/2006/relationships"><Relationship Id="rId1" Type="http://schemas.openxmlformats.org/officeDocument/2006/relationships/tags" Target="../tags/tag18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4.xml"/><Relationship Id="rId6" Type="http://schemas.openxmlformats.org/officeDocument/2006/relationships/chart" Target="../charts/chart1955.xml"/></Relationships>
</file>

<file path=ppt/slides/_rels/slide1823.xml.rels><?xml version='1.0' encoding='UTF-8' standalone='yes'?>
<Relationships xmlns="http://schemas.openxmlformats.org/package/2006/relationships"><Relationship Id="rId1" Type="http://schemas.openxmlformats.org/officeDocument/2006/relationships/tags" Target="../tags/tag18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8.xml"/><Relationship Id="rId6" Type="http://schemas.openxmlformats.org/officeDocument/2006/relationships/chart" Target="../charts/chart1959.xml"/></Relationships>
</file>

<file path=ppt/slides/_rels/slide1827.xml.rels><?xml version='1.0' encoding='UTF-8' standalone='yes'?>
<Relationships xmlns="http://schemas.openxmlformats.org/package/2006/relationships"><Relationship Id="rId1" Type="http://schemas.openxmlformats.org/officeDocument/2006/relationships/tags" Target="../tags/tag18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6.xml"/><Relationship Id="rId6" Type="http://schemas.openxmlformats.org/officeDocument/2006/relationships/chart" Target="../charts/chart1967.xml"/></Relationships>
</file>

<file path=ppt/slides/_rels/slide1829.xml.rels><?xml version='1.0' encoding='UTF-8' standalone='yes'?>
<Relationships xmlns="http://schemas.openxmlformats.org/package/2006/relationships"><Relationship Id="rId1" Type="http://schemas.openxmlformats.org/officeDocument/2006/relationships/tags" Target="../tags/tag18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70.xml"/><Relationship Id="rId6" Type="http://schemas.openxmlformats.org/officeDocument/2006/relationships/chart" Target="../charts/chart1971.xml"/></Relationships>
</file>

<file path=ppt/slides/_rels/slide1842.xml.rels><?xml version='1.0' encoding='UTF-8' standalone='yes'?>
<Relationships xmlns="http://schemas.openxmlformats.org/package/2006/relationships"><Relationship Id="rId1" Type="http://schemas.openxmlformats.org/officeDocument/2006/relationships/tags" Target="../tags/tag18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6.xml"/><Relationship Id="rId6" Type="http://schemas.openxmlformats.org/officeDocument/2006/relationships/chart" Target="../charts/chart1997.xml"/></Relationships>
</file>

<file path=ppt/slides/_rels/slide1844.xml.rels><?xml version='1.0' encoding='UTF-8' standalone='yes'?>
<Relationships xmlns="http://schemas.openxmlformats.org/package/2006/relationships"><Relationship Id="rId1" Type="http://schemas.openxmlformats.org/officeDocument/2006/relationships/tags" Target="../tags/tag18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0.xml"/><Relationship Id="rId6" Type="http://schemas.openxmlformats.org/officeDocument/2006/relationships/chart" Target="../charts/chart2001.xml"/></Relationships>
</file>

<file path=ppt/slides/_rels/slide1850.xml.rels><?xml version='1.0' encoding='UTF-8' standalone='yes'?>
<Relationships xmlns="http://schemas.openxmlformats.org/package/2006/relationships"><Relationship Id="rId1" Type="http://schemas.openxmlformats.org/officeDocument/2006/relationships/tags" Target="../tags/tag1877.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11.xml"/></Relationships>
</file>

<file path=ppt/slides/_rels/slide1856.xml.rels><?xml version='1.0' encoding='UTF-8' standalone='yes'?>
<Relationships xmlns="http://schemas.openxmlformats.org/package/2006/relationships"><Relationship Id="rId1" Type="http://schemas.openxmlformats.org/officeDocument/2006/relationships/tags" Target="../tags/tag188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17.xml"/></Relationships>
</file>

<file path=ppt/slides/_rels/slide1858.xml.rels><?xml version='1.0' encoding='UTF-8' standalone='yes'?>
<Relationships xmlns="http://schemas.openxmlformats.org/package/2006/relationships"><Relationship Id="rId1" Type="http://schemas.openxmlformats.org/officeDocument/2006/relationships/tags" Target="../tags/tag188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19.xml"/></Relationships>
</file>

<file path=ppt/slides/_rels/slide1864.xml.rels><?xml version='1.0' encoding='UTF-8' standalone='yes'?>
<Relationships xmlns="http://schemas.openxmlformats.org/package/2006/relationships"><Relationship Id="rId1" Type="http://schemas.openxmlformats.org/officeDocument/2006/relationships/tags" Target="../tags/tag189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25.xml"/></Relationships>
</file>

<file path=ppt/slides/_rels/slide1865.xml.rels><?xml version='1.0' encoding='UTF-8' standalone='yes'?>
<Relationships xmlns="http://schemas.openxmlformats.org/package/2006/relationships"><Relationship Id="rId1" Type="http://schemas.openxmlformats.org/officeDocument/2006/relationships/tags" Target="../tags/tag189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26.xml"/><Relationship Id="rId6" Type="http://schemas.openxmlformats.org/officeDocument/2006/relationships/chart" Target="../charts/chart2027.xml"/><Relationship Id="rId7" Type="http://schemas.openxmlformats.org/officeDocument/2006/relationships/chart" Target="../charts/chart2028.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s>
</file>

<file path=ppt/slides/_rels/slide1871.xml.rels><?xml version='1.0' encoding='UTF-8' standalone='yes'?>
<Relationships xmlns="http://schemas.openxmlformats.org/package/2006/relationships"><Relationship Id="rId1" Type="http://schemas.openxmlformats.org/officeDocument/2006/relationships/tags" Target="../tags/tag1898.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44.xml"/><Relationship Id="rId6" Type="http://schemas.openxmlformats.org/officeDocument/2006/relationships/chart" Target="../charts/chart2045.xml"/><Relationship Id="rId7" Type="http://schemas.openxmlformats.org/officeDocument/2006/relationships/chart" Target="../charts/chart2046.xml"/></Relationships>
</file>

<file path=ppt/slides/_rels/slide1873.xml.rels><?xml version='1.0' encoding='UTF-8' standalone='yes'?>
<Relationships xmlns="http://schemas.openxmlformats.org/package/2006/relationships"><Relationship Id="rId1" Type="http://schemas.openxmlformats.org/officeDocument/2006/relationships/tags" Target="../tags/tag1900.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50.xml"/><Relationship Id="rId6" Type="http://schemas.openxmlformats.org/officeDocument/2006/relationships/chart" Target="../charts/chart2051.xml"/><Relationship Id="rId7" Type="http://schemas.openxmlformats.org/officeDocument/2006/relationships/chart" Target="../charts/chart2052.xml"/></Relationships>
</file>

<file path=ppt/slides/_rels/slide1879.xml.rels><?xml version='1.0' encoding='UTF-8' standalone='yes'?>
<Relationships xmlns="http://schemas.openxmlformats.org/package/2006/relationships"><Relationship Id="rId1" Type="http://schemas.openxmlformats.org/officeDocument/2006/relationships/tags" Target="../tags/tag1906.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068.xml"/><Relationship Id="rId6" Type="http://schemas.openxmlformats.org/officeDocument/2006/relationships/chart" Target="../charts/chart2069.xml"/><Relationship Id="rId7" Type="http://schemas.openxmlformats.org/officeDocument/2006/relationships/chart" Target="../charts/chart2070.xml"/></Relationships>
</file>

<file path=ppt/slides/_rels/slide1887.xml.rels><?xml version='1.0' encoding='UTF-8' standalone='yes'?>
<Relationships xmlns="http://schemas.openxmlformats.org/package/2006/relationships"><Relationship Id="rId1" Type="http://schemas.openxmlformats.org/officeDocument/2006/relationships/tags" Target="../tags/tag1914.xml"/><Relationship Id="rId2" Type="http://schemas.openxmlformats.org/officeDocument/2006/relationships/slideLayout" Target="../slideLayouts/slideLayout7.xml"/><Relationship Id="rId3" Type="http://schemas.openxmlformats.org/officeDocument/2006/relationships/chart" Target="../charts/chart2110.xml"/><Relationship Id="rId4" Type="http://schemas.openxmlformats.org/officeDocument/2006/relationships/oleObject" Target="../embeddings/oleObject30.bin"/><Relationship Id="rId5" Type="http://schemas.openxmlformats.org/officeDocument/2006/relationships/image" Target="../media/image31.emf"/><Relationship Id="rId6" Type="http://schemas.openxmlformats.org/officeDocument/2006/relationships/chart" Target="../charts/chart2111.xml"/><Relationship Id="rId7" Type="http://schemas.openxmlformats.org/officeDocument/2006/relationships/chart" Target="../charts/chart2112.xml"/><Relationship Id="rId8" Type="http://schemas.openxmlformats.org/officeDocument/2006/relationships/chart" Target="../charts/chart2113.xml"/><Relationship Id="rId9" Type="http://schemas.openxmlformats.org/officeDocument/2006/relationships/chart" Target="../charts/chart2114.xml"/><Relationship Id="rId10" Type="http://schemas.openxmlformats.org/officeDocument/2006/relationships/chart" Target="../charts/chart2115.xml"/></Relationships>
</file>

<file path=ppt/slides/_rels/slide1893.xml.rels><?xml version='1.0' encoding='UTF-8' standalone='yes'?>
<Relationships xmlns="http://schemas.openxmlformats.org/package/2006/relationships"><Relationship Id="rId1" Type="http://schemas.openxmlformats.org/officeDocument/2006/relationships/tags" Target="../tags/tag1920.xml"/><Relationship Id="rId2" Type="http://schemas.openxmlformats.org/officeDocument/2006/relationships/slideLayout" Target="../slideLayouts/slideLayout7.xml"/><Relationship Id="rId3" Type="http://schemas.openxmlformats.org/officeDocument/2006/relationships/chart" Target="../charts/chart2146.xml"/><Relationship Id="rId4" Type="http://schemas.openxmlformats.org/officeDocument/2006/relationships/oleObject" Target="../embeddings/oleObject30.bin"/><Relationship Id="rId5" Type="http://schemas.openxmlformats.org/officeDocument/2006/relationships/image" Target="../media/image31.emf"/><Relationship Id="rId6" Type="http://schemas.openxmlformats.org/officeDocument/2006/relationships/chart" Target="../charts/chart2147.xml"/><Relationship Id="rId7" Type="http://schemas.openxmlformats.org/officeDocument/2006/relationships/chart" Target="../charts/chart2148.xml"/><Relationship Id="rId8" Type="http://schemas.openxmlformats.org/officeDocument/2006/relationships/chart" Target="../charts/chart2149.xml"/><Relationship Id="rId9" Type="http://schemas.openxmlformats.org/officeDocument/2006/relationships/chart" Target="../charts/chart2150.xml"/><Relationship Id="rId10" Type="http://schemas.openxmlformats.org/officeDocument/2006/relationships/chart" Target="../charts/chart2151.xml"/></Relationships>
</file>

<file path=ppt/slides/_rels/slide1894.xml.rels><?xml version='1.0' encoding='UTF-8' standalone='yes'?>
<Relationships xmlns="http://schemas.openxmlformats.org/package/2006/relationships"><Relationship Id="rId1" Type="http://schemas.openxmlformats.org/officeDocument/2006/relationships/tags" Target="../tags/tag1921.xml"/><Relationship Id="rId2" Type="http://schemas.openxmlformats.org/officeDocument/2006/relationships/slideLayout" Target="../slideLayouts/slideLayout7.xml"/><Relationship Id="rId3" Type="http://schemas.openxmlformats.org/officeDocument/2006/relationships/chart" Target="../charts/chart2152.xml"/><Relationship Id="rId4" Type="http://schemas.openxmlformats.org/officeDocument/2006/relationships/oleObject" Target="../embeddings/oleObject30.bin"/><Relationship Id="rId5" Type="http://schemas.openxmlformats.org/officeDocument/2006/relationships/image" Target="../media/image31.emf"/><Relationship Id="rId6" Type="http://schemas.openxmlformats.org/officeDocument/2006/relationships/chart" Target="../charts/chart2153.xml"/><Relationship Id="rId7" Type="http://schemas.openxmlformats.org/officeDocument/2006/relationships/chart" Target="../charts/chart2154.xml"/><Relationship Id="rId8" Type="http://schemas.openxmlformats.org/officeDocument/2006/relationships/chart" Target="../charts/chart2155.xml"/><Relationship Id="rId9" Type="http://schemas.openxmlformats.org/officeDocument/2006/relationships/chart" Target="../charts/chart2156.xml"/><Relationship Id="rId10" Type="http://schemas.openxmlformats.org/officeDocument/2006/relationships/chart" Target="../charts/chart2157.xml"/></Relationships>
</file>

<file path=ppt/slides/_rels/slide1896.xml.rels><?xml version='1.0' encoding='UTF-8' standalone='yes'?>
<Relationships xmlns="http://schemas.openxmlformats.org/package/2006/relationships"><Relationship Id="rId1" Type="http://schemas.openxmlformats.org/officeDocument/2006/relationships/tags" Target="../tags/tag1923.xml"/><Relationship Id="rId2" Type="http://schemas.openxmlformats.org/officeDocument/2006/relationships/slideLayout" Target="../slideLayouts/slideLayout7.xml"/><Relationship Id="rId3" Type="http://schemas.openxmlformats.org/officeDocument/2006/relationships/chart" Target="../charts/chart2164.xml"/><Relationship Id="rId4" Type="http://schemas.openxmlformats.org/officeDocument/2006/relationships/oleObject" Target="../embeddings/oleObject30.bin"/><Relationship Id="rId5" Type="http://schemas.openxmlformats.org/officeDocument/2006/relationships/image" Target="../media/image31.emf"/><Relationship Id="rId6" Type="http://schemas.openxmlformats.org/officeDocument/2006/relationships/chart" Target="../charts/chart2165.xml"/><Relationship Id="rId7" Type="http://schemas.openxmlformats.org/officeDocument/2006/relationships/chart" Target="../charts/chart2166.xml"/><Relationship Id="rId8" Type="http://schemas.openxmlformats.org/officeDocument/2006/relationships/chart" Target="../charts/chart2167.xml"/><Relationship Id="rId9" Type="http://schemas.openxmlformats.org/officeDocument/2006/relationships/chart" Target="../charts/chart2168.xml"/><Relationship Id="rId10" Type="http://schemas.openxmlformats.org/officeDocument/2006/relationships/chart" Target="../charts/chart2169.xml"/></Relationships>
</file>

<file path=ppt/slides/_rels/slide1903.xml.rels><?xml version='1.0' encoding='UTF-8' standalone='yes'?>
<Relationships xmlns="http://schemas.openxmlformats.org/package/2006/relationships"><Relationship Id="rId1" Type="http://schemas.openxmlformats.org/officeDocument/2006/relationships/tags" Target="../tags/tag1930.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200.xml"/><Relationship Id="rId6" Type="http://schemas.openxmlformats.org/officeDocument/2006/relationships/chart" Target="../charts/chart2201.xml"/><Relationship Id="rId7" Type="http://schemas.openxmlformats.org/officeDocument/2006/relationships/chart" Target="../charts/chart2202.xml"/><Relationship Id="rId8" Type="http://schemas.openxmlformats.org/officeDocument/2006/relationships/chart" Target="../charts/chart2203.xml"/><Relationship Id="rId9" Type="http://schemas.openxmlformats.org/officeDocument/2006/relationships/chart" Target="../charts/chart2204.xml"/></Relationships>
</file>

<file path=ppt/slides/_rels/slide1905.xml.rels><?xml version='1.0' encoding='UTF-8' standalone='yes'?>
<Relationships xmlns="http://schemas.openxmlformats.org/package/2006/relationships"><Relationship Id="rId1" Type="http://schemas.openxmlformats.org/officeDocument/2006/relationships/tags" Target="../tags/tag193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210.xml"/><Relationship Id="rId6" Type="http://schemas.openxmlformats.org/officeDocument/2006/relationships/chart" Target="../charts/chart2211.xml"/><Relationship Id="rId7" Type="http://schemas.openxmlformats.org/officeDocument/2006/relationships/chart" Target="../charts/chart2212.xml"/><Relationship Id="rId8" Type="http://schemas.openxmlformats.org/officeDocument/2006/relationships/chart" Target="../charts/chart2213.xml"/><Relationship Id="rId9" Type="http://schemas.openxmlformats.org/officeDocument/2006/relationships/chart" Target="../charts/chart2214.xml"/></Relationships>
</file>

<file path=ppt/slides/_rels/slide1909.xml.rels><?xml version='1.0' encoding='UTF-8' standalone='yes'?>
<Relationships xmlns="http://schemas.openxmlformats.org/package/2006/relationships"><Relationship Id="rId1" Type="http://schemas.openxmlformats.org/officeDocument/2006/relationships/tags" Target="../tags/tag1936.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230.xml"/><Relationship Id="rId6" Type="http://schemas.openxmlformats.org/officeDocument/2006/relationships/chart" Target="../charts/chart2231.xml"/><Relationship Id="rId7" Type="http://schemas.openxmlformats.org/officeDocument/2006/relationships/chart" Target="../charts/chart2232.xml"/><Relationship Id="rId8" Type="http://schemas.openxmlformats.org/officeDocument/2006/relationships/chart" Target="../charts/chart2233.xml"/><Relationship Id="rId9" Type="http://schemas.openxmlformats.org/officeDocument/2006/relationships/chart" Target="../charts/chart2234.xml"/></Relationships>
</file>

<file path=ppt/slides/_rels/slide1911.xml.rels><?xml version='1.0' encoding='UTF-8' standalone='yes'?>
<Relationships xmlns="http://schemas.openxmlformats.org/package/2006/relationships"><Relationship Id="rId1" Type="http://schemas.openxmlformats.org/officeDocument/2006/relationships/tags" Target="../tags/tag1938.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31.emf"/><Relationship Id="rId5" Type="http://schemas.openxmlformats.org/officeDocument/2006/relationships/chart" Target="../charts/chart2240.xml"/><Relationship Id="rId6" Type="http://schemas.openxmlformats.org/officeDocument/2006/relationships/chart" Target="../charts/chart2241.xml"/><Relationship Id="rId7" Type="http://schemas.openxmlformats.org/officeDocument/2006/relationships/chart" Target="../charts/chart2242.xml"/><Relationship Id="rId8" Type="http://schemas.openxmlformats.org/officeDocument/2006/relationships/chart" Target="../charts/chart2243.xml"/><Relationship Id="rId9" Type="http://schemas.openxmlformats.org/officeDocument/2006/relationships/chart" Target="../charts/chart2244.xml"/></Relationships>
</file>

<file path=ppt/slides/_rels/slide1917.xml.rels><?xml version='1.0' encoding='UTF-8' standalone='yes'?>
<Relationships xmlns="http://schemas.openxmlformats.org/package/2006/relationships"><Relationship Id="rId1" Type="http://schemas.openxmlformats.org/officeDocument/2006/relationships/tags" Target="../tags/tag1944.xml"/><Relationship Id="rId2" Type="http://schemas.openxmlformats.org/officeDocument/2006/relationships/slideLayout" Target="../slideLayouts/slideLayout7.xml"/><Relationship Id="rId3" Type="http://schemas.openxmlformats.org/officeDocument/2006/relationships/notesSlide" Target="../notesSlides/notesSlide809.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260.xml"/></Relationships>
</file>

<file path=ppt/slides/_rels/slide1931.xml.rels><?xml version='1.0' encoding='UTF-8' standalone='yes'?>
<Relationships xmlns="http://schemas.openxmlformats.org/package/2006/relationships"><Relationship Id="rId1" Type="http://schemas.openxmlformats.org/officeDocument/2006/relationships/tags" Target="../tags/tag1958.xml"/><Relationship Id="rId2" Type="http://schemas.openxmlformats.org/officeDocument/2006/relationships/slideLayout" Target="../slideLayouts/slideLayout7.xml"/><Relationship Id="rId3" Type="http://schemas.openxmlformats.org/officeDocument/2006/relationships/notesSlide" Target="../notesSlides/notesSlide823.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289.xml"/><Relationship Id="rId7" Type="http://schemas.openxmlformats.org/officeDocument/2006/relationships/chart" Target="../charts/chart2290.xml"/><Relationship Id="rId8" Type="http://schemas.openxmlformats.org/officeDocument/2006/relationships/chart" Target="../charts/chart2291.xml"/><Relationship Id="rId9" Type="http://schemas.openxmlformats.org/officeDocument/2006/relationships/chart" Target="../charts/chart2292.xml"/></Relationships>
</file>

<file path=ppt/slides/_rels/slide1932.xml.rels><?xml version='1.0' encoding='UTF-8' standalone='yes'?>
<Relationships xmlns="http://schemas.openxmlformats.org/package/2006/relationships"><Relationship Id="rId1" Type="http://schemas.openxmlformats.org/officeDocument/2006/relationships/tags" Target="../tags/tag1959.xml"/><Relationship Id="rId2" Type="http://schemas.openxmlformats.org/officeDocument/2006/relationships/slideLayout" Target="../slideLayouts/slideLayout7.xml"/><Relationship Id="rId3" Type="http://schemas.openxmlformats.org/officeDocument/2006/relationships/notesSlide" Target="../notesSlides/notesSlide824.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293.xml"/></Relationships>
</file>

<file path=ppt/slides/_rels/slide1934.xml.rels><?xml version='1.0' encoding='UTF-8' standalone='yes'?>
<Relationships xmlns="http://schemas.openxmlformats.org/package/2006/relationships"><Relationship Id="rId1" Type="http://schemas.openxmlformats.org/officeDocument/2006/relationships/tags" Target="../tags/tag1961.xml"/><Relationship Id="rId2" Type="http://schemas.openxmlformats.org/officeDocument/2006/relationships/slideLayout" Target="../slideLayouts/slideLayout7.xml"/><Relationship Id="rId3" Type="http://schemas.openxmlformats.org/officeDocument/2006/relationships/notesSlide" Target="../notesSlides/notesSlide826.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295.xml"/><Relationship Id="rId7" Type="http://schemas.openxmlformats.org/officeDocument/2006/relationships/chart" Target="../charts/chart2296.xml"/><Relationship Id="rId8" Type="http://schemas.openxmlformats.org/officeDocument/2006/relationships/chart" Target="../charts/chart2297.xml"/><Relationship Id="rId9" Type="http://schemas.openxmlformats.org/officeDocument/2006/relationships/chart" Target="../charts/chart2298.xml"/></Relationships>
</file>

<file path=ppt/slides/_rels/slide1938.xml.rels><?xml version='1.0' encoding='UTF-8' standalone='yes'?>
<Relationships xmlns="http://schemas.openxmlformats.org/package/2006/relationships"><Relationship Id="rId1" Type="http://schemas.openxmlformats.org/officeDocument/2006/relationships/tags" Target="../tags/tag1965.xml"/><Relationship Id="rId2" Type="http://schemas.openxmlformats.org/officeDocument/2006/relationships/slideLayout" Target="../slideLayouts/slideLayout7.xml"/><Relationship Id="rId3" Type="http://schemas.openxmlformats.org/officeDocument/2006/relationships/notesSlide" Target="../notesSlides/notesSlide830.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305.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 Id="rId7" Type="http://schemas.openxmlformats.org/officeDocument/2006/relationships/chart" Target="../charts/chart388.xml"/></Relationships>
</file>

<file path=ppt/slides/_rels/slide1940.xml.rels><?xml version='1.0' encoding='UTF-8' standalone='yes'?>
<Relationships xmlns="http://schemas.openxmlformats.org/package/2006/relationships"><Relationship Id="rId1" Type="http://schemas.openxmlformats.org/officeDocument/2006/relationships/tags" Target="../tags/tag1967.xml"/><Relationship Id="rId2" Type="http://schemas.openxmlformats.org/officeDocument/2006/relationships/slideLayout" Target="../slideLayouts/slideLayout7.xml"/><Relationship Id="rId3" Type="http://schemas.openxmlformats.org/officeDocument/2006/relationships/notesSlide" Target="../notesSlides/notesSlide832.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310.xml"/></Relationships>
</file>

<file path=ppt/slides/_rels/slide1946.xml.rels><?xml version='1.0' encoding='UTF-8' standalone='yes'?>
<Relationships xmlns="http://schemas.openxmlformats.org/package/2006/relationships"><Relationship Id="rId1" Type="http://schemas.openxmlformats.org/officeDocument/2006/relationships/tags" Target="../tags/tag1973.xml"/><Relationship Id="rId2" Type="http://schemas.openxmlformats.org/officeDocument/2006/relationships/slideLayout" Target="../slideLayouts/slideLayout7.xml"/><Relationship Id="rId3" Type="http://schemas.openxmlformats.org/officeDocument/2006/relationships/notesSlide" Target="../notesSlides/notesSlide838.xml"/><Relationship Id="rId4" Type="http://schemas.openxmlformats.org/officeDocument/2006/relationships/oleObject" Target="../embeddings/oleObject31.bin"/><Relationship Id="rId5" Type="http://schemas.openxmlformats.org/officeDocument/2006/relationships/image" Target="../media/image32.emf"/><Relationship Id="rId6" Type="http://schemas.openxmlformats.org/officeDocument/2006/relationships/chart" Target="../charts/chart2322.xml"/><Relationship Id="rId7" Type="http://schemas.openxmlformats.org/officeDocument/2006/relationships/chart" Target="../charts/chart2323.xml"/><Relationship Id="rId8" Type="http://schemas.openxmlformats.org/officeDocument/2006/relationships/chart" Target="../charts/chart2324.xml"/><Relationship Id="rId9" Type="http://schemas.openxmlformats.org/officeDocument/2006/relationships/chart" Target="../charts/chart2325.xml"/></Relationships>
</file>

<file path=ppt/slides/_rels/slide1955.xml.rels><?xml version='1.0' encoding='UTF-8' standalone='yes'?>
<Relationships xmlns="http://schemas.openxmlformats.org/package/2006/relationships"><Relationship Id="rId1" Type="http://schemas.openxmlformats.org/officeDocument/2006/relationships/tags" Target="../tags/tag1982.xml"/><Relationship Id="rId2" Type="http://schemas.openxmlformats.org/officeDocument/2006/relationships/slideLayout" Target="../slideLayouts/slideLayout7.xml"/><Relationship Id="rId3" Type="http://schemas.openxmlformats.org/officeDocument/2006/relationships/notesSlide" Target="../notesSlides/notesSlide8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2.xml"/><Relationship Id="rId7" Type="http://schemas.openxmlformats.org/officeDocument/2006/relationships/chart" Target="../charts/chart2343.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 Id="rId7" Type="http://schemas.openxmlformats.org/officeDocument/2006/relationships/chart" Target="../charts/chart392.xml"/></Relationships>
</file>

<file path=ppt/slides/_rels/slide1960.xml.rels><?xml version='1.0' encoding='UTF-8' standalone='yes'?>
<Relationships xmlns="http://schemas.openxmlformats.org/package/2006/relationships"><Relationship Id="rId1" Type="http://schemas.openxmlformats.org/officeDocument/2006/relationships/tags" Target="../tags/tag1987.xml"/><Relationship Id="rId2" Type="http://schemas.openxmlformats.org/officeDocument/2006/relationships/slideLayout" Target="../slideLayouts/slideLayout7.xml"/><Relationship Id="rId3" Type="http://schemas.openxmlformats.org/officeDocument/2006/relationships/notesSlide" Target="../notesSlides/notesSlide8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2.xml"/><Relationship Id="rId7" Type="http://schemas.openxmlformats.org/officeDocument/2006/relationships/chart" Target="../charts/chart2353.xml"/></Relationships>
</file>

<file path=ppt/slides/_rels/slide1961.xml.rels><?xml version='1.0' encoding='UTF-8' standalone='yes'?>
<Relationships xmlns="http://schemas.openxmlformats.org/package/2006/relationships"><Relationship Id="rId1" Type="http://schemas.openxmlformats.org/officeDocument/2006/relationships/tags" Target="../tags/tag1988.xml"/><Relationship Id="rId2" Type="http://schemas.openxmlformats.org/officeDocument/2006/relationships/slideLayout" Target="../slideLayouts/slideLayout7.xml"/><Relationship Id="rId3" Type="http://schemas.openxmlformats.org/officeDocument/2006/relationships/notesSlide" Target="../notesSlides/notesSlide8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4.xml"/><Relationship Id="rId7" Type="http://schemas.openxmlformats.org/officeDocument/2006/relationships/chart" Target="../charts/chart2355.xml"/></Relationships>
</file>

<file path=ppt/slides/_rels/slide1967.xml.rels><?xml version='1.0' encoding='UTF-8' standalone='yes'?>
<Relationships xmlns="http://schemas.openxmlformats.org/package/2006/relationships"><Relationship Id="rId1" Type="http://schemas.openxmlformats.org/officeDocument/2006/relationships/tags" Target="../tags/tag1994.xml"/><Relationship Id="rId2" Type="http://schemas.openxmlformats.org/officeDocument/2006/relationships/slideLayout" Target="../slideLayouts/slideLayout7.xml"/><Relationship Id="rId3" Type="http://schemas.openxmlformats.org/officeDocument/2006/relationships/notesSlide" Target="../notesSlides/notesSlide8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6.xml"/><Relationship Id="rId7" Type="http://schemas.openxmlformats.org/officeDocument/2006/relationships/chart" Target="../charts/chart2367.xml"/></Relationships>
</file>

<file path=ppt/slides/_rels/slide1969.xml.rels><?xml version='1.0' encoding='UTF-8' standalone='yes'?>
<Relationships xmlns="http://schemas.openxmlformats.org/package/2006/relationships"><Relationship Id="rId1" Type="http://schemas.openxmlformats.org/officeDocument/2006/relationships/tags" Target="../tags/tag1996.xml"/><Relationship Id="rId2" Type="http://schemas.openxmlformats.org/officeDocument/2006/relationships/slideLayout" Target="../slideLayouts/slideLayout7.xml"/><Relationship Id="rId3" Type="http://schemas.openxmlformats.org/officeDocument/2006/relationships/notesSlide" Target="../notesSlides/notesSlide8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0.xml"/><Relationship Id="rId7" Type="http://schemas.openxmlformats.org/officeDocument/2006/relationships/chart" Target="../charts/chart2371.xml"/></Relationships>
</file>

<file path=ppt/slides/_rels/slide1982.xml.rels><?xml version='1.0' encoding='UTF-8' standalone='yes'?>
<Relationships xmlns="http://schemas.openxmlformats.org/package/2006/relationships"><Relationship Id="rId1" Type="http://schemas.openxmlformats.org/officeDocument/2006/relationships/tags" Target="../tags/tag2009.xml"/><Relationship Id="rId2" Type="http://schemas.openxmlformats.org/officeDocument/2006/relationships/slideLayout" Target="../slideLayouts/slideLayout7.xml"/><Relationship Id="rId3" Type="http://schemas.openxmlformats.org/officeDocument/2006/relationships/notesSlide" Target="../notesSlides/notesSlide8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6.xml"/><Relationship Id="rId7" Type="http://schemas.openxmlformats.org/officeDocument/2006/relationships/chart" Target="../charts/chart2397.xml"/></Relationships>
</file>

<file path=ppt/slides/_rels/slide1984.xml.rels><?xml version='1.0' encoding='UTF-8' standalone='yes'?>
<Relationships xmlns="http://schemas.openxmlformats.org/package/2006/relationships"><Relationship Id="rId1" Type="http://schemas.openxmlformats.org/officeDocument/2006/relationships/tags" Target="../tags/tag2011.xml"/><Relationship Id="rId2" Type="http://schemas.openxmlformats.org/officeDocument/2006/relationships/slideLayout" Target="../slideLayouts/slideLayout7.xml"/><Relationship Id="rId3" Type="http://schemas.openxmlformats.org/officeDocument/2006/relationships/notesSlide" Target="../notesSlides/notesSlide8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0.xml"/><Relationship Id="rId7" Type="http://schemas.openxmlformats.org/officeDocument/2006/relationships/chart" Target="../charts/chart2401.xml"/></Relationships>
</file>

<file path=ppt/slides/_rels/slide1990.xml.rels><?xml version='1.0' encoding='UTF-8' standalone='yes'?>
<Relationships xmlns="http://schemas.openxmlformats.org/package/2006/relationships"><Relationship Id="rId1" Type="http://schemas.openxmlformats.org/officeDocument/2006/relationships/tags" Target="../tags/tag2017.xml"/><Relationship Id="rId2" Type="http://schemas.openxmlformats.org/officeDocument/2006/relationships/slideLayout" Target="../slideLayouts/slideLayout7.xml"/><Relationship Id="rId3" Type="http://schemas.openxmlformats.org/officeDocument/2006/relationships/notesSlide" Target="../notesSlides/notesSlide8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2.xml"/><Relationship Id="rId7" Type="http://schemas.openxmlformats.org/officeDocument/2006/relationships/chart" Target="../charts/chart2413.xml"/></Relationships>
</file>

<file path=ppt/slides/_rels/slide1996.xml.rels><?xml version='1.0' encoding='UTF-8' standalone='yes'?>
<Relationships xmlns="http://schemas.openxmlformats.org/package/2006/relationships"><Relationship Id="rId1" Type="http://schemas.openxmlformats.org/officeDocument/2006/relationships/tags" Target="../tags/tag2023.xml"/><Relationship Id="rId2" Type="http://schemas.openxmlformats.org/officeDocument/2006/relationships/slideLayout" Target="../slideLayouts/slideLayout7.xml"/><Relationship Id="rId3" Type="http://schemas.openxmlformats.org/officeDocument/2006/relationships/notesSlide" Target="../notesSlides/notesSlide8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4.xml"/><Relationship Id="rId7" Type="http://schemas.openxmlformats.org/officeDocument/2006/relationships/chart" Target="../charts/chart2425.xml"/></Relationships>
</file>

<file path=ppt/slides/_rels/slide2003.xml.rels><?xml version='1.0' encoding='UTF-8' standalone='yes'?>
<Relationships xmlns="http://schemas.openxmlformats.org/package/2006/relationships"><Relationship Id="rId1" Type="http://schemas.openxmlformats.org/officeDocument/2006/relationships/tags" Target="../tags/tag2030.xml"/><Relationship Id="rId2" Type="http://schemas.openxmlformats.org/officeDocument/2006/relationships/slideLayout" Target="../slideLayouts/slideLayout7.xml"/><Relationship Id="rId3" Type="http://schemas.openxmlformats.org/officeDocument/2006/relationships/notesSlide" Target="../notesSlides/notesSlide8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8.xml"/><Relationship Id="rId7" Type="http://schemas.openxmlformats.org/officeDocument/2006/relationships/chart" Target="../charts/chart2439.xml"/></Relationships>
</file>

<file path=ppt/slides/_rels/slide2005.xml.rels><?xml version='1.0' encoding='UTF-8' standalone='yes'?>
<Relationships xmlns="http://schemas.openxmlformats.org/package/2006/relationships"><Relationship Id="rId1" Type="http://schemas.openxmlformats.org/officeDocument/2006/relationships/tags" Target="../tags/tag2032.xml"/><Relationship Id="rId2" Type="http://schemas.openxmlformats.org/officeDocument/2006/relationships/slideLayout" Target="../slideLayouts/slideLayout7.xml"/><Relationship Id="rId3" Type="http://schemas.openxmlformats.org/officeDocument/2006/relationships/notesSlide" Target="../notesSlides/notesSlide8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2.xml"/><Relationship Id="rId7" Type="http://schemas.openxmlformats.org/officeDocument/2006/relationships/chart" Target="../charts/chart2443.xml"/></Relationships>
</file>

<file path=ppt/slides/_rels/slide2009.xml.rels><?xml version='1.0' encoding='UTF-8' standalone='yes'?>
<Relationships xmlns="http://schemas.openxmlformats.org/package/2006/relationships"><Relationship Id="rId1" Type="http://schemas.openxmlformats.org/officeDocument/2006/relationships/tags" Target="../tags/tag2036.xml"/><Relationship Id="rId2" Type="http://schemas.openxmlformats.org/officeDocument/2006/relationships/slideLayout" Target="../slideLayouts/slideLayout7.xml"/><Relationship Id="rId3" Type="http://schemas.openxmlformats.org/officeDocument/2006/relationships/notesSlide" Target="../notesSlides/notesSlide9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0.xml"/><Relationship Id="rId7" Type="http://schemas.openxmlformats.org/officeDocument/2006/relationships/chart" Target="../charts/chart2451.xml"/></Relationships>
</file>

<file path=ppt/slides/_rels/slide2011.xml.rels><?xml version='1.0' encoding='UTF-8' standalone='yes'?>
<Relationships xmlns="http://schemas.openxmlformats.org/package/2006/relationships"><Relationship Id="rId1" Type="http://schemas.openxmlformats.org/officeDocument/2006/relationships/tags" Target="../tags/tag2038.xml"/><Relationship Id="rId2" Type="http://schemas.openxmlformats.org/officeDocument/2006/relationships/slideLayout" Target="../slideLayouts/slideLayout7.xml"/><Relationship Id="rId3" Type="http://schemas.openxmlformats.org/officeDocument/2006/relationships/notesSlide" Target="../notesSlides/notesSlide9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4.xml"/><Relationship Id="rId7" Type="http://schemas.openxmlformats.org/officeDocument/2006/relationships/chart" Target="../charts/chart2455.xml"/></Relationships>
</file>

<file path=ppt/slides/_rels/slide2017.xml.rels><?xml version='1.0' encoding='UTF-8' standalone='yes'?>
<Relationships xmlns="http://schemas.openxmlformats.org/package/2006/relationships"><Relationship Id="rId1" Type="http://schemas.openxmlformats.org/officeDocument/2006/relationships/tags" Target="../tags/tag2044.xml"/><Relationship Id="rId2" Type="http://schemas.openxmlformats.org/officeDocument/2006/relationships/slideLayout" Target="../slideLayouts/slideLayout7.xml"/><Relationship Id="rId3" Type="http://schemas.openxmlformats.org/officeDocument/2006/relationships/notesSlide" Target="../notesSlides/notesSlide9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6.xml"/><Relationship Id="rId7" Type="http://schemas.openxmlformats.org/officeDocument/2006/relationships/chart" Target="../charts/chart2467.xml"/></Relationships>
</file>

<file path=ppt/slides/_rels/slide2031.xml.rels><?xml version='1.0' encoding='UTF-8' standalone='yes'?>
<Relationships xmlns="http://schemas.openxmlformats.org/package/2006/relationships"><Relationship Id="rId1" Type="http://schemas.openxmlformats.org/officeDocument/2006/relationships/tags" Target="../tags/tag2058.xml"/><Relationship Id="rId2" Type="http://schemas.openxmlformats.org/officeDocument/2006/relationships/slideLayout" Target="../slideLayouts/slideLayout7.xml"/><Relationship Id="rId3" Type="http://schemas.openxmlformats.org/officeDocument/2006/relationships/notesSlide" Target="../notesSlides/notesSlide9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4.xml"/><Relationship Id="rId7" Type="http://schemas.openxmlformats.org/officeDocument/2006/relationships/chart" Target="../charts/chart2495.xml"/></Relationships>
</file>

<file path=ppt/slides/_rels/slide2032.xml.rels><?xml version='1.0' encoding='UTF-8' standalone='yes'?>
<Relationships xmlns="http://schemas.openxmlformats.org/package/2006/relationships"><Relationship Id="rId1" Type="http://schemas.openxmlformats.org/officeDocument/2006/relationships/tags" Target="../tags/tag2059.xml"/><Relationship Id="rId2" Type="http://schemas.openxmlformats.org/officeDocument/2006/relationships/slideLayout" Target="../slideLayouts/slideLayout7.xml"/><Relationship Id="rId3" Type="http://schemas.openxmlformats.org/officeDocument/2006/relationships/notesSlide" Target="../notesSlides/notesSlide9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6.xml"/><Relationship Id="rId7" Type="http://schemas.openxmlformats.org/officeDocument/2006/relationships/chart" Target="../charts/chart2497.xml"/></Relationships>
</file>

<file path=ppt/slides/_rels/slide2034.xml.rels><?xml version='1.0' encoding='UTF-8' standalone='yes'?>
<Relationships xmlns="http://schemas.openxmlformats.org/package/2006/relationships"><Relationship Id="rId1" Type="http://schemas.openxmlformats.org/officeDocument/2006/relationships/tags" Target="../tags/tag2061.xml"/><Relationship Id="rId2" Type="http://schemas.openxmlformats.org/officeDocument/2006/relationships/slideLayout" Target="../slideLayouts/slideLayout7.xml"/><Relationship Id="rId3" Type="http://schemas.openxmlformats.org/officeDocument/2006/relationships/notesSlide" Target="../notesSlides/notesSlide9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0.xml"/><Relationship Id="rId7" Type="http://schemas.openxmlformats.org/officeDocument/2006/relationships/chart" Target="../charts/chart2501.xml"/></Relationships>
</file>

<file path=ppt/slides/_rels/slide2038.xml.rels><?xml version='1.0' encoding='UTF-8' standalone='yes'?>
<Relationships xmlns="http://schemas.openxmlformats.org/package/2006/relationships"><Relationship Id="rId1" Type="http://schemas.openxmlformats.org/officeDocument/2006/relationships/tags" Target="../tags/tag2065.xml"/><Relationship Id="rId2" Type="http://schemas.openxmlformats.org/officeDocument/2006/relationships/slideLayout" Target="../slideLayouts/slideLayout7.xml"/><Relationship Id="rId3" Type="http://schemas.openxmlformats.org/officeDocument/2006/relationships/notesSlide" Target="../notesSlides/notesSlide9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8.xml"/><Relationship Id="rId7" Type="http://schemas.openxmlformats.org/officeDocument/2006/relationships/chart" Target="../charts/chart2509.xml"/></Relationships>
</file>

<file path=ppt/slides/_rels/slide2040.xml.rels><?xml version='1.0' encoding='UTF-8' standalone='yes'?>
<Relationships xmlns="http://schemas.openxmlformats.org/package/2006/relationships"><Relationship Id="rId1" Type="http://schemas.openxmlformats.org/officeDocument/2006/relationships/tags" Target="../tags/tag2067.xml"/><Relationship Id="rId2" Type="http://schemas.openxmlformats.org/officeDocument/2006/relationships/slideLayout" Target="../slideLayouts/slideLayout7.xml"/><Relationship Id="rId3" Type="http://schemas.openxmlformats.org/officeDocument/2006/relationships/notesSlide" Target="../notesSlides/notesSlide9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2.xml"/><Relationship Id="rId7" Type="http://schemas.openxmlformats.org/officeDocument/2006/relationships/chart" Target="../charts/chart2513.xml"/></Relationships>
</file>

<file path=ppt/slides/_rels/slide2046.xml.rels><?xml version='1.0' encoding='UTF-8' standalone='yes'?>
<Relationships xmlns="http://schemas.openxmlformats.org/package/2006/relationships"><Relationship Id="rId1" Type="http://schemas.openxmlformats.org/officeDocument/2006/relationships/tags" Target="../tags/tag2073.xml"/><Relationship Id="rId2" Type="http://schemas.openxmlformats.org/officeDocument/2006/relationships/slideLayout" Target="../slideLayouts/slideLayout7.xml"/><Relationship Id="rId3" Type="http://schemas.openxmlformats.org/officeDocument/2006/relationships/notesSlide" Target="../notesSlides/notesSlide9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24.xml"/><Relationship Id="rId7" Type="http://schemas.openxmlformats.org/officeDocument/2006/relationships/chart" Target="../charts/chart2525.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s>
</file>

<file path=ppt/slides/_rels/slide2055.xml.rels><?xml version='1.0' encoding='UTF-8' standalone='yes'?>
<Relationships xmlns="http://schemas.openxmlformats.org/package/2006/relationships"><Relationship Id="rId1" Type="http://schemas.openxmlformats.org/officeDocument/2006/relationships/tags" Target="../tags/tag2082.xml"/><Relationship Id="rId2" Type="http://schemas.openxmlformats.org/officeDocument/2006/relationships/slideLayout" Target="../slideLayouts/slideLayout7.xml"/><Relationship Id="rId3" Type="http://schemas.openxmlformats.org/officeDocument/2006/relationships/notesSlide" Target="../notesSlides/notesSlide9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2.xml"/><Relationship Id="rId7" Type="http://schemas.openxmlformats.org/officeDocument/2006/relationships/chart" Target="../charts/chart2543.xml"/></Relationships>
</file>

<file path=ppt/slides/_rels/slide2060.xml.rels><?xml version='1.0' encoding='UTF-8' standalone='yes'?>
<Relationships xmlns="http://schemas.openxmlformats.org/package/2006/relationships"><Relationship Id="rId1" Type="http://schemas.openxmlformats.org/officeDocument/2006/relationships/tags" Target="../tags/tag2087.xml"/><Relationship Id="rId2" Type="http://schemas.openxmlformats.org/officeDocument/2006/relationships/slideLayout" Target="../slideLayouts/slideLayout7.xml"/><Relationship Id="rId3" Type="http://schemas.openxmlformats.org/officeDocument/2006/relationships/notesSlide" Target="../notesSlides/notesSlide9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2.xml"/><Relationship Id="rId7" Type="http://schemas.openxmlformats.org/officeDocument/2006/relationships/chart" Target="../charts/chart2553.xml"/></Relationships>
</file>

<file path=ppt/slides/_rels/slide2061.xml.rels><?xml version='1.0' encoding='UTF-8' standalone='yes'?>
<Relationships xmlns="http://schemas.openxmlformats.org/package/2006/relationships"><Relationship Id="rId1" Type="http://schemas.openxmlformats.org/officeDocument/2006/relationships/tags" Target="../tags/tag2088.xml"/><Relationship Id="rId2" Type="http://schemas.openxmlformats.org/officeDocument/2006/relationships/slideLayout" Target="../slideLayouts/slideLayout7.xml"/><Relationship Id="rId3" Type="http://schemas.openxmlformats.org/officeDocument/2006/relationships/notesSlide" Target="../notesSlides/notesSlide9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4.xml"/><Relationship Id="rId7" Type="http://schemas.openxmlformats.org/officeDocument/2006/relationships/chart" Target="../charts/chart2555.xml"/></Relationships>
</file>

<file path=ppt/slides/_rels/slide2067.xml.rels><?xml version='1.0' encoding='UTF-8' standalone='yes'?>
<Relationships xmlns="http://schemas.openxmlformats.org/package/2006/relationships"><Relationship Id="rId1" Type="http://schemas.openxmlformats.org/officeDocument/2006/relationships/tags" Target="../tags/tag2094.xml"/><Relationship Id="rId2" Type="http://schemas.openxmlformats.org/officeDocument/2006/relationships/slideLayout" Target="../slideLayouts/slideLayout7.xml"/><Relationship Id="rId3" Type="http://schemas.openxmlformats.org/officeDocument/2006/relationships/notesSlide" Target="../notesSlides/notesSlide9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66.xml"/><Relationship Id="rId7" Type="http://schemas.openxmlformats.org/officeDocument/2006/relationships/chart" Target="../charts/chart2567.xml"/></Relationships>
</file>

<file path=ppt/slides/_rels/slide2069.xml.rels><?xml version='1.0' encoding='UTF-8' standalone='yes'?>
<Relationships xmlns="http://schemas.openxmlformats.org/package/2006/relationships"><Relationship Id="rId1" Type="http://schemas.openxmlformats.org/officeDocument/2006/relationships/tags" Target="../tags/tag2096.xml"/><Relationship Id="rId2" Type="http://schemas.openxmlformats.org/officeDocument/2006/relationships/slideLayout" Target="../slideLayouts/slideLayout7.xml"/><Relationship Id="rId3" Type="http://schemas.openxmlformats.org/officeDocument/2006/relationships/notesSlide" Target="../notesSlides/notesSlide9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0.xml"/><Relationship Id="rId7" Type="http://schemas.openxmlformats.org/officeDocument/2006/relationships/chart" Target="../charts/chart2571.xml"/></Relationships>
</file>

<file path=ppt/slides/_rels/slide2082.xml.rels><?xml version='1.0' encoding='UTF-8' standalone='yes'?>
<Relationships xmlns="http://schemas.openxmlformats.org/package/2006/relationships"><Relationship Id="rId1" Type="http://schemas.openxmlformats.org/officeDocument/2006/relationships/tags" Target="../tags/tag2109.xml"/><Relationship Id="rId2" Type="http://schemas.openxmlformats.org/officeDocument/2006/relationships/slideLayout" Target="../slideLayouts/slideLayout7.xml"/><Relationship Id="rId3" Type="http://schemas.openxmlformats.org/officeDocument/2006/relationships/notesSlide" Target="../notesSlides/notesSlide9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6.xml"/><Relationship Id="rId7" Type="http://schemas.openxmlformats.org/officeDocument/2006/relationships/chart" Target="../charts/chart2597.xml"/></Relationships>
</file>

<file path=ppt/slides/_rels/slide2084.xml.rels><?xml version='1.0' encoding='UTF-8' standalone='yes'?>
<Relationships xmlns="http://schemas.openxmlformats.org/package/2006/relationships"><Relationship Id="rId1" Type="http://schemas.openxmlformats.org/officeDocument/2006/relationships/tags" Target="../tags/tag2111.xml"/><Relationship Id="rId2" Type="http://schemas.openxmlformats.org/officeDocument/2006/relationships/slideLayout" Target="../slideLayouts/slideLayout7.xml"/><Relationship Id="rId3" Type="http://schemas.openxmlformats.org/officeDocument/2006/relationships/notesSlide" Target="../notesSlides/notesSlide9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00.xml"/><Relationship Id="rId7" Type="http://schemas.openxmlformats.org/officeDocument/2006/relationships/chart" Target="../charts/chart2601.xml"/></Relationships>
</file>

<file path=ppt/slides/_rels/slide2090.xml.rels><?xml version='1.0' encoding='UTF-8' standalone='yes'?>
<Relationships xmlns="http://schemas.openxmlformats.org/package/2006/relationships"><Relationship Id="rId1" Type="http://schemas.openxmlformats.org/officeDocument/2006/relationships/tags" Target="../tags/tag2117.xml"/><Relationship Id="rId2" Type="http://schemas.openxmlformats.org/officeDocument/2006/relationships/slideLayout" Target="../slideLayouts/slideLayout7.xml"/><Relationship Id="rId3" Type="http://schemas.openxmlformats.org/officeDocument/2006/relationships/notesSlide" Target="../notesSlides/notesSlide9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2.xml"/><Relationship Id="rId7" Type="http://schemas.openxmlformats.org/officeDocument/2006/relationships/chart" Target="../charts/chart2613.xml"/></Relationships>
</file>

<file path=ppt/slides/_rels/slide2098.xml.rels><?xml version='1.0' encoding='UTF-8' standalone='yes'?>
<Relationships xmlns="http://schemas.openxmlformats.org/package/2006/relationships"><Relationship Id="rId1" Type="http://schemas.openxmlformats.org/officeDocument/2006/relationships/tags" Target="../tags/tag2125.xml"/><Relationship Id="rId2" Type="http://schemas.openxmlformats.org/officeDocument/2006/relationships/slideLayout" Target="../slideLayouts/slideLayout7.xml"/><Relationship Id="rId3" Type="http://schemas.openxmlformats.org/officeDocument/2006/relationships/notesSlide" Target="../notesSlides/notesSlide9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8.xml"/><Relationship Id="rId7" Type="http://schemas.openxmlformats.org/officeDocument/2006/relationships/chart" Target="../charts/chart2629.xml"/></Relationships>
</file>

<file path=ppt/slides/_rels/slide2099.xml.rels><?xml version='1.0' encoding='UTF-8' standalone='yes'?>
<Relationships xmlns="http://schemas.openxmlformats.org/package/2006/relationships"><Relationship Id="rId1" Type="http://schemas.openxmlformats.org/officeDocument/2006/relationships/tags" Target="../tags/tag2126.xml"/><Relationship Id="rId2" Type="http://schemas.openxmlformats.org/officeDocument/2006/relationships/slideLayout" Target="../slideLayouts/slideLayout7.xml"/><Relationship Id="rId3" Type="http://schemas.openxmlformats.org/officeDocument/2006/relationships/notesSlide" Target="../notesSlides/notesSlide9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0.xml"/><Relationship Id="rId7" Type="http://schemas.openxmlformats.org/officeDocument/2006/relationships/chart" Target="../charts/chart263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s>
</file>

<file path=ppt/slides/_rels/slide2101.xml.rels><?xml version='1.0' encoding='UTF-8' standalone='yes'?>
<Relationships xmlns="http://schemas.openxmlformats.org/package/2006/relationships"><Relationship Id="rId1" Type="http://schemas.openxmlformats.org/officeDocument/2006/relationships/tags" Target="../tags/tag2128.xml"/><Relationship Id="rId2" Type="http://schemas.openxmlformats.org/officeDocument/2006/relationships/slideLayout" Target="../slideLayouts/slideLayout7.xml"/><Relationship Id="rId3" Type="http://schemas.openxmlformats.org/officeDocument/2006/relationships/notesSlide" Target="../notesSlides/notesSlide9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4.xml"/><Relationship Id="rId7" Type="http://schemas.openxmlformats.org/officeDocument/2006/relationships/chart" Target="../charts/chart2635.xml"/></Relationships>
</file>

<file path=ppt/slides/_rels/slide2107.xml.rels><?xml version='1.0' encoding='UTF-8' standalone='yes'?>
<Relationships xmlns="http://schemas.openxmlformats.org/package/2006/relationships"><Relationship Id="rId1" Type="http://schemas.openxmlformats.org/officeDocument/2006/relationships/tags" Target="../tags/tag2134.xml"/><Relationship Id="rId2" Type="http://schemas.openxmlformats.org/officeDocument/2006/relationships/slideLayout" Target="../slideLayouts/slideLayout7.xml"/><Relationship Id="rId3" Type="http://schemas.openxmlformats.org/officeDocument/2006/relationships/notesSlide" Target="../notesSlides/notesSlide9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46.xml"/><Relationship Id="rId7" Type="http://schemas.openxmlformats.org/officeDocument/2006/relationships/chart" Target="../charts/chart2647.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s>
</file>

<file path=ppt/slides/_rels/slide2114.xml.rels><?xml version='1.0' encoding='UTF-8' standalone='yes'?>
<Relationships xmlns="http://schemas.openxmlformats.org/package/2006/relationships"><Relationship Id="rId1" Type="http://schemas.openxmlformats.org/officeDocument/2006/relationships/tags" Target="../tags/tag2141.xml"/><Relationship Id="rId2" Type="http://schemas.openxmlformats.org/officeDocument/2006/relationships/slideLayout" Target="../slideLayouts/slideLayout7.xml"/><Relationship Id="rId3" Type="http://schemas.openxmlformats.org/officeDocument/2006/relationships/notesSlide" Target="../notesSlides/notesSlide10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0.xml"/><Relationship Id="rId7" Type="http://schemas.openxmlformats.org/officeDocument/2006/relationships/chart" Target="../charts/chart2661.xml"/></Relationships>
</file>

<file path=ppt/slides/_rels/slide2122.xml.rels><?xml version='1.0' encoding='UTF-8' standalone='yes'?>
<Relationships xmlns="http://schemas.openxmlformats.org/package/2006/relationships"><Relationship Id="rId1" Type="http://schemas.openxmlformats.org/officeDocument/2006/relationships/tags" Target="../tags/tag2149.xml"/><Relationship Id="rId2" Type="http://schemas.openxmlformats.org/officeDocument/2006/relationships/slideLayout" Target="../slideLayouts/slideLayout7.xml"/><Relationship Id="rId3" Type="http://schemas.openxmlformats.org/officeDocument/2006/relationships/notesSlide" Target="../notesSlides/notesSlide10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6.xml"/><Relationship Id="rId7" Type="http://schemas.openxmlformats.org/officeDocument/2006/relationships/chart" Target="../charts/chart2677.xml"/></Relationships>
</file>

<file path=ppt/slides/_rels/slide2127.xml.rels><?xml version='1.0' encoding='UTF-8' standalone='yes'?>
<Relationships xmlns="http://schemas.openxmlformats.org/package/2006/relationships"><Relationship Id="rId1" Type="http://schemas.openxmlformats.org/officeDocument/2006/relationships/tags" Target="../tags/tag2154.xml"/><Relationship Id="rId2" Type="http://schemas.openxmlformats.org/officeDocument/2006/relationships/slideLayout" Target="../slideLayouts/slideLayout7.xml"/><Relationship Id="rId3" Type="http://schemas.openxmlformats.org/officeDocument/2006/relationships/notesSlide" Target="../notesSlides/notesSlide10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6.xml"/><Relationship Id="rId7" Type="http://schemas.openxmlformats.org/officeDocument/2006/relationships/chart" Target="../charts/chart2687.xml"/></Relationships>
</file>

<file path=ppt/slides/_rels/slide2128.xml.rels><?xml version='1.0' encoding='UTF-8' standalone='yes'?>
<Relationships xmlns="http://schemas.openxmlformats.org/package/2006/relationships"><Relationship Id="rId1" Type="http://schemas.openxmlformats.org/officeDocument/2006/relationships/tags" Target="../tags/tag2155.xml"/><Relationship Id="rId2" Type="http://schemas.openxmlformats.org/officeDocument/2006/relationships/slideLayout" Target="../slideLayouts/slideLayout7.xml"/><Relationship Id="rId3" Type="http://schemas.openxmlformats.org/officeDocument/2006/relationships/notesSlide" Target="../notesSlides/notesSlide10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8.xml"/><Relationship Id="rId7" Type="http://schemas.openxmlformats.org/officeDocument/2006/relationships/chart" Target="../charts/chart2689.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s>
</file>

<file path=ppt/slides/_rels/slide2136.xml.rels><?xml version='1.0' encoding='UTF-8' standalone='yes'?>
<Relationships xmlns="http://schemas.openxmlformats.org/package/2006/relationships"><Relationship Id="rId1" Type="http://schemas.openxmlformats.org/officeDocument/2006/relationships/tags" Target="../tags/tag2163.xml"/><Relationship Id="rId2" Type="http://schemas.openxmlformats.org/officeDocument/2006/relationships/slideLayout" Target="../slideLayouts/slideLayout7.xml"/><Relationship Id="rId3" Type="http://schemas.openxmlformats.org/officeDocument/2006/relationships/notesSlide" Target="../notesSlides/notesSlide10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4.xml"/><Relationship Id="rId7" Type="http://schemas.openxmlformats.org/officeDocument/2006/relationships/chart" Target="../charts/chart2705.xml"/></Relationships>
</file>

<file path=ppt/slides/_rels/slide2143.xml.rels><?xml version='1.0' encoding='UTF-8' standalone='yes'?>
<Relationships xmlns="http://schemas.openxmlformats.org/package/2006/relationships"><Relationship Id="rId1" Type="http://schemas.openxmlformats.org/officeDocument/2006/relationships/tags" Target="../tags/tag2170.xml"/><Relationship Id="rId2" Type="http://schemas.openxmlformats.org/officeDocument/2006/relationships/slideLayout" Target="../slideLayouts/slideLayout7.xml"/><Relationship Id="rId3" Type="http://schemas.openxmlformats.org/officeDocument/2006/relationships/notesSlide" Target="../notesSlides/notesSlide10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8.xml"/><Relationship Id="rId7" Type="http://schemas.openxmlformats.org/officeDocument/2006/relationships/chart" Target="../charts/chart2719.xml"/></Relationships>
</file>

<file path=ppt/slides/_rels/slide2145.xml.rels><?xml version='1.0' encoding='UTF-8' standalone='yes'?>
<Relationships xmlns="http://schemas.openxmlformats.org/package/2006/relationships"><Relationship Id="rId1" Type="http://schemas.openxmlformats.org/officeDocument/2006/relationships/tags" Target="../tags/tag2172.xml"/><Relationship Id="rId2" Type="http://schemas.openxmlformats.org/officeDocument/2006/relationships/slideLayout" Target="../slideLayouts/slideLayout7.xml"/><Relationship Id="rId3" Type="http://schemas.openxmlformats.org/officeDocument/2006/relationships/notesSlide" Target="../notesSlides/notesSlide10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2.xml"/><Relationship Id="rId7" Type="http://schemas.openxmlformats.org/officeDocument/2006/relationships/chart" Target="../charts/chart2723.xml"/></Relationships>
</file>

<file path=ppt/slides/_rels/slide2149.xml.rels><?xml version='1.0' encoding='UTF-8' standalone='yes'?>
<Relationships xmlns="http://schemas.openxmlformats.org/package/2006/relationships"><Relationship Id="rId1" Type="http://schemas.openxmlformats.org/officeDocument/2006/relationships/tags" Target="../tags/tag2176.xml"/><Relationship Id="rId2" Type="http://schemas.openxmlformats.org/officeDocument/2006/relationships/slideLayout" Target="../slideLayouts/slideLayout7.xml"/><Relationship Id="rId3" Type="http://schemas.openxmlformats.org/officeDocument/2006/relationships/notesSlide" Target="../notesSlides/notesSlide10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0.xml"/><Relationship Id="rId7" Type="http://schemas.openxmlformats.org/officeDocument/2006/relationships/chart" Target="../charts/chart2731.xml"/></Relationships>
</file>

<file path=ppt/slides/_rels/slide2151.xml.rels><?xml version='1.0' encoding='UTF-8' standalone='yes'?>
<Relationships xmlns="http://schemas.openxmlformats.org/package/2006/relationships"><Relationship Id="rId1" Type="http://schemas.openxmlformats.org/officeDocument/2006/relationships/tags" Target="../tags/tag2178.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4.xml"/><Relationship Id="rId7" Type="http://schemas.openxmlformats.org/officeDocument/2006/relationships/chart" Target="../charts/chart2735.xml"/></Relationships>
</file>

<file path=ppt/slides/_rels/slide2157.xml.rels><?xml version='1.0' encoding='UTF-8' standalone='yes'?>
<Relationships xmlns="http://schemas.openxmlformats.org/package/2006/relationships"><Relationship Id="rId1" Type="http://schemas.openxmlformats.org/officeDocument/2006/relationships/tags" Target="../tags/tag2184.xml"/><Relationship Id="rId2" Type="http://schemas.openxmlformats.org/officeDocument/2006/relationships/slideLayout" Target="../slideLayouts/slideLayout7.xml"/><Relationship Id="rId3" Type="http://schemas.openxmlformats.org/officeDocument/2006/relationships/notesSlide" Target="../notesSlides/notesSlide10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6.xml"/><Relationship Id="rId7" Type="http://schemas.openxmlformats.org/officeDocument/2006/relationships/chart" Target="../charts/chart2747.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s>
</file>

<file path=ppt/slides/_rels/slide2171.xml.rels><?xml version='1.0' encoding='UTF-8' standalone='yes'?>
<Relationships xmlns="http://schemas.openxmlformats.org/package/2006/relationships"><Relationship Id="rId1" Type="http://schemas.openxmlformats.org/officeDocument/2006/relationships/tags" Target="../tags/tag2198.xml"/><Relationship Id="rId2" Type="http://schemas.openxmlformats.org/officeDocument/2006/relationships/slideLayout" Target="../slideLayouts/slideLayout7.xml"/><Relationship Id="rId3" Type="http://schemas.openxmlformats.org/officeDocument/2006/relationships/notesSlide" Target="../notesSlides/notesSlide10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4.xml"/><Relationship Id="rId7" Type="http://schemas.openxmlformats.org/officeDocument/2006/relationships/chart" Target="../charts/chart2775.xml"/></Relationships>
</file>

<file path=ppt/slides/_rels/slide2172.xml.rels><?xml version='1.0' encoding='UTF-8' standalone='yes'?>
<Relationships xmlns="http://schemas.openxmlformats.org/package/2006/relationships"><Relationship Id="rId1" Type="http://schemas.openxmlformats.org/officeDocument/2006/relationships/tags" Target="../tags/tag2199.xml"/><Relationship Id="rId2" Type="http://schemas.openxmlformats.org/officeDocument/2006/relationships/slideLayout" Target="../slideLayouts/slideLayout7.xml"/><Relationship Id="rId3" Type="http://schemas.openxmlformats.org/officeDocument/2006/relationships/notesSlide" Target="../notesSlides/notesSlide10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6.xml"/><Relationship Id="rId7" Type="http://schemas.openxmlformats.org/officeDocument/2006/relationships/chart" Target="../charts/chart2777.xml"/></Relationships>
</file>

<file path=ppt/slides/_rels/slide2174.xml.rels><?xml version='1.0' encoding='UTF-8' standalone='yes'?>
<Relationships xmlns="http://schemas.openxmlformats.org/package/2006/relationships"><Relationship Id="rId1" Type="http://schemas.openxmlformats.org/officeDocument/2006/relationships/tags" Target="../tags/tag2201.xml"/><Relationship Id="rId2" Type="http://schemas.openxmlformats.org/officeDocument/2006/relationships/slideLayout" Target="../slideLayouts/slideLayout7.xml"/><Relationship Id="rId3" Type="http://schemas.openxmlformats.org/officeDocument/2006/relationships/notesSlide" Target="../notesSlides/notesSlide10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0.xml"/><Relationship Id="rId7" Type="http://schemas.openxmlformats.org/officeDocument/2006/relationships/chart" Target="../charts/chart2781.xml"/></Relationships>
</file>

<file path=ppt/slides/_rels/slide2178.xml.rels><?xml version='1.0' encoding='UTF-8' standalone='yes'?>
<Relationships xmlns="http://schemas.openxmlformats.org/package/2006/relationships"><Relationship Id="rId1" Type="http://schemas.openxmlformats.org/officeDocument/2006/relationships/tags" Target="../tags/tag2205.xml"/><Relationship Id="rId2" Type="http://schemas.openxmlformats.org/officeDocument/2006/relationships/slideLayout" Target="../slideLayouts/slideLayout7.xml"/><Relationship Id="rId3" Type="http://schemas.openxmlformats.org/officeDocument/2006/relationships/notesSlide" Target="../notesSlides/notesSlide10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8.xml"/><Relationship Id="rId7" Type="http://schemas.openxmlformats.org/officeDocument/2006/relationships/chart" Target="../charts/chart2789.xml"/></Relationships>
</file>

<file path=ppt/slides/_rels/slide2180.xml.rels><?xml version='1.0' encoding='UTF-8' standalone='yes'?>
<Relationships xmlns="http://schemas.openxmlformats.org/package/2006/relationships"><Relationship Id="rId1" Type="http://schemas.openxmlformats.org/officeDocument/2006/relationships/tags" Target="../tags/tag2207.xml"/><Relationship Id="rId2" Type="http://schemas.openxmlformats.org/officeDocument/2006/relationships/slideLayout" Target="../slideLayouts/slideLayout7.xml"/><Relationship Id="rId3" Type="http://schemas.openxmlformats.org/officeDocument/2006/relationships/notesSlide" Target="../notesSlides/notesSlide10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2.xml"/><Relationship Id="rId7" Type="http://schemas.openxmlformats.org/officeDocument/2006/relationships/chart" Target="../charts/chart2793.xml"/></Relationships>
</file>

<file path=ppt/slides/_rels/slide2186.xml.rels><?xml version='1.0' encoding='UTF-8' standalone='yes'?>
<Relationships xmlns="http://schemas.openxmlformats.org/package/2006/relationships"><Relationship Id="rId1" Type="http://schemas.openxmlformats.org/officeDocument/2006/relationships/tags" Target="../tags/tag2213.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4.xml"/><Relationship Id="rId7" Type="http://schemas.openxmlformats.org/officeDocument/2006/relationships/chart" Target="../charts/chart2805.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7.xml"/><Relationship Id="rId7" Type="http://schemas.openxmlformats.org/officeDocument/2006/relationships/chart" Target="../charts/chart438.xml"/></Relationships>
</file>

<file path=ppt/slides/_rels/slide2195.xml.rels><?xml version='1.0' encoding='UTF-8' standalone='yes'?>
<Relationships xmlns="http://schemas.openxmlformats.org/package/2006/relationships"><Relationship Id="rId1" Type="http://schemas.openxmlformats.org/officeDocument/2006/relationships/tags" Target="../tags/tag2222.xml"/><Relationship Id="rId2" Type="http://schemas.openxmlformats.org/officeDocument/2006/relationships/slideLayout" Target="../slideLayouts/slideLayout7.xml"/><Relationship Id="rId3" Type="http://schemas.openxmlformats.org/officeDocument/2006/relationships/notesSlide" Target="../notesSlides/notesSlide1087.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204.xml.rels><?xml version='1.0' encoding='UTF-8' standalone='yes'?>
<Relationships xmlns="http://schemas.openxmlformats.org/package/2006/relationships"><Relationship Id="rId1" Type="http://schemas.openxmlformats.org/officeDocument/2006/relationships/tags" Target="../tags/tag2231.xml"/><Relationship Id="rId2" Type="http://schemas.openxmlformats.org/officeDocument/2006/relationships/slideLayout" Target="../slideLayouts/slideLayout7.xml"/><Relationship Id="rId3" Type="http://schemas.openxmlformats.org/officeDocument/2006/relationships/notesSlide" Target="../notesSlides/notesSlide1096.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210.xml.rels><?xml version='1.0' encoding='UTF-8' standalone='yes'?>
<Relationships xmlns="http://schemas.openxmlformats.org/package/2006/relationships"><Relationship Id="rId1" Type="http://schemas.openxmlformats.org/officeDocument/2006/relationships/tags" Target="../tags/tag2237.xml"/><Relationship Id="rId2" Type="http://schemas.openxmlformats.org/officeDocument/2006/relationships/slideLayout" Target="../slideLayouts/slideLayout7.xml"/><Relationship Id="rId3" Type="http://schemas.openxmlformats.org/officeDocument/2006/relationships/notesSlide" Target="../notesSlides/notesSlide1102.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212.xml.rels><?xml version='1.0' encoding='UTF-8' standalone='yes'?>
<Relationships xmlns="http://schemas.openxmlformats.org/package/2006/relationships"><Relationship Id="rId1" Type="http://schemas.openxmlformats.org/officeDocument/2006/relationships/tags" Target="../tags/tag2239.xml"/><Relationship Id="rId2" Type="http://schemas.openxmlformats.org/officeDocument/2006/relationships/slideLayout" Target="../slideLayouts/slideLayout7.xml"/><Relationship Id="rId3" Type="http://schemas.openxmlformats.org/officeDocument/2006/relationships/notesSlide" Target="../notesSlides/notesSlide1104.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216.xml.rels><?xml version='1.0' encoding='UTF-8' standalone='yes'?>
<Relationships xmlns="http://schemas.openxmlformats.org/package/2006/relationships"><Relationship Id="rId1" Type="http://schemas.openxmlformats.org/officeDocument/2006/relationships/tags" Target="../tags/tag2243.xml"/><Relationship Id="rId2" Type="http://schemas.openxmlformats.org/officeDocument/2006/relationships/slideLayout" Target="../slideLayouts/slideLayout7.xml"/><Relationship Id="rId3" Type="http://schemas.openxmlformats.org/officeDocument/2006/relationships/notesSlide" Target="../notesSlides/notesSlide1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9.xml"/></Relationships>
</file>

<file path=ppt/slides/_rels/slide2218.xml.rels><?xml version='1.0' encoding='UTF-8' standalone='yes'?>
<Relationships xmlns="http://schemas.openxmlformats.org/package/2006/relationships"><Relationship Id="rId1" Type="http://schemas.openxmlformats.org/officeDocument/2006/relationships/tags" Target="../tags/tag2245.xml"/><Relationship Id="rId2" Type="http://schemas.openxmlformats.org/officeDocument/2006/relationships/slideLayout" Target="../slideLayouts/slideLayout7.xml"/><Relationship Id="rId3" Type="http://schemas.openxmlformats.org/officeDocument/2006/relationships/notesSlide" Target="../notesSlides/notesSlide1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1.xml"/></Relationships>
</file>

<file path=ppt/slides/_rels/slide2225.xml.rels><?xml version='1.0' encoding='UTF-8' standalone='yes'?>
<Relationships xmlns="http://schemas.openxmlformats.org/package/2006/relationships"><Relationship Id="rId1" Type="http://schemas.openxmlformats.org/officeDocument/2006/relationships/tags" Target="../tags/tag2252.xml"/><Relationship Id="rId2" Type="http://schemas.openxmlformats.org/officeDocument/2006/relationships/slideLayout" Target="../slideLayouts/slideLayout7.xml"/><Relationship Id="rId3" Type="http://schemas.openxmlformats.org/officeDocument/2006/relationships/notesSlide" Target="../notesSlides/notesSlide1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8.xml"/></Relationships>
</file>

<file path=ppt/slides/_rels/slide2233.xml.rels><?xml version='1.0' encoding='UTF-8' standalone='yes'?>
<Relationships xmlns="http://schemas.openxmlformats.org/package/2006/relationships"><Relationship Id="rId1" Type="http://schemas.openxmlformats.org/officeDocument/2006/relationships/tags" Target="../tags/tag2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6.xml"/></Relationships>
</file>

<file path=ppt/slides/_rels/slide2238.xml.rels><?xml version='1.0' encoding='UTF-8' standalone='yes'?>
<Relationships xmlns="http://schemas.openxmlformats.org/package/2006/relationships"><Relationship Id="rId1" Type="http://schemas.openxmlformats.org/officeDocument/2006/relationships/tags" Target="../tags/tag2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1.xml"/></Relationships>
</file>

<file path=ppt/slides/_rels/slide2239.xml.rels><?xml version='1.0' encoding='UTF-8' standalone='yes'?>
<Relationships xmlns="http://schemas.openxmlformats.org/package/2006/relationships"><Relationship Id="rId1" Type="http://schemas.openxmlformats.org/officeDocument/2006/relationships/tags" Target="../tags/tag2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2.xml"/></Relationships>
</file>

<file path=ppt/slides/_rels/slide2241.xml.rels><?xml version='1.0' encoding='UTF-8' standalone='yes'?>
<Relationships xmlns="http://schemas.openxmlformats.org/package/2006/relationships"><Relationship Id="rId1" Type="http://schemas.openxmlformats.org/officeDocument/2006/relationships/tags" Target="../tags/tag2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4.xml"/></Relationships>
</file>

<file path=ppt/slides/_rels/slide2247.xml.rels><?xml version='1.0' encoding='UTF-8' standalone='yes'?>
<Relationships xmlns="http://schemas.openxmlformats.org/package/2006/relationships"><Relationship Id="rId1" Type="http://schemas.openxmlformats.org/officeDocument/2006/relationships/tags" Target="../tags/tag2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0.xml"/></Relationships>
</file>

<file path=ppt/slides/_rels/slide2254.xml.rels><?xml version='1.0' encoding='UTF-8' standalone='yes'?>
<Relationships xmlns="http://schemas.openxmlformats.org/package/2006/relationships"><Relationship Id="rId1" Type="http://schemas.openxmlformats.org/officeDocument/2006/relationships/tags" Target="../tags/tag2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7.xml"/></Relationships>
</file>

<file path=ppt/slides/_rels/slide2262.xml.rels><?xml version='1.0' encoding='UTF-8' standalone='yes'?>
<Relationships xmlns="http://schemas.openxmlformats.org/package/2006/relationships"><Relationship Id="rId1" Type="http://schemas.openxmlformats.org/officeDocument/2006/relationships/tags" Target="../tags/tag2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5.xml"/></Relationships>
</file>

<file path=ppt/slides/_rels/slide2267.xml.rels><?xml version='1.0' encoding='UTF-8' standalone='yes'?>
<Relationships xmlns="http://schemas.openxmlformats.org/package/2006/relationships"><Relationship Id="rId1" Type="http://schemas.openxmlformats.org/officeDocument/2006/relationships/tags" Target="../tags/tag2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0.xml"/></Relationships>
</file>

<file path=ppt/slides/_rels/slide2268.xml.rels><?xml version='1.0' encoding='UTF-8' standalone='yes'?>
<Relationships xmlns="http://schemas.openxmlformats.org/package/2006/relationships"><Relationship Id="rId1" Type="http://schemas.openxmlformats.org/officeDocument/2006/relationships/tags" Target="../tags/tag2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1.xml"/></Relationships>
</file>

<file path=ppt/slides/_rels/slide2276.xml.rels><?xml version='1.0' encoding='UTF-8' standalone='yes'?>
<Relationships xmlns="http://schemas.openxmlformats.org/package/2006/relationships"><Relationship Id="rId1" Type="http://schemas.openxmlformats.org/officeDocument/2006/relationships/tags" Target="../tags/tag2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9.xml"/></Relationships>
</file>

<file path=ppt/slides/_rels/slide2283.xml.rels><?xml version='1.0' encoding='UTF-8' standalone='yes'?>
<Relationships xmlns="http://schemas.openxmlformats.org/package/2006/relationships"><Relationship Id="rId1" Type="http://schemas.openxmlformats.org/officeDocument/2006/relationships/tags" Target="../tags/tag2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6.xml"/></Relationships>
</file>

<file path=ppt/slides/_rels/slide2285.xml.rels><?xml version='1.0' encoding='UTF-8' standalone='yes'?>
<Relationships xmlns="http://schemas.openxmlformats.org/package/2006/relationships"><Relationship Id="rId1" Type="http://schemas.openxmlformats.org/officeDocument/2006/relationships/tags" Target="../tags/tag2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8.xml"/></Relationships>
</file>

<file path=ppt/slides/_rels/slide2289.xml.rels><?xml version='1.0' encoding='UTF-8' standalone='yes'?>
<Relationships xmlns="http://schemas.openxmlformats.org/package/2006/relationships"><Relationship Id="rId1" Type="http://schemas.openxmlformats.org/officeDocument/2006/relationships/tags" Target="../tags/tag2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2.xml"/></Relationships>
</file>

<file path=ppt/slides/_rels/slide2291.xml.rels><?xml version='1.0' encoding='UTF-8' standalone='yes'?>
<Relationships xmlns="http://schemas.openxmlformats.org/package/2006/relationships"><Relationship Id="rId1" Type="http://schemas.openxmlformats.org/officeDocument/2006/relationships/tags" Target="../tags/tag2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300.xml.rels><?xml version='1.0' encoding='UTF-8' standalone='yes'?>
<Relationships xmlns="http://schemas.openxmlformats.org/package/2006/relationships"><Relationship Id="rId1" Type="http://schemas.openxmlformats.org/officeDocument/2006/relationships/tags" Target="../tags/tag2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3.xml"/></Relationships>
</file>

<file path=ppt/slides/_rels/slide2306.xml.rels><?xml version='1.0' encoding='UTF-8' standalone='yes'?>
<Relationships xmlns="http://schemas.openxmlformats.org/package/2006/relationships"><Relationship Id="rId1" Type="http://schemas.openxmlformats.org/officeDocument/2006/relationships/tags" Target="../tags/tag2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9.xml"/></Relationships>
</file>

<file path=ppt/slides/_rels/slide2308.xml.rels><?xml version='1.0' encoding='UTF-8' standalone='yes'?>
<Relationships xmlns="http://schemas.openxmlformats.org/package/2006/relationships"><Relationship Id="rId1" Type="http://schemas.openxmlformats.org/officeDocument/2006/relationships/tags" Target="../tags/tag2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1.xml"/></Relationships>
</file>

<file path=ppt/slides/_rels/slide2314.xml.rels><?xml version='1.0' encoding='UTF-8' standalone='yes'?>
<Relationships xmlns="http://schemas.openxmlformats.org/package/2006/relationships"><Relationship Id="rId1" Type="http://schemas.openxmlformats.org/officeDocument/2006/relationships/tags" Target="../tags/tag2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7.xml"/></Relationships>
</file>

<file path=ppt/slides/_rels/slide2315.xml.rels><?xml version='1.0' encoding='UTF-8' standalone='yes'?>
<Relationships xmlns="http://schemas.openxmlformats.org/package/2006/relationships"><Relationship Id="rId1" Type="http://schemas.openxmlformats.org/officeDocument/2006/relationships/tags" Target="../tags/tag2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8.xml"/></Relationships>
</file>

<file path=ppt/slides/_rels/slide2321.xml.rels><?xml version='1.0' encoding='UTF-8' standalone='yes'?>
<Relationships xmlns="http://schemas.openxmlformats.org/package/2006/relationships"><Relationship Id="rId1" Type="http://schemas.openxmlformats.org/officeDocument/2006/relationships/tags" Target="../tags/tag2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4.xml"/></Relationships>
</file>

<file path=ppt/slides/_rels/slide2323.xml.rels><?xml version='1.0' encoding='UTF-8' standalone='yes'?>
<Relationships xmlns="http://schemas.openxmlformats.org/package/2006/relationships"><Relationship Id="rId1" Type="http://schemas.openxmlformats.org/officeDocument/2006/relationships/tags" Target="../tags/tag2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6.xml"/></Relationships>
</file>

<file path=ppt/slides/_rels/slide2329.xml.rels><?xml version='1.0' encoding='UTF-8' standalone='yes'?>
<Relationships xmlns="http://schemas.openxmlformats.org/package/2006/relationships"><Relationship Id="rId1" Type="http://schemas.openxmlformats.org/officeDocument/2006/relationships/tags" Target="../tags/tag2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344.xml.rels><?xml version='1.0' encoding='UTF-8' standalone='yes'?>
<Relationships xmlns="http://schemas.openxmlformats.org/package/2006/relationships"><Relationship Id="rId1" Type="http://schemas.openxmlformats.org/officeDocument/2006/relationships/tags" Target="../tags/tag2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7.xml"/></Relationships>
</file>

<file path=ppt/slides/_rels/slide2350.xml.rels><?xml version='1.0' encoding='UTF-8' standalone='yes'?>
<Relationships xmlns="http://schemas.openxmlformats.org/package/2006/relationships"><Relationship Id="rId1" Type="http://schemas.openxmlformats.org/officeDocument/2006/relationships/tags" Target="../tags/tag2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3.xml"/></Relationships>
</file>

<file path=ppt/slides/_rels/slide2352.xml.rels><?xml version='1.0' encoding='UTF-8' standalone='yes'?>
<Relationships xmlns="http://schemas.openxmlformats.org/package/2006/relationships"><Relationship Id="rId1" Type="http://schemas.openxmlformats.org/officeDocument/2006/relationships/tags" Target="../tags/tag2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5.xml"/></Relationships>
</file>

<file path=ppt/slides/_rels/slide2356.xml.rels><?xml version='1.0' encoding='UTF-8' standalone='yes'?>
<Relationships xmlns="http://schemas.openxmlformats.org/package/2006/relationships"><Relationship Id="rId1" Type="http://schemas.openxmlformats.org/officeDocument/2006/relationships/tags" Target="../tags/tag2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9.xml"/></Relationships>
</file>

<file path=ppt/slides/_rels/slide2358.xml.rels><?xml version='1.0' encoding='UTF-8' standalone='yes'?>
<Relationships xmlns="http://schemas.openxmlformats.org/package/2006/relationships"><Relationship Id="rId1" Type="http://schemas.openxmlformats.org/officeDocument/2006/relationships/tags" Target="../tags/tag2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1.xml"/></Relationships>
</file>

<file path=ppt/slides/_rels/slide2365.xml.rels><?xml version='1.0' encoding='UTF-8' standalone='yes'?>
<Relationships xmlns="http://schemas.openxmlformats.org/package/2006/relationships"><Relationship Id="rId1" Type="http://schemas.openxmlformats.org/officeDocument/2006/relationships/tags" Target="../tags/tag2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8.xml"/></Relationships>
</file>

<file path=ppt/slides/_rels/slide2373.xml.rels><?xml version='1.0' encoding='UTF-8' standalone='yes'?>
<Relationships xmlns="http://schemas.openxmlformats.org/package/2006/relationships"><Relationship Id="rId1" Type="http://schemas.openxmlformats.org/officeDocument/2006/relationships/tags" Target="../tags/tag2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6.xml"/></Relationships>
</file>

<file path=ppt/slides/_rels/slide2378.xml.rels><?xml version='1.0' encoding='UTF-8' standalone='yes'?>
<Relationships xmlns="http://schemas.openxmlformats.org/package/2006/relationships"><Relationship Id="rId1" Type="http://schemas.openxmlformats.org/officeDocument/2006/relationships/tags" Target="../tags/tag2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1.xml"/></Relationships>
</file>

<file path=ppt/slides/_rels/slide2379.xml.rels><?xml version='1.0' encoding='UTF-8' standalone='yes'?>
<Relationships xmlns="http://schemas.openxmlformats.org/package/2006/relationships"><Relationship Id="rId1" Type="http://schemas.openxmlformats.org/officeDocument/2006/relationships/tags" Target="../tags/tag24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2.xml"/></Relationships>
</file>

<file path=ppt/slides/_rels/slide2381.xml.rels><?xml version='1.0' encoding='UTF-8' standalone='yes'?>
<Relationships xmlns="http://schemas.openxmlformats.org/package/2006/relationships"><Relationship Id="rId1" Type="http://schemas.openxmlformats.org/officeDocument/2006/relationships/tags" Target="../tags/tag2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4.xml"/></Relationships>
</file>

<file path=ppt/slides/_rels/slide2387.xml.rels><?xml version='1.0' encoding='UTF-8' standalone='yes'?>
<Relationships xmlns="http://schemas.openxmlformats.org/package/2006/relationships"><Relationship Id="rId1" Type="http://schemas.openxmlformats.org/officeDocument/2006/relationships/tags" Target="../tags/tag2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0.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394.xml.rels><?xml version='1.0' encoding='UTF-8' standalone='yes'?>
<Relationships xmlns="http://schemas.openxmlformats.org/package/2006/relationships"><Relationship Id="rId1" Type="http://schemas.openxmlformats.org/officeDocument/2006/relationships/tags" Target="../tags/tag24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7.xml"/></Relationships>
</file>

<file path=ppt/slides/_rels/slide2396.xml.rels><?xml version='1.0' encoding='UTF-8' standalone='yes'?>
<Relationships xmlns="http://schemas.openxmlformats.org/package/2006/relationships"><Relationship Id="rId1" Type="http://schemas.openxmlformats.org/officeDocument/2006/relationships/tags" Target="../tags/tag2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9.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403.xml.rels><?xml version='1.0' encoding='UTF-8' standalone='yes'?>
<Relationships xmlns="http://schemas.openxmlformats.org/package/2006/relationships"><Relationship Id="rId1" Type="http://schemas.openxmlformats.org/officeDocument/2006/relationships/tags" Target="../tags/tag24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6.xml"/></Relationships>
</file>

<file path=ppt/slides/_rels/slide2405.xml.rels><?xml version='1.0' encoding='UTF-8' standalone='yes'?>
<Relationships xmlns="http://schemas.openxmlformats.org/package/2006/relationships"><Relationship Id="rId1" Type="http://schemas.openxmlformats.org/officeDocument/2006/relationships/tags" Target="../tags/tag2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8.xml"/></Relationships>
</file>

<file path=ppt/slides/_rels/slide2410.xml.rels><?xml version='1.0' encoding='UTF-8' standalone='yes'?>
<Relationships xmlns="http://schemas.openxmlformats.org/package/2006/relationships"><Relationship Id="rId1" Type="http://schemas.openxmlformats.org/officeDocument/2006/relationships/tags" Target="../tags/tag24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3.xml"/></Relationships>
</file>

<file path=ppt/slides/_rels/slide2411.xml.rels><?xml version='1.0' encoding='UTF-8' standalone='yes'?>
<Relationships xmlns="http://schemas.openxmlformats.org/package/2006/relationships"><Relationship Id="rId1" Type="http://schemas.openxmlformats.org/officeDocument/2006/relationships/tags" Target="../tags/tag24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4.xml"/></Relationships>
</file>

<file path=ppt/slides/_rels/slide2417.xml.rels><?xml version='1.0' encoding='UTF-8' standalone='yes'?>
<Relationships xmlns="http://schemas.openxmlformats.org/package/2006/relationships"><Relationship Id="rId1" Type="http://schemas.openxmlformats.org/officeDocument/2006/relationships/tags" Target="../tags/tag24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0.xml"/></Relationships>
</file>

<file path=ppt/slides/_rels/slide2419.xml.rels><?xml version='1.0' encoding='UTF-8' standalone='yes'?>
<Relationships xmlns="http://schemas.openxmlformats.org/package/2006/relationships"><Relationship Id="rId1" Type="http://schemas.openxmlformats.org/officeDocument/2006/relationships/tags" Target="../tags/tag2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2.xml"/></Relationships>
</file>

<file path=ppt/slides/_rels/slide2432.xml.rels><?xml version='1.0' encoding='UTF-8' standalone='yes'?>
<Relationships xmlns="http://schemas.openxmlformats.org/package/2006/relationships"><Relationship Id="rId1" Type="http://schemas.openxmlformats.org/officeDocument/2006/relationships/tags" Target="../tags/tag24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5.xml"/></Relationships>
</file>

<file path=ppt/slides/_rels/slide2434.xml.rels><?xml version='1.0' encoding='UTF-8' standalone='yes'?>
<Relationships xmlns="http://schemas.openxmlformats.org/package/2006/relationships"><Relationship Id="rId1" Type="http://schemas.openxmlformats.org/officeDocument/2006/relationships/tags" Target="../tags/tag2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7.xml"/></Relationships>
</file>

<file path=ppt/slides/_rels/slide2440.xml.rels><?xml version='1.0' encoding='UTF-8' standalone='yes'?>
<Relationships xmlns="http://schemas.openxmlformats.org/package/2006/relationships"><Relationship Id="rId1" Type="http://schemas.openxmlformats.org/officeDocument/2006/relationships/tags" Target="../tags/tag24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3.xml"/></Relationships>
</file>

<file path=ppt/slides/_rels/slide2446.xml.rels><?xml version='1.0' encoding='UTF-8' standalone='yes'?>
<Relationships xmlns="http://schemas.openxmlformats.org/package/2006/relationships"><Relationship Id="rId1" Type="http://schemas.openxmlformats.org/officeDocument/2006/relationships/tags" Target="../tags/tag24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9.xml"/></Relationships>
</file>

<file path=ppt/slides/_rels/slide2448.xml.rels><?xml version='1.0' encoding='UTF-8' standalone='yes'?>
<Relationships xmlns="http://schemas.openxmlformats.org/package/2006/relationships"><Relationship Id="rId1" Type="http://schemas.openxmlformats.org/officeDocument/2006/relationships/tags" Target="../tags/tag2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1.xml"/></Relationships>
</file>

<file path=ppt/slides/_rels/slide2454.xml.rels><?xml version='1.0' encoding='UTF-8' standalone='yes'?>
<Relationships xmlns="http://schemas.openxmlformats.org/package/2006/relationships"><Relationship Id="rId1" Type="http://schemas.openxmlformats.org/officeDocument/2006/relationships/tags" Target="../tags/tag2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7.xml"/></Relationships>
</file>

<file path=ppt/slides/_rels/slide2455.xml.rels><?xml version='1.0' encoding='UTF-8' standalone='yes'?>
<Relationships xmlns="http://schemas.openxmlformats.org/package/2006/relationships"><Relationship Id="rId1" Type="http://schemas.openxmlformats.org/officeDocument/2006/relationships/tags" Target="../tags/tag24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8.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9.emf"/></Relationships>
</file>

<file path=ppt/slides/_rels/slide2461.xml.rels><?xml version='1.0' encoding='UTF-8' standalone='yes'?>
<Relationships xmlns="http://schemas.openxmlformats.org/package/2006/relationships"><Relationship Id="rId1" Type="http://schemas.openxmlformats.org/officeDocument/2006/relationships/tags" Target="../tags/tag2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4.xml"/></Relationships>
</file>

<file path=ppt/slides/_rels/slide2463.xml.rels><?xml version='1.0' encoding='UTF-8' standalone='yes'?>
<Relationships xmlns="http://schemas.openxmlformats.org/package/2006/relationships"><Relationship Id="rId1" Type="http://schemas.openxmlformats.org/officeDocument/2006/relationships/tags" Target="../tags/tag2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6.xml"/></Relationships>
</file>

<file path=ppt/slides/_rels/slide2469.xml.rels><?xml version='1.0' encoding='UTF-8' standalone='yes'?>
<Relationships xmlns="http://schemas.openxmlformats.org/package/2006/relationships"><Relationship Id="rId1" Type="http://schemas.openxmlformats.org/officeDocument/2006/relationships/tags" Target="../tags/tag2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2.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0.xml"/></Relationships>
</file>

<file path=ppt/slides/_rels/slide2484.xml.rels><?xml version='1.0' encoding='UTF-8' standalone='yes'?>
<Relationships xmlns="http://schemas.openxmlformats.org/package/2006/relationships"><Relationship Id="rId1" Type="http://schemas.openxmlformats.org/officeDocument/2006/relationships/tags" Target="../tags/tag2511.xml"/><Relationship Id="rId2" Type="http://schemas.openxmlformats.org/officeDocument/2006/relationships/slideLayout" Target="../slideLayouts/slideLayout7.xml"/><Relationship Id="rId3" Type="http://schemas.openxmlformats.org/officeDocument/2006/relationships/notesSlide" Target="../notesSlides/notesSlide1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7.xml"/></Relationships>
</file>

<file path=ppt/slides/_rels/slide2490.xml.rels><?xml version='1.0' encoding='UTF-8' standalone='yes'?>
<Relationships xmlns="http://schemas.openxmlformats.org/package/2006/relationships"><Relationship Id="rId1" Type="http://schemas.openxmlformats.org/officeDocument/2006/relationships/tags" Target="../tags/tag2517.xml"/><Relationship Id="rId2" Type="http://schemas.openxmlformats.org/officeDocument/2006/relationships/slideLayout" Target="../slideLayouts/slideLayout7.xml"/><Relationship Id="rId3" Type="http://schemas.openxmlformats.org/officeDocument/2006/relationships/notesSlide" Target="../notesSlides/notesSlide1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3.xml"/></Relationships>
</file>

<file path=ppt/slides/_rels/slide2492.xml.rels><?xml version='1.0' encoding='UTF-8' standalone='yes'?>
<Relationships xmlns="http://schemas.openxmlformats.org/package/2006/relationships"><Relationship Id="rId1" Type="http://schemas.openxmlformats.org/officeDocument/2006/relationships/tags" Target="../tags/tag2519.xml"/><Relationship Id="rId2" Type="http://schemas.openxmlformats.org/officeDocument/2006/relationships/slideLayout" Target="../slideLayouts/slideLayout7.xml"/><Relationship Id="rId3" Type="http://schemas.openxmlformats.org/officeDocument/2006/relationships/notesSlide" Target="../notesSlides/notesSlide1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5.xml"/></Relationships>
</file>

<file path=ppt/slides/_rels/slide2499.xml.rels><?xml version='1.0' encoding='UTF-8' standalone='yes'?>
<Relationships xmlns="http://schemas.openxmlformats.org/package/2006/relationships"><Relationship Id="rId1" Type="http://schemas.openxmlformats.org/officeDocument/2006/relationships/tags" Target="../tags/tag2526.xml"/><Relationship Id="rId2" Type="http://schemas.openxmlformats.org/officeDocument/2006/relationships/slideLayout" Target="../slideLayouts/slideLayout7.xml"/><Relationship Id="rId3" Type="http://schemas.openxmlformats.org/officeDocument/2006/relationships/notesSlide" Target="../notesSlides/notesSlide1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501.xml.rels><?xml version='1.0' encoding='UTF-8' standalone='yes'?>
<Relationships xmlns="http://schemas.openxmlformats.org/package/2006/relationships"><Relationship Id="rId1" Type="http://schemas.openxmlformats.org/officeDocument/2006/relationships/tags" Target="../tags/tag2528.xml"/><Relationship Id="rId2" Type="http://schemas.openxmlformats.org/officeDocument/2006/relationships/slideLayout" Target="../slideLayouts/slideLayout7.xml"/><Relationship Id="rId3" Type="http://schemas.openxmlformats.org/officeDocument/2006/relationships/notesSlide" Target="../notesSlides/notesSlide1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4.xml"/></Relationships>
</file>

<file path=ppt/slides/_rels/slide2507.xml.rels><?xml version='1.0' encoding='UTF-8' standalone='yes'?>
<Relationships xmlns="http://schemas.openxmlformats.org/package/2006/relationships"><Relationship Id="rId1" Type="http://schemas.openxmlformats.org/officeDocument/2006/relationships/tags" Target="../tags/tag2534.xml"/><Relationship Id="rId2" Type="http://schemas.openxmlformats.org/officeDocument/2006/relationships/slideLayout" Target="../slideLayouts/slideLayout7.xml"/><Relationship Id="rId3" Type="http://schemas.openxmlformats.org/officeDocument/2006/relationships/notesSlide" Target="../notesSlides/notesSlide1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0.xml"/></Relationships>
</file>

<file path=ppt/slides/_rels/slide2521.xml.rels><?xml version='1.0' encoding='UTF-8' standalone='yes'?>
<Relationships xmlns="http://schemas.openxmlformats.org/package/2006/relationships"><Relationship Id="rId1" Type="http://schemas.openxmlformats.org/officeDocument/2006/relationships/tags" Target="../tags/tag2548.xml"/><Relationship Id="rId2" Type="http://schemas.openxmlformats.org/officeDocument/2006/relationships/slideLayout" Target="../slideLayouts/slideLayout7.xml"/><Relationship Id="rId3" Type="http://schemas.openxmlformats.org/officeDocument/2006/relationships/notesSlide" Target="../notesSlides/notesSlide1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4.xml"/></Relationships>
</file>

<file path=ppt/slides/_rels/slide2522.xml.rels><?xml version='1.0' encoding='UTF-8' standalone='yes'?>
<Relationships xmlns="http://schemas.openxmlformats.org/package/2006/relationships"><Relationship Id="rId1" Type="http://schemas.openxmlformats.org/officeDocument/2006/relationships/tags" Target="../tags/tag2549.xml"/><Relationship Id="rId2" Type="http://schemas.openxmlformats.org/officeDocument/2006/relationships/slideLayout" Target="../slideLayouts/slideLayout7.xml"/><Relationship Id="rId3" Type="http://schemas.openxmlformats.org/officeDocument/2006/relationships/notesSlide" Target="../notesSlides/notesSlide1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5.xml"/></Relationships>
</file>

<file path=ppt/slides/_rels/slide2524.xml.rels><?xml version='1.0' encoding='UTF-8' standalone='yes'?>
<Relationships xmlns="http://schemas.openxmlformats.org/package/2006/relationships"><Relationship Id="rId1" Type="http://schemas.openxmlformats.org/officeDocument/2006/relationships/tags" Target="../tags/tag2551.xml"/><Relationship Id="rId2" Type="http://schemas.openxmlformats.org/officeDocument/2006/relationships/slideLayout" Target="../slideLayouts/slideLayout7.xml"/><Relationship Id="rId3" Type="http://schemas.openxmlformats.org/officeDocument/2006/relationships/notesSlide" Target="../notesSlides/notesSlide1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7.xml"/></Relationships>
</file>

<file path=ppt/slides/_rels/slide2528.xml.rels><?xml version='1.0' encoding='UTF-8' standalone='yes'?>
<Relationships xmlns="http://schemas.openxmlformats.org/package/2006/relationships"><Relationship Id="rId1" Type="http://schemas.openxmlformats.org/officeDocument/2006/relationships/tags" Target="../tags/tag2555.xml"/><Relationship Id="rId2" Type="http://schemas.openxmlformats.org/officeDocument/2006/relationships/slideLayout" Target="../slideLayouts/slideLayout7.xml"/><Relationship Id="rId3" Type="http://schemas.openxmlformats.org/officeDocument/2006/relationships/notesSlide" Target="../notesSlides/notesSlide1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1.xml"/></Relationships>
</file>

<file path=ppt/slides/_rels/slide2530.xml.rels><?xml version='1.0' encoding='UTF-8' standalone='yes'?>
<Relationships xmlns="http://schemas.openxmlformats.org/package/2006/relationships"><Relationship Id="rId1" Type="http://schemas.openxmlformats.org/officeDocument/2006/relationships/tags" Target="../tags/tag2557.xml"/><Relationship Id="rId2" Type="http://schemas.openxmlformats.org/officeDocument/2006/relationships/slideLayout" Target="../slideLayouts/slideLayout7.xml"/><Relationship Id="rId3" Type="http://schemas.openxmlformats.org/officeDocument/2006/relationships/notesSlide" Target="../notesSlides/notesSlide1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3.xml"/></Relationships>
</file>

<file path=ppt/slides/_rels/slide2536.xml.rels><?xml version='1.0' encoding='UTF-8' standalone='yes'?>
<Relationships xmlns="http://schemas.openxmlformats.org/package/2006/relationships"><Relationship Id="rId1" Type="http://schemas.openxmlformats.org/officeDocument/2006/relationships/tags" Target="../tags/tag2563.xml"/><Relationship Id="rId2" Type="http://schemas.openxmlformats.org/officeDocument/2006/relationships/slideLayout" Target="../slideLayouts/slideLayout7.xml"/><Relationship Id="rId3" Type="http://schemas.openxmlformats.org/officeDocument/2006/relationships/notesSlide" Target="../notesSlides/notesSlide1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9.xml"/></Relationships>
</file>

<file path=ppt/slides/_rels/slide2543.xml.rels><?xml version='1.0' encoding='UTF-8' standalone='yes'?>
<Relationships xmlns="http://schemas.openxmlformats.org/package/2006/relationships"><Relationship Id="rId1" Type="http://schemas.openxmlformats.org/officeDocument/2006/relationships/tags" Target="../tags/tag2570.xml"/><Relationship Id="rId2" Type="http://schemas.openxmlformats.org/officeDocument/2006/relationships/slideLayout" Target="../slideLayouts/slideLayout7.xml"/><Relationship Id="rId3" Type="http://schemas.openxmlformats.org/officeDocument/2006/relationships/notesSlide" Target="../notesSlides/notesSlide1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6.xml"/></Relationships>
</file>

<file path=ppt/slides/_rels/slide2545.xml.rels><?xml version='1.0' encoding='UTF-8' standalone='yes'?>
<Relationships xmlns="http://schemas.openxmlformats.org/package/2006/relationships"><Relationship Id="rId1" Type="http://schemas.openxmlformats.org/officeDocument/2006/relationships/tags" Target="../tags/tag2572.xml"/><Relationship Id="rId2" Type="http://schemas.openxmlformats.org/officeDocument/2006/relationships/slideLayout" Target="../slideLayouts/slideLayout7.xml"/><Relationship Id="rId3" Type="http://schemas.openxmlformats.org/officeDocument/2006/relationships/notesSlide" Target="../notesSlides/notesSlide1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8.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s>
</file>

<file path=ppt/slides/_rels/slide2551.xml.rels><?xml version='1.0' encoding='UTF-8' standalone='yes'?>
<Relationships xmlns="http://schemas.openxmlformats.org/package/2006/relationships"><Relationship Id="rId1" Type="http://schemas.openxmlformats.org/officeDocument/2006/relationships/tags" Target="../tags/tag2578.xml"/><Relationship Id="rId2" Type="http://schemas.openxmlformats.org/officeDocument/2006/relationships/slideLayout" Target="../slideLayouts/slideLayout7.xml"/><Relationship Id="rId3" Type="http://schemas.openxmlformats.org/officeDocument/2006/relationships/notesSlide" Target="../notesSlides/notesSlide1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4.xml"/></Relationships>
</file>

<file path=ppt/slides/_rels/slide2557.xml.rels><?xml version='1.0' encoding='UTF-8' standalone='yes'?>
<Relationships xmlns="http://schemas.openxmlformats.org/package/2006/relationships"><Relationship Id="rId1" Type="http://schemas.openxmlformats.org/officeDocument/2006/relationships/tags" Target="../tags/tag2584.xml"/><Relationship Id="rId2" Type="http://schemas.openxmlformats.org/officeDocument/2006/relationships/slideLayout" Target="../slideLayouts/slideLayout7.xml"/><Relationship Id="rId3" Type="http://schemas.openxmlformats.org/officeDocument/2006/relationships/notesSlide" Target="../notesSlides/notesSlide1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0.xml"/></Relationships>
</file>

<file path=ppt/slides/_rels/slide2559.xml.rels><?xml version='1.0' encoding='UTF-8' standalone='yes'?>
<Relationships xmlns="http://schemas.openxmlformats.org/package/2006/relationships"><Relationship Id="rId1" Type="http://schemas.openxmlformats.org/officeDocument/2006/relationships/tags" Target="../tags/tag2586.xml"/><Relationship Id="rId2" Type="http://schemas.openxmlformats.org/officeDocument/2006/relationships/slideLayout" Target="../slideLayouts/slideLayout7.xml"/><Relationship Id="rId3" Type="http://schemas.openxmlformats.org/officeDocument/2006/relationships/notesSlide" Target="../notesSlides/notesSlide1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2.xml"/></Relationships>
</file>

<file path=ppt/slides/_rels/slide2572.xml.rels><?xml version='1.0' encoding='UTF-8' standalone='yes'?>
<Relationships xmlns="http://schemas.openxmlformats.org/package/2006/relationships"><Relationship Id="rId1" Type="http://schemas.openxmlformats.org/officeDocument/2006/relationships/tags" Target="../tags/tag2599.xml"/><Relationship Id="rId2" Type="http://schemas.openxmlformats.org/officeDocument/2006/relationships/slideLayout" Target="../slideLayouts/slideLayout7.xml"/><Relationship Id="rId3" Type="http://schemas.openxmlformats.org/officeDocument/2006/relationships/notesSlide" Target="../notesSlides/notesSlide1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5.xml"/></Relationships>
</file>

<file path=ppt/slides/_rels/slide2574.xml.rels><?xml version='1.0' encoding='UTF-8' standalone='yes'?>
<Relationships xmlns="http://schemas.openxmlformats.org/package/2006/relationships"><Relationship Id="rId1" Type="http://schemas.openxmlformats.org/officeDocument/2006/relationships/tags" Target="../tags/tag2601.xml"/><Relationship Id="rId2" Type="http://schemas.openxmlformats.org/officeDocument/2006/relationships/slideLayout" Target="../slideLayouts/slideLayout7.xml"/><Relationship Id="rId3" Type="http://schemas.openxmlformats.org/officeDocument/2006/relationships/notesSlide" Target="../notesSlides/notesSlide1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7.xml"/></Relationships>
</file>

<file path=ppt/slides/_rels/slide2580.xml.rels><?xml version='1.0' encoding='UTF-8' standalone='yes'?>
<Relationships xmlns="http://schemas.openxmlformats.org/package/2006/relationships"><Relationship Id="rId1" Type="http://schemas.openxmlformats.org/officeDocument/2006/relationships/tags" Target="../tags/tag2607.xml"/><Relationship Id="rId2" Type="http://schemas.openxmlformats.org/officeDocument/2006/relationships/slideLayout" Target="../slideLayouts/slideLayout7.xml"/><Relationship Id="rId3" Type="http://schemas.openxmlformats.org/officeDocument/2006/relationships/notesSlide" Target="../notesSlides/notesSlide1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3.xml"/></Relationships>
</file>

<file path=ppt/slides/_rels/slide2586.xml.rels><?xml version='1.0' encoding='UTF-8' standalone='yes'?>
<Relationships xmlns="http://schemas.openxmlformats.org/package/2006/relationships"><Relationship Id="rId1" Type="http://schemas.openxmlformats.org/officeDocument/2006/relationships/tags" Target="../tags/tag2613.xml"/><Relationship Id="rId2" Type="http://schemas.openxmlformats.org/officeDocument/2006/relationships/slideLayout" Target="../slideLayouts/slideLayout7.xml"/><Relationship Id="rId3" Type="http://schemas.openxmlformats.org/officeDocument/2006/relationships/notesSlide" Target="../notesSlides/notesSlide1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9.xml"/></Relationships>
</file>

<file path=ppt/slides/_rels/slide2588.xml.rels><?xml version='1.0' encoding='UTF-8' standalone='yes'?>
<Relationships xmlns="http://schemas.openxmlformats.org/package/2006/relationships"><Relationship Id="rId1" Type="http://schemas.openxmlformats.org/officeDocument/2006/relationships/tags" Target="../tags/tag2615.xml"/><Relationship Id="rId2" Type="http://schemas.openxmlformats.org/officeDocument/2006/relationships/slideLayout" Target="../slideLayouts/slideLayout7.xml"/><Relationship Id="rId3" Type="http://schemas.openxmlformats.org/officeDocument/2006/relationships/notesSlide" Target="../notesSlides/notesSlide1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1.xml"/></Relationships>
</file>

<file path=ppt/slides/_rels/slide2594.xml.rels><?xml version='1.0' encoding='UTF-8' standalone='yes'?>
<Relationships xmlns="http://schemas.openxmlformats.org/package/2006/relationships"><Relationship Id="rId1" Type="http://schemas.openxmlformats.org/officeDocument/2006/relationships/tags" Target="../tags/tag2621.xml"/><Relationship Id="rId2" Type="http://schemas.openxmlformats.org/officeDocument/2006/relationships/slideLayout" Target="../slideLayouts/slideLayout7.xml"/><Relationship Id="rId3" Type="http://schemas.openxmlformats.org/officeDocument/2006/relationships/notesSlide" Target="../notesSlides/notesSlide1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7.xml"/></Relationships>
</file>

<file path=ppt/slides/_rels/slide2595.xml.rels><?xml version='1.0' encoding='UTF-8' standalone='yes'?>
<Relationships xmlns="http://schemas.openxmlformats.org/package/2006/relationships"><Relationship Id="rId1" Type="http://schemas.openxmlformats.org/officeDocument/2006/relationships/tags" Target="../tags/tag2622.xml"/><Relationship Id="rId2" Type="http://schemas.openxmlformats.org/officeDocument/2006/relationships/slideLayout" Target="../slideLayouts/slideLayout7.xml"/><Relationship Id="rId3" Type="http://schemas.openxmlformats.org/officeDocument/2006/relationships/notesSlide" Target="../notesSlides/notesSlide1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8.xml"/></Relationships>
</file>

<file path=ppt/slides/_rels/slide2597.xml.rels><?xml version='1.0' encoding='UTF-8' standalone='yes'?>
<Relationships xmlns="http://schemas.openxmlformats.org/package/2006/relationships"><Relationship Id="rId1" Type="http://schemas.openxmlformats.org/officeDocument/2006/relationships/tags" Target="../tags/tag2624.xml"/><Relationship Id="rId2" Type="http://schemas.openxmlformats.org/officeDocument/2006/relationships/slideLayout" Target="../slideLayouts/slideLayout7.xml"/><Relationship Id="rId3" Type="http://schemas.openxmlformats.org/officeDocument/2006/relationships/notesSlide" Target="../notesSlides/notesSlide1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0.xml"/></Relationships>
</file>

<file path=ppt/slides/_rels/slide2604.xml.rels><?xml version='1.0' encoding='UTF-8' standalone='yes'?>
<Relationships xmlns="http://schemas.openxmlformats.org/package/2006/relationships"><Relationship Id="rId1" Type="http://schemas.openxmlformats.org/officeDocument/2006/relationships/tags" Target="../tags/tag2631.xml"/><Relationship Id="rId2" Type="http://schemas.openxmlformats.org/officeDocument/2006/relationships/slideLayout" Target="../slideLayouts/slideLayout7.xml"/><Relationship Id="rId3" Type="http://schemas.openxmlformats.org/officeDocument/2006/relationships/notesSlide" Target="../notesSlides/notesSlide1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7.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s>
</file>

<file path=ppt/slides/_rels/slide2610.xml.rels><?xml version='1.0' encoding='UTF-8' standalone='yes'?>
<Relationships xmlns="http://schemas.openxmlformats.org/package/2006/relationships"><Relationship Id="rId1" Type="http://schemas.openxmlformats.org/officeDocument/2006/relationships/tags" Target="../tags/tag2637.xml"/><Relationship Id="rId2" Type="http://schemas.openxmlformats.org/officeDocument/2006/relationships/slideLayout" Target="../slideLayouts/slideLayout7.xml"/><Relationship Id="rId3" Type="http://schemas.openxmlformats.org/officeDocument/2006/relationships/notesSlide" Target="../notesSlides/notesSlide1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3.xml"/></Relationships>
</file>

<file path=ppt/slides/_rels/slide2612.xml.rels><?xml version='1.0' encoding='UTF-8' standalone='yes'?>
<Relationships xmlns="http://schemas.openxmlformats.org/package/2006/relationships"><Relationship Id="rId1" Type="http://schemas.openxmlformats.org/officeDocument/2006/relationships/tags" Target="../tags/tag2639.xml"/><Relationship Id="rId2" Type="http://schemas.openxmlformats.org/officeDocument/2006/relationships/slideLayout" Target="../slideLayouts/slideLayout7.xml"/><Relationship Id="rId3" Type="http://schemas.openxmlformats.org/officeDocument/2006/relationships/notesSlide" Target="../notesSlides/notesSlide1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5.xml"/></Relationships>
</file>

<file path=ppt/slides/_rels/slide2617.xml.rels><?xml version='1.0' encoding='UTF-8' standalone='yes'?>
<Relationships xmlns="http://schemas.openxmlformats.org/package/2006/relationships"><Relationship Id="rId1" Type="http://schemas.openxmlformats.org/officeDocument/2006/relationships/tags" Target="../tags/tag2644.xml"/><Relationship Id="rId2" Type="http://schemas.openxmlformats.org/officeDocument/2006/relationships/slideLayout" Target="../slideLayouts/slideLayout7.xml"/><Relationship Id="rId3" Type="http://schemas.openxmlformats.org/officeDocument/2006/relationships/notesSlide" Target="../notesSlides/notesSlide1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0.xml"/></Relationships>
</file>

<file path=ppt/slides/_rels/slide2618.xml.rels><?xml version='1.0' encoding='UTF-8' standalone='yes'?>
<Relationships xmlns="http://schemas.openxmlformats.org/package/2006/relationships"><Relationship Id="rId1" Type="http://schemas.openxmlformats.org/officeDocument/2006/relationships/tags" Target="../tags/tag2645.xml"/><Relationship Id="rId2" Type="http://schemas.openxmlformats.org/officeDocument/2006/relationships/slideLayout" Target="../slideLayouts/slideLayout7.xml"/><Relationship Id="rId3" Type="http://schemas.openxmlformats.org/officeDocument/2006/relationships/notesSlide" Target="../notesSlides/notesSlide1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1.xml"/></Relationships>
</file>

<file path=ppt/slides/_rels/slide2626.xml.rels><?xml version='1.0' encoding='UTF-8' standalone='yes'?>
<Relationships xmlns="http://schemas.openxmlformats.org/package/2006/relationships"><Relationship Id="rId1" Type="http://schemas.openxmlformats.org/officeDocument/2006/relationships/tags" Target="../tags/tag2653.xml"/><Relationship Id="rId2" Type="http://schemas.openxmlformats.org/officeDocument/2006/relationships/slideLayout" Target="../slideLayouts/slideLayout7.xml"/><Relationship Id="rId3" Type="http://schemas.openxmlformats.org/officeDocument/2006/relationships/notesSlide" Target="../notesSlides/notesSlide1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9.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5.xml"/></Relationships>
</file>

<file path=ppt/slides/_rels/slide2633.xml.rels><?xml version='1.0' encoding='UTF-8' standalone='yes'?>
<Relationships xmlns="http://schemas.openxmlformats.org/package/2006/relationships"><Relationship Id="rId1" Type="http://schemas.openxmlformats.org/officeDocument/2006/relationships/tags" Target="../tags/tag2660.xml"/><Relationship Id="rId2" Type="http://schemas.openxmlformats.org/officeDocument/2006/relationships/slideLayout" Target="../slideLayouts/slideLayout7.xml"/><Relationship Id="rId3" Type="http://schemas.openxmlformats.org/officeDocument/2006/relationships/notesSlide" Target="../notesSlides/notesSlide1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6.xml"/></Relationships>
</file>

<file path=ppt/slides/_rels/slide2635.xml.rels><?xml version='1.0' encoding='UTF-8' standalone='yes'?>
<Relationships xmlns="http://schemas.openxmlformats.org/package/2006/relationships"><Relationship Id="rId1" Type="http://schemas.openxmlformats.org/officeDocument/2006/relationships/tags" Target="../tags/tag2662.xml"/><Relationship Id="rId2" Type="http://schemas.openxmlformats.org/officeDocument/2006/relationships/slideLayout" Target="../slideLayouts/slideLayout7.xml"/><Relationship Id="rId3" Type="http://schemas.openxmlformats.org/officeDocument/2006/relationships/notesSlide" Target="../notesSlides/notesSlide1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8.xml"/></Relationships>
</file>

<file path=ppt/slides/_rels/slide2639.xml.rels><?xml version='1.0' encoding='UTF-8' standalone='yes'?>
<Relationships xmlns="http://schemas.openxmlformats.org/package/2006/relationships"><Relationship Id="rId1" Type="http://schemas.openxmlformats.org/officeDocument/2006/relationships/tags" Target="../tags/tag2666.xml"/><Relationship Id="rId2" Type="http://schemas.openxmlformats.org/officeDocument/2006/relationships/slideLayout" Target="../slideLayouts/slideLayout7.xml"/><Relationship Id="rId3" Type="http://schemas.openxmlformats.org/officeDocument/2006/relationships/notesSlide" Target="../notesSlides/notesSlide1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2.xml"/></Relationships>
</file>

<file path=ppt/slides/_rels/slide2641.xml.rels><?xml version='1.0' encoding='UTF-8' standalone='yes'?>
<Relationships xmlns="http://schemas.openxmlformats.org/package/2006/relationships"><Relationship Id="rId1" Type="http://schemas.openxmlformats.org/officeDocument/2006/relationships/tags" Target="../tags/tag2668.xml"/><Relationship Id="rId2" Type="http://schemas.openxmlformats.org/officeDocument/2006/relationships/slideLayout" Target="../slideLayouts/slideLayout7.xml"/><Relationship Id="rId3" Type="http://schemas.openxmlformats.org/officeDocument/2006/relationships/notesSlide" Target="../notesSlides/notesSlide1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4.xml"/></Relationships>
</file>

<file path=ppt/slides/_rels/slide2647.xml.rels><?xml version='1.0' encoding='UTF-8' standalone='yes'?>
<Relationships xmlns="http://schemas.openxmlformats.org/package/2006/relationships"><Relationship Id="rId1" Type="http://schemas.openxmlformats.org/officeDocument/2006/relationships/tags" Target="../tags/tag2674.xml"/><Relationship Id="rId2" Type="http://schemas.openxmlformats.org/officeDocument/2006/relationships/slideLayout" Target="../slideLayouts/slideLayout7.xml"/><Relationship Id="rId3" Type="http://schemas.openxmlformats.org/officeDocument/2006/relationships/notesSlide" Target="../notesSlides/notesSlide1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0.xml"/></Relationships>
</file>

<file path=ppt/slides/_rels/slide2661.xml.rels><?xml version='1.0' encoding='UTF-8' standalone='yes'?>
<Relationships xmlns="http://schemas.openxmlformats.org/package/2006/relationships"><Relationship Id="rId1" Type="http://schemas.openxmlformats.org/officeDocument/2006/relationships/tags" Target="../tags/tag2688.xml"/><Relationship Id="rId2" Type="http://schemas.openxmlformats.org/officeDocument/2006/relationships/slideLayout" Target="../slideLayouts/slideLayout7.xml"/><Relationship Id="rId3" Type="http://schemas.openxmlformats.org/officeDocument/2006/relationships/notesSlide" Target="../notesSlides/notesSlide1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4.xml"/></Relationships>
</file>

<file path=ppt/slides/_rels/slide2662.xml.rels><?xml version='1.0' encoding='UTF-8' standalone='yes'?>
<Relationships xmlns="http://schemas.openxmlformats.org/package/2006/relationships"><Relationship Id="rId1" Type="http://schemas.openxmlformats.org/officeDocument/2006/relationships/tags" Target="../tags/tag2689.xml"/><Relationship Id="rId2" Type="http://schemas.openxmlformats.org/officeDocument/2006/relationships/slideLayout" Target="../slideLayouts/slideLayout7.xml"/><Relationship Id="rId3" Type="http://schemas.openxmlformats.org/officeDocument/2006/relationships/notesSlide" Target="../notesSlides/notesSlide1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5.xml"/></Relationships>
</file>

<file path=ppt/slides/_rels/slide2664.xml.rels><?xml version='1.0' encoding='UTF-8' standalone='yes'?>
<Relationships xmlns="http://schemas.openxmlformats.org/package/2006/relationships"><Relationship Id="rId1" Type="http://schemas.openxmlformats.org/officeDocument/2006/relationships/tags" Target="../tags/tag2691.xml"/><Relationship Id="rId2" Type="http://schemas.openxmlformats.org/officeDocument/2006/relationships/slideLayout" Target="../slideLayouts/slideLayout7.xml"/><Relationship Id="rId3" Type="http://schemas.openxmlformats.org/officeDocument/2006/relationships/notesSlide" Target="../notesSlides/notesSlide1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7.xml"/></Relationships>
</file>

<file path=ppt/slides/_rels/slide2668.xml.rels><?xml version='1.0' encoding='UTF-8' standalone='yes'?>
<Relationships xmlns="http://schemas.openxmlformats.org/package/2006/relationships"><Relationship Id="rId1" Type="http://schemas.openxmlformats.org/officeDocument/2006/relationships/tags" Target="../tags/tag2695.xml"/><Relationship Id="rId2" Type="http://schemas.openxmlformats.org/officeDocument/2006/relationships/slideLayout" Target="../slideLayouts/slideLayout7.xml"/><Relationship Id="rId3" Type="http://schemas.openxmlformats.org/officeDocument/2006/relationships/notesSlide" Target="../notesSlides/notesSlide1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1.xml"/></Relationships>
</file>

<file path=ppt/slides/_rels/slide2670.xml.rels><?xml version='1.0' encoding='UTF-8' standalone='yes'?>
<Relationships xmlns="http://schemas.openxmlformats.org/package/2006/relationships"><Relationship Id="rId1" Type="http://schemas.openxmlformats.org/officeDocument/2006/relationships/tags" Target="../tags/tag2697.xml"/><Relationship Id="rId2" Type="http://schemas.openxmlformats.org/officeDocument/2006/relationships/slideLayout" Target="../slideLayouts/slideLayout7.xml"/><Relationship Id="rId3" Type="http://schemas.openxmlformats.org/officeDocument/2006/relationships/notesSlide" Target="../notesSlides/notesSlide13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3.xml"/></Relationships>
</file>

<file path=ppt/slides/_rels/slide2676.xml.rels><?xml version='1.0' encoding='UTF-8' standalone='yes'?>
<Relationships xmlns="http://schemas.openxmlformats.org/package/2006/relationships"><Relationship Id="rId1" Type="http://schemas.openxmlformats.org/officeDocument/2006/relationships/tags" Target="../tags/tag2703.xml"/><Relationship Id="rId2" Type="http://schemas.openxmlformats.org/officeDocument/2006/relationships/slideLayout" Target="../slideLayouts/slideLayout7.xml"/><Relationship Id="rId3" Type="http://schemas.openxmlformats.org/officeDocument/2006/relationships/notesSlide" Target="../notesSlides/notesSlide13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9.xml"/></Relationships>
</file>

<file path=ppt/slides/_rels/slide2683.xml.rels><?xml version='1.0' encoding='UTF-8' standalone='yes'?>
<Relationships xmlns="http://schemas.openxmlformats.org/package/2006/relationships"><Relationship Id="rId1" Type="http://schemas.openxmlformats.org/officeDocument/2006/relationships/tags" Target="../tags/tag2710.xml"/><Relationship Id="rId2" Type="http://schemas.openxmlformats.org/officeDocument/2006/relationships/slideLayout" Target="../slideLayouts/slideLayout7.xml"/><Relationship Id="rId3" Type="http://schemas.openxmlformats.org/officeDocument/2006/relationships/notesSlide" Target="../notesSlides/notesSlide1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6.xml"/></Relationships>
</file>

<file path=ppt/slides/_rels/slide2685.xml.rels><?xml version='1.0' encoding='UTF-8' standalone='yes'?>
<Relationships xmlns="http://schemas.openxmlformats.org/package/2006/relationships"><Relationship Id="rId1" Type="http://schemas.openxmlformats.org/officeDocument/2006/relationships/tags" Target="../tags/tag2712.xml"/><Relationship Id="rId2" Type="http://schemas.openxmlformats.org/officeDocument/2006/relationships/slideLayout" Target="../slideLayouts/slideLayout7.xml"/><Relationship Id="rId3" Type="http://schemas.openxmlformats.org/officeDocument/2006/relationships/notesSlide" Target="../notesSlides/notesSlide1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1.xml"/></Relationships>
</file>

<file path=ppt/slides/_rels/slide2691.xml.rels><?xml version='1.0' encoding='UTF-8' standalone='yes'?>
<Relationships xmlns="http://schemas.openxmlformats.org/package/2006/relationships"><Relationship Id="rId1" Type="http://schemas.openxmlformats.org/officeDocument/2006/relationships/tags" Target="../tags/tag2718.xml"/><Relationship Id="rId2" Type="http://schemas.openxmlformats.org/officeDocument/2006/relationships/slideLayout" Target="../slideLayouts/slideLayout7.xml"/><Relationship Id="rId3" Type="http://schemas.openxmlformats.org/officeDocument/2006/relationships/notesSlide" Target="../notesSlides/notesSlide1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4.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9.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5.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6.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3.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8.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4.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6.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0.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2.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8.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7.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2.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3.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5.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9.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1.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 Id="rId7"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6.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1.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2.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8.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0.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 Id="rId7" Type="http://schemas.openxmlformats.org/officeDocument/2006/relationships/chart" Target="../charts/chart78.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7.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9.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6.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4.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9.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0.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2.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8.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5.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7.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43.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48.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49.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64.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66.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70.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72.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78.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87.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92.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93.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695.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02.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04.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10.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17.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 Id="rId7" Type="http://schemas.openxmlformats.org/officeDocument/2006/relationships/chart" Target="../charts/chart104.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25.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31.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33.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39.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 Id="rId7" Type="http://schemas.openxmlformats.org/officeDocument/2006/relationships/chart" Target="../charts/chart108.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46.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notesSlide" Target="../notesSlides/notesSlide377.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54.xml"/></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notesSlide" Target="../notesSlides/notesSlide382.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59.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notesSlide" Target="../notesSlides/notesSlide383.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60.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notesSlide" Target="../notesSlides/notesSlide385.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62.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notesSlide" Target="../notesSlides/notesSlide391.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68.xml"/></Relationships>
</file>

<file path=ppt/slides/_rels/slide573.xml.rels><?xml version='1.0' encoding='UTF-8' standalone='yes'?>
<Relationships xmlns="http://schemas.openxmlformats.org/package/2006/relationships"><Relationship Id="rId1" Type="http://schemas.openxmlformats.org/officeDocument/2006/relationships/tags" Target="../tags/tag600.xml"/><Relationship Id="rId2" Type="http://schemas.openxmlformats.org/officeDocument/2006/relationships/slideLayout" Target="../slideLayouts/slideLayout7.xml"/><Relationship Id="rId3" Type="http://schemas.openxmlformats.org/officeDocument/2006/relationships/notesSlide" Target="../notesSlides/notesSlide398.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75.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notesSlide" Target="../notesSlides/notesSlide400.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7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notesSlide" Target="../notesSlides/notesSlide406.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83.xml"/></Relationships>
</file>

<file path=ppt/slides/_rels/slide586.xml.rels><?xml version='1.0' encoding='UTF-8' standalone='yes'?>
<Relationships xmlns="http://schemas.openxmlformats.org/package/2006/relationships"><Relationship Id="rId1" Type="http://schemas.openxmlformats.org/officeDocument/2006/relationships/tags" Target="../tags/tag613.xml"/><Relationship Id="rId2" Type="http://schemas.openxmlformats.org/officeDocument/2006/relationships/slideLayout" Target="../slideLayouts/slideLayout7.xml"/><Relationship Id="rId3" Type="http://schemas.openxmlformats.org/officeDocument/2006/relationships/notesSlide" Target="../notesSlides/notesSlide411.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88.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notesSlide" Target="../notesSlides/notesSlide412.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89.xml"/></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notesSlide" Target="../notesSlides/notesSlide421.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798.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notesSlide" Target="../notesSlides/notesSlide423.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00.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 Id="rId7" Type="http://schemas.openxmlformats.org/officeDocument/2006/relationships/chart" Target="../charts/chart120.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notesSlide" Target="../notesSlides/notesSlide430.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07.xml"/></Relationships>
</file>

<file path=ppt/slides/_rels/slide611.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notesSlide" Target="../notesSlides/notesSlide436.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13.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notesSlide" Target="../notesSlides/notesSlide438.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15.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notesSlide" Target="../notesSlides/notesSlide444.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21.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notesSlide" Target="../notesSlides/notesSlide452.xml"/><Relationship Id="rId4" Type="http://schemas.openxmlformats.org/officeDocument/2006/relationships/oleObject" Target="../embeddings/oleObject29.bin"/><Relationship Id="rId5" Type="http://schemas.openxmlformats.org/officeDocument/2006/relationships/image" Target="../media/image30.emf"/><Relationship Id="rId6" Type="http://schemas.openxmlformats.org/officeDocument/2006/relationships/chart" Target="../charts/chart829.xml"/></Relationships>
</file>

<file path=ppt/slides/_rels/slide633.xml.rels><?xml version='1.0' encoding='UTF-8' standalone='yes'?>
<Relationships xmlns="http://schemas.openxmlformats.org/package/2006/relationships"><Relationship Id="rId1" Type="http://schemas.openxmlformats.org/officeDocument/2006/relationships/tags" Target="../tags/tag6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1" Type="http://schemas.openxmlformats.org/officeDocument/2006/relationships/tags" Target="../tags/tag6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1" Type="http://schemas.openxmlformats.org/officeDocument/2006/relationships/tags" Target="../tags/tag6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 Id="rId7"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1" Type="http://schemas.openxmlformats.org/officeDocument/2006/relationships/tags" Target="../tags/tag6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1" Type="http://schemas.openxmlformats.org/officeDocument/2006/relationships/tags" Target="../tags/tag7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1" Type="http://schemas.openxmlformats.org/officeDocument/2006/relationships/tags" Target="../tags/tag7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1" Type="http://schemas.openxmlformats.org/officeDocument/2006/relationships/tags" Target="../tags/tag7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1" Type="http://schemas.openxmlformats.org/officeDocument/2006/relationships/tags" Target="../tags/tag7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1" Type="http://schemas.openxmlformats.org/officeDocument/2006/relationships/tags" Target="../tags/tag7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1" Type="http://schemas.openxmlformats.org/officeDocument/2006/relationships/tags" Target="../tags/tag7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1" Type="http://schemas.openxmlformats.org/officeDocument/2006/relationships/tags" Target="../tags/tag7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 Id="rId7" Type="http://schemas.openxmlformats.org/officeDocument/2006/relationships/chart" Target="../charts/chart150.xml"/></Relationships>
</file>

<file path=ppt/slides/_rels/slide751.xml.rels><?xml version='1.0' encoding='UTF-8' standalone='yes'?>
<Relationships xmlns="http://schemas.openxmlformats.org/package/2006/relationships"><Relationship Id="rId1" Type="http://schemas.openxmlformats.org/officeDocument/2006/relationships/tags" Target="../tags/tag7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1" Type="http://schemas.openxmlformats.org/officeDocument/2006/relationships/tags" Target="../tags/tag8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1" Type="http://schemas.openxmlformats.org/officeDocument/2006/relationships/tags" Target="../tags/tag8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1" Type="http://schemas.openxmlformats.org/officeDocument/2006/relationships/tags" Target="../tags/tag8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1" Type="http://schemas.openxmlformats.org/officeDocument/2006/relationships/tags" Target="../tags/tag8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s>
</file>

<file path=ppt/slides/_rels/slide812.xml.rels><?xml version='1.0' encoding='UTF-8' standalone='yes'?>
<Relationships xmlns="http://schemas.openxmlformats.org/package/2006/relationships"><Relationship Id="rId1" Type="http://schemas.openxmlformats.org/officeDocument/2006/relationships/tags" Target="../tags/tag8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1" Type="http://schemas.openxmlformats.org/officeDocument/2006/relationships/tags" Target="../tags/tag8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 Id="rId7" Type="http://schemas.openxmlformats.org/officeDocument/2006/relationships/chart" Target="../charts/chart166.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1" Type="http://schemas.openxmlformats.org/officeDocument/2006/relationships/tags" Target="../tags/tag8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1" Type="http://schemas.openxmlformats.org/officeDocument/2006/relationships/tags" Target="../tags/tag8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1" Type="http://schemas.openxmlformats.org/officeDocument/2006/relationships/tags" Target="../tags/tag8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 Id="rId7" Type="http://schemas.openxmlformats.org/officeDocument/2006/relationships/chart" Target="../charts/chart174.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1" Type="http://schemas.openxmlformats.org/officeDocument/2006/relationships/tags" Target="../tags/tag9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1" Type="http://schemas.openxmlformats.org/officeDocument/2006/relationships/tags" Target="../tags/tag9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s>
</file>

<file path=ppt/slides/_rels/slide891.xml.rels><?xml version='1.0' encoding='UTF-8' standalone='yes'?>
<Relationships xmlns="http://schemas.openxmlformats.org/package/2006/relationships"><Relationship Id="rId1" Type="http://schemas.openxmlformats.org/officeDocument/2006/relationships/tags" Target="../tags/tag9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1" Type="http://schemas.openxmlformats.org/officeDocument/2006/relationships/tags" Target="../tags/tag9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3.xml.rels><?xml version='1.0' encoding='UTF-8' standalone='yes'?>
<Relationships xmlns="http://schemas.openxmlformats.org/package/2006/relationships"><Relationship Id="rId1" Type="http://schemas.openxmlformats.org/officeDocument/2006/relationships/tags" Target="../tags/tag9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9.xml.rels><?xml version='1.0' encoding='UTF-8' standalone='yes'?>
<Relationships xmlns="http://schemas.openxmlformats.org/package/2006/relationships"><Relationship Id="rId1" Type="http://schemas.openxmlformats.org/officeDocument/2006/relationships/tags" Target="../tags/tag9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6.xml.rels><?xml version='1.0' encoding='UTF-8' standalone='yes'?>
<Relationships xmlns="http://schemas.openxmlformats.org/package/2006/relationships"><Relationship Id="rId1" Type="http://schemas.openxmlformats.org/officeDocument/2006/relationships/tags" Target="../tags/tag9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1" Type="http://schemas.openxmlformats.org/officeDocument/2006/relationships/tags" Target="../tags/tag9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52.xml.rels><?xml version='1.0' encoding='UTF-8' standalone='yes'?>
<Relationships xmlns="http://schemas.openxmlformats.org/package/2006/relationships"><Relationship Id="rId1" Type="http://schemas.openxmlformats.org/officeDocument/2006/relationships/tags" Target="../tags/tag9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54.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58.xml.rels><?xml version='1.0' encoding='UTF-8' standalone='yes'?>
<Relationships xmlns="http://schemas.openxmlformats.org/package/2006/relationships"><Relationship Id="rId1" Type="http://schemas.openxmlformats.org/officeDocument/2006/relationships/tags" Target="../tags/tag9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66.xml.rels><?xml version='1.0' encoding='UTF-8' standalone='yes'?>
<Relationships xmlns="http://schemas.openxmlformats.org/package/2006/relationships"><Relationship Id="rId1" Type="http://schemas.openxmlformats.org/officeDocument/2006/relationships/tags" Target="../tags/tag9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75.xml.rels><?xml version='1.0' encoding='UTF-8' standalone='yes'?>
<Relationships xmlns="http://schemas.openxmlformats.org/package/2006/relationships"><Relationship Id="rId1" Type="http://schemas.openxmlformats.org/officeDocument/2006/relationships/tags" Target="../tags/tag10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1" Type="http://schemas.openxmlformats.org/officeDocument/2006/relationships/tags" Target="../tags/tag1007.xml"/><Relationship Id="rId2" Type="http://schemas.openxmlformats.org/officeDocument/2006/relationships/slideLayout" Target="../slideLayouts/slideLayout7.xml"/><Relationship Id="rId3" Type="http://schemas.openxmlformats.org/officeDocument/2006/relationships/notesSlide" Target="../notesSlides/notesSlide4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2.xml"/><Relationship Id="rId7" Type="http://schemas.openxmlformats.org/officeDocument/2006/relationships/chart" Target="../charts/chart833.xml"/></Relationships>
</file>

<file path=ppt/slides/_rels/slide981.xml.rels><?xml version='1.0' encoding='UTF-8' standalone='yes'?>
<Relationships xmlns="http://schemas.openxmlformats.org/package/2006/relationships"><Relationship Id="rId1" Type="http://schemas.openxmlformats.org/officeDocument/2006/relationships/tags" Target="../tags/tag1008.xml"/><Relationship Id="rId2" Type="http://schemas.openxmlformats.org/officeDocument/2006/relationships/slideLayout" Target="../slideLayouts/slideLayout7.xml"/><Relationship Id="rId3" Type="http://schemas.openxmlformats.org/officeDocument/2006/relationships/notesSlide" Target="../notesSlides/notesSlide4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4.xml"/><Relationship Id="rId7" Type="http://schemas.openxmlformats.org/officeDocument/2006/relationships/chart" Target="../charts/chart835.xml"/></Relationships>
</file>

<file path=ppt/slides/_rels/slide983.xml.rels><?xml version='1.0' encoding='UTF-8' standalone='yes'?>
<Relationships xmlns="http://schemas.openxmlformats.org/package/2006/relationships"><Relationship Id="rId1" Type="http://schemas.openxmlformats.org/officeDocument/2006/relationships/tags" Target="../tags/tag1010.xml"/><Relationship Id="rId2" Type="http://schemas.openxmlformats.org/officeDocument/2006/relationships/slideLayout" Target="../slideLayouts/slideLayout7.xml"/><Relationship Id="rId3" Type="http://schemas.openxmlformats.org/officeDocument/2006/relationships/notesSlide" Target="../notesSlides/notesSlide4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8.xml"/><Relationship Id="rId7" Type="http://schemas.openxmlformats.org/officeDocument/2006/relationships/chart" Target="../charts/chart839.xml"/></Relationships>
</file>

<file path=ppt/slides/_rels/slide987.xml.rels><?xml version='1.0' encoding='UTF-8' standalone='yes'?>
<Relationships xmlns="http://schemas.openxmlformats.org/package/2006/relationships"><Relationship Id="rId1" Type="http://schemas.openxmlformats.org/officeDocument/2006/relationships/tags" Target="../tags/tag1014.xml"/><Relationship Id="rId2" Type="http://schemas.openxmlformats.org/officeDocument/2006/relationships/slideLayout" Target="../slideLayouts/slideLayout7.xml"/><Relationship Id="rId3" Type="http://schemas.openxmlformats.org/officeDocument/2006/relationships/notesSlide" Target="../notesSlides/notesSlide4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6.xml"/><Relationship Id="rId7" Type="http://schemas.openxmlformats.org/officeDocument/2006/relationships/chart" Target="../charts/chart847.xml"/></Relationships>
</file>

<file path=ppt/slides/_rels/slide989.xml.rels><?xml version='1.0' encoding='UTF-8' standalone='yes'?>
<Relationships xmlns="http://schemas.openxmlformats.org/package/2006/relationships"><Relationship Id="rId1" Type="http://schemas.openxmlformats.org/officeDocument/2006/relationships/tags" Target="../tags/tag1016.xml"/><Relationship Id="rId2" Type="http://schemas.openxmlformats.org/officeDocument/2006/relationships/slideLayout" Target="../slideLayouts/slideLayout7.xml"/><Relationship Id="rId3" Type="http://schemas.openxmlformats.org/officeDocument/2006/relationships/notesSlide" Target="../notesSlides/notesSlide4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0.xml"/><Relationship Id="rId7" Type="http://schemas.openxmlformats.org/officeDocument/2006/relationships/chart" Target="../charts/chart851.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 Id="rId7" Type="http://schemas.openxmlformats.org/officeDocument/2006/relationships/chart" Target="../charts/chart198.xml"/></Relationships>
</file>

<file path=ppt/slides/_rels/slide998.xml.rels><?xml version='1.0' encoding='UTF-8' standalone='yes'?>
<Relationships xmlns="http://schemas.openxmlformats.org/package/2006/relationships"><Relationship Id="rId1" Type="http://schemas.openxmlformats.org/officeDocument/2006/relationships/tags" Target="../tags/tag1025.xml"/><Relationship Id="rId2" Type="http://schemas.openxmlformats.org/officeDocument/2006/relationships/slideLayout" Target="../slideLayouts/slideLayout7.xml"/><Relationship Id="rId3" Type="http://schemas.openxmlformats.org/officeDocument/2006/relationships/notesSlide" Target="../notesSlides/notesSlide4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8.xml"/><Relationship Id="rId7" Type="http://schemas.openxmlformats.org/officeDocument/2006/relationships/chart" Target="../charts/chart8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6,0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3,6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0,9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1,0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8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000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8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8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957893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1193502"/>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C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2020528"/>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0229503"/>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117873"/>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QCN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4805735"/>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QCN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7888700"/>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VCN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9649905"/>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QC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8716408"/>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CCP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0304736"/>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IDF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3805774"/>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IDF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72365543"/>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IDF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6388357"/>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PAC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48931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NICOLAS CCP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5392060"/>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RHO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2921015"/>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AQU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8676378"/>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ES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446867"/>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ES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22562101"/>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A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59314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NICOLAS CCP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833814"/>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C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697472"/>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C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Effervescents Sans Alcool</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9107653"/>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E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Mousseux</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Mousseux Autr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Mousseux Val De Loi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Mousseux Italien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ousseux Bourgog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Mousseux Alsac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Mousseux Bordelai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96672167"/>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CA E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65046662"/>
                  </a:ext>
                </a:extLst>
              </a:tr>
              <a:tr h="459948">
                <a:tc>
                  <a:txBody>
                    <a:bodyPr/>
                    <a:lstStyle/>
                    <a:p>
                      <a:pPr algn="ctr">
                        <a:defRPr sz="800">
                          <a:latin typeface="Nexa Bold"/>
                        </a:defRPr>
                      </a:pPr>
                      <a:r>
                        <a:rPr sz="800">
                          <a:latin typeface="Nexa Bold"/>
                        </a:rPr>
                        <a:t>Bru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algn="ctr">
                        <a:defRPr sz="800">
                          <a:latin typeface="Nexa Bold"/>
                        </a:defRPr>
                      </a:pPr>
                      <a:r>
                        <a:rPr sz="800">
                          <a:latin typeface="Nexa Bold"/>
                        </a:rPr>
                        <a:t>Demi-Se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algn="ctr">
                        <a:defRPr sz="800">
                          <a:latin typeface="Nexa Bold"/>
                        </a:defRPr>
                      </a:pPr>
                      <a:r>
                        <a:rPr sz="800">
                          <a:latin typeface="Nexa Bold"/>
                        </a:rPr>
                        <a:t>Rosé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a:defRPr sz="800">
                          <a:latin typeface="Nexa Bold"/>
                        </a:defRPr>
                      </a:pPr>
                      <a:r>
                        <a:rPr sz="800">
                          <a:latin typeface="Nexa Bold"/>
                        </a:rPr>
                        <a:t>Millesim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algn="ctr">
                        <a:defRPr sz="800">
                          <a:latin typeface="Nexa Bold"/>
                        </a:defRPr>
                      </a:pPr>
                      <a:r>
                        <a:rPr sz="800">
                          <a:latin typeface="Nexa Bold"/>
                        </a:rPr>
                        <a:t>Blanc De Blanc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algn="ctr">
                        <a:defRPr sz="800">
                          <a:latin typeface="Nexa Bold"/>
                        </a:defRPr>
                      </a:pPr>
                      <a:r>
                        <a:rPr sz="800">
                          <a:latin typeface="Nexa Bold"/>
                        </a:rPr>
                        <a:t>Extra Bru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3280844"/>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8163694"/>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5597786"/>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630991"/>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6756487"/>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4822254"/>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T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6929591"/>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999977"/>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40385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IDF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9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7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8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54798881"/>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080389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587476"/>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Effervescents Sans Alcoo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5182220"/>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Effervescents Sans Alcoo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61215834"/>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9873018"/>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Blanc De Blanc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4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9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2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702531"/>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8075738"/>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6206930"/>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9153241"/>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522065"/>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993816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IDF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0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4413816"/>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T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1544125"/>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T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940003"/>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A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2905841"/>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A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8851082"/>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Blanc De Blanc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6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0829757"/>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6186043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Val De Loire | NICOLAS IDF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9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1853501"/>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Mousseux Alsac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289888"/>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IDF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995881"/>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IDF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00666334"/>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3458147"/>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Alsac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3187008"/>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RHO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7621464"/>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RHO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1129120"/>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Blanc De Blanc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9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4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6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5734333"/>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4373552"/>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1569476"/>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369926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3934966"/>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A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1872806"/>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A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1420112"/>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44674"/>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3231011"/>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8865553"/>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C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2969166"/>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Blanc De Blanc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1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6006845"/>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3208183"/>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5940592"/>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7180262"/>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9753540"/>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850213"/>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Effervescents | NICOLAS CCP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80649675"/>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Effervescents | NICOLAS PAC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276560062"/>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Effervescents | CA C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14626008"/>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4"/>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44348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443483">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443483">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44348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44348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44348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44348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443483">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Mousseux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400709626"/>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4"/>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443483">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44348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443483">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44348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44348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44348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44348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443483">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Mousseux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3573920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685317"/>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72376220"/>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517959645"/>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60038696"/>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62791417"/>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63512161"/>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Moët &amp; Chand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Extra Bru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57429880"/>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146130154"/>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88766361"/>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721522659"/>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21891185"/>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87642555"/>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06091766"/>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122317591"/>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44437242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841302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Vilavero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3225702"/>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Moët &amp; Chand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A | Extra Bru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86746906"/>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A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90162603"/>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A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583291575"/>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CCP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07106281"/>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CCP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011162973"/>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85806811"/>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88676948"/>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69149567"/>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81845816"/>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95332215"/>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48231211"/>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RHO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58866702"/>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9490840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8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9871232"/>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637428101"/>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89393570"/>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521213668"/>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A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9780064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8444859"/>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A | Mousseux Val De Loir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254300366"/>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B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26441955"/>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B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93530169"/>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045401792"/>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53066465"/>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Mousseux Val De Loir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688775893"/>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D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18722076"/>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D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29822356"/>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D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34819098"/>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27601408"/>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150662282"/>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3647383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957497"/>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Effervescen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595161042"/>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IDF | Effervescen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74443465"/>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RHO | Effervescen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485010654"/>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AQU | Effervescen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528064196"/>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D | Effervescent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3085922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CA E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2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5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3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4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8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8934756"/>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VCN | Champagne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18886894"/>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Champagne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64051236"/>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Champagne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035867617"/>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RHO | Champagne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10260178"/>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AQU | Champagne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022746330"/>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A | Champagne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04701391"/>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B | Champagne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668719221"/>
      </p:ext>
    </p:extLst>
  </p:cSld>
  <p:clrMapOvr>
    <a:masterClrMapping/>
  </p:clrMapOvr>
</p:sld>
</file>

<file path=ppt/slides/slide1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 Blanc De Blanc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09603725"/>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QCA | Blanc De Blanc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584702873"/>
      </p:ext>
    </p:extLst>
  </p:cSld>
  <p:clrMapOvr>
    <a:masterClrMapping/>
  </p:clrMapOvr>
</p:sld>
</file>

<file path=ppt/slides/slide1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PAC | Blanc De Blanc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662233291"/>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RHO | Blanc De Blanc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80336185"/>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A | Blanc De Blanc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4043433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ES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341033"/>
      </p:ext>
    </p:extLst>
  </p:cSld>
  <p:clrMapOvr>
    <a:masterClrMapping/>
  </p:clrMapOvr>
</p:sld>
</file>

<file path=ppt/slides/slide1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D | Blanc De Blanc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385285748"/>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VCN | Bru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508115534"/>
      </p:ext>
    </p:extLst>
  </p:cSld>
  <p:clrMapOvr>
    <a:masterClrMapping/>
  </p:clrMapOvr>
</p:sld>
</file>

<file path=ppt/slides/slide1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Brut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002693551"/>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Bru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9603420"/>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IDF | Bru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83135067"/>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AQU | Brut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23953753"/>
      </p:ext>
    </p:extLst>
  </p:cSld>
  <p:clrMapOvr>
    <a:masterClrMapping/>
  </p:clrMapOvr>
</p:sld>
</file>

<file path=ppt/slides/slide1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C | Brut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30463641"/>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D | Brut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01007615"/>
      </p:ext>
    </p:extLst>
  </p:cSld>
  <p:clrMapOvr>
    <a:masterClrMapping/>
  </p:clrMapOvr>
</p:sld>
</file>

<file path=ppt/slides/slide1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QCN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576927220"/>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VCN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09732789"/>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CCP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031446458"/>
      </p:ext>
    </p:extLst>
  </p:cSld>
  <p:clrMapOvr>
    <a:masterClrMapping/>
  </p:clrMapOvr>
</p:sld>
</file>

<file path=ppt/slides/slide1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RHO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525970127"/>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AQU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4205579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7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1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0556550"/>
      </p:ext>
    </p:extLst>
  </p:cSld>
  <p:clrMapOvr>
    <a:masterClrMapping/>
  </p:clrMapOvr>
</p:sld>
</file>

<file path=ppt/slides/slide1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B | Cru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385174998"/>
      </p:ext>
    </p:extLst>
  </p:cSld>
  <p:clrMapOvr>
    <a:masterClrMapping/>
  </p:clrMapOvr>
</p:sld>
</file>

<file path=ppt/slides/slide1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C | Cru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10523936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5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9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9345509"/>
      </p:ext>
    </p:extLst>
  </p:cSld>
  <p:clrMapOvr>
    <a:masterClrMapping/>
  </p:clrMapOvr>
</p:sld>
</file>

<file path=ppt/slides/slide1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 Rosé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30322729"/>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QCN | Rosé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000770435"/>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QCA | Rosé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884409085"/>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NICOLAS RHO | Rosé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8969731"/>
      </p:ext>
    </p:extLst>
  </p:cSld>
  <p:clrMapOvr>
    <a:masterClrMapping/>
  </p:clrMapOvr>
</p:sld>
</file>

<file path=ppt/slides/slide1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A | Rosés | Malard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09411413"/>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A | Rosé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95893357"/>
      </p:ext>
    </p:extLst>
  </p:cSld>
  <p:clrMapOvr>
    <a:masterClrMapping/>
  </p:clrMapOvr>
</p:sld>
</file>

<file path=ppt/slides/slide1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D | Rosé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08536591"/>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1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CA E | Rosés | Nicola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95531174"/>
      </p:ext>
    </p:extLst>
  </p:cSld>
  <p:clrMapOvr>
    <a:masterClrMapping/>
  </p:clrMapOvr>
</p:sld>
</file>

<file path=ppt/slides/slide1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lard Nicolas | Effervescent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CA B</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CA C</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CA D</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A E</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38796967"/>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Nicolas | Effervescent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 QCA</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CCP</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IDF</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NICOLAS PAC</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12735969"/>
      </p:ext>
    </p:extLst>
  </p:cSld>
  <p:clrMapOvr>
    <a:masterClrMapping/>
  </p:clrMapOvr>
</p:sld>
</file>

<file path=ppt/slides/slide1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Nicolas | Champagn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QCN</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VCN</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NICOLAS QC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79129260"/>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Nicolas | Blanc De Blanc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QCN</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VCN</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NICOLAS QC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08270918"/>
      </p:ext>
    </p:extLst>
  </p:cSld>
  <p:clrMapOvr>
    <a:masterClrMapping/>
  </p:clrMapOvr>
</p:sld>
</file>

<file path=ppt/slides/slide1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lard Nicolas | Brut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 RHO</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AQU</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ES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A A</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7776752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Alsace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758543"/>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Nicolas | Brut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QCN</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VCN</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NICOLAS QC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70532791"/>
      </p:ext>
    </p:extLst>
  </p:cSld>
  <p:clrMapOvr>
    <a:masterClrMapping/>
  </p:clrMapOvr>
</p:sld>
</file>

<file path=ppt/slides/slide1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lard Nicolas | Cru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CA B</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CA C</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CA D</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A E</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9917105"/>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Nicolas | Cru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NICOLAS QCA</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NICOLAS CCP</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NICOLAS IDF</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NICOLAS PAC</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82734671"/>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1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lard Nicolas | Rosé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CA B</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CA C</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CA D</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A E</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933240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0485732"/>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CA A | Effervescent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58004090"/>
      </p:ext>
    </p:extLst>
  </p:cSld>
  <p:clrMapOvr>
    <a:masterClrMapping/>
  </p:clrMapOvr>
</p:sld>
</file>

<file path=ppt/slides/slide1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 Champagne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87253795"/>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QCN | Champagne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14282246"/>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IDF | Champagne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6936871"/>
      </p:ext>
    </p:extLst>
  </p:cSld>
  <p:clrMapOvr>
    <a:masterClrMapping/>
  </p:clrMapOvr>
</p:sld>
</file>

<file path=ppt/slides/slide1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CA D | Champagne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4568704"/>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 Brut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73179031"/>
      </p:ext>
    </p:extLst>
  </p:cSld>
  <p:clrMapOvr>
    <a:masterClrMapping/>
  </p:clrMapOvr>
</p:sld>
</file>

<file path=ppt/slides/slide1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 Rosé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6912339"/>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1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NICOLAS VCN | Rosés | Nicola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47555381"/>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0</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NICOLAS QCN | Malard Nicola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Effervescent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0179224"/>
      </p:ext>
    </p:extLst>
  </p:cSld>
  <p:clrMapOvr>
    <a:masterClrMapping/>
  </p:clrMapOvr>
</p:sld>
</file>

<file path=ppt/slides/slide18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6</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NICOLAS PAC | Malard Nicola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Effervescent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9110115"/>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NICOLAS AQU | Malard Nicola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Effervescent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527070"/>
      </p:ext>
    </p:extLst>
  </p:cSld>
  <p:clrMapOvr>
    <a:masterClrMapping/>
  </p:clrMapOvr>
</p:sld>
</file>

<file path=ppt/slides/slide18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4</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CA E | Malard Nicola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Effervescent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7058752"/>
      </p:ext>
    </p:extLst>
  </p:cSld>
  <p:clrMapOvr>
    <a:masterClrMapping/>
  </p:clrMapOvr>
</p:sld>
</file>

<file path=ppt/slides/slide18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5</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NICOLAS | Effervescents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a:defRPr sz="800">
                          <a:latin typeface="Nexa Bold"/>
                        </a:defRPr>
                      </a:pPr>
                      <a:r>
                        <a:t>Mousseux</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a:defRPr sz="800">
                          <a:latin typeface="Nexa Bold"/>
                        </a:defRPr>
                      </a:pPr>
                      <a:r>
                        <a:t>Champagn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a:defRPr sz="800">
                          <a:latin typeface="Nexa Bold"/>
                        </a:defRPr>
                      </a:pPr>
                      <a:r>
                        <a:t>Effervescents Sans Alcool</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344351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1020215"/>
      </p:ext>
    </p:extLst>
  </p:cSld>
  <p:clrMapOvr>
    <a:masterClrMapping/>
  </p:clrMapOvr>
</p:sld>
</file>

<file path=ppt/slides/slide18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1</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NICOLAS IDF | Effervescents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a:defRPr sz="800">
                          <a:latin typeface="Nexa Bold"/>
                        </a:defRPr>
                      </a:pPr>
                      <a:r>
                        <a:t>Mousseux</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a:defRPr sz="800">
                          <a:latin typeface="Nexa Bold"/>
                        </a:defRPr>
                      </a:pPr>
                      <a:r>
                        <a:t>Champagn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a:defRPr sz="800">
                          <a:latin typeface="Nexa Bold"/>
                        </a:defRPr>
                      </a:pPr>
                      <a:r>
                        <a:t>Effervescents Sans Alcool</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3871567"/>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NICOLAS RHO | Effervescents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a:defRPr sz="800">
                          <a:latin typeface="Nexa Bold"/>
                        </a:defRPr>
                      </a:pPr>
                      <a:r>
                        <a:t>Mousseux</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a:defRPr sz="800">
                          <a:latin typeface="Nexa Bold"/>
                        </a:defRPr>
                      </a:pPr>
                      <a:r>
                        <a:t>Champagn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a:defRPr sz="800">
                          <a:latin typeface="Nexa Bold"/>
                        </a:defRPr>
                      </a:pPr>
                      <a:r>
                        <a:t>Effervescents Sans Alcool</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5211729"/>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9</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CA D | Effervescents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a:defRPr sz="800">
                          <a:latin typeface="Nexa Bold"/>
                        </a:defRPr>
                      </a:pPr>
                      <a:r>
                        <a:t>Mousseux</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a:defRPr sz="800">
                          <a:latin typeface="Nexa Bold"/>
                        </a:defRPr>
                      </a:pPr>
                      <a:r>
                        <a:t>Champagn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a:defRPr sz="800">
                          <a:latin typeface="Nexa Bold"/>
                        </a:defRPr>
                      </a:pPr>
                      <a:r>
                        <a:t>Effervescents Sans Alcool</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51151907"/>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7</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NICOLAS IDF | Champagnes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a:defRPr sz="800">
                          <a:latin typeface="Nexa Bold"/>
                        </a:defRPr>
                      </a:pPr>
                      <a:r>
                        <a:t>Bruts</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a:defRPr sz="800">
                          <a:latin typeface="Nexa Bold"/>
                        </a:defRPr>
                      </a:pPr>
                      <a:r>
                        <a:t>Rosés</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a:defRPr sz="800">
                          <a:latin typeface="Nexa Bold"/>
                        </a:defRPr>
                      </a:pPr>
                      <a:r>
                        <a:t>Millesime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a:defRPr sz="800">
                          <a:latin typeface="Nexa Bold"/>
                        </a:defRPr>
                      </a:pPr>
                      <a:r>
                        <a:t>Blanc De Blancs</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a:defRPr sz="800">
                          <a:latin typeface="Nexa Bold"/>
                        </a:defRPr>
                      </a:pPr>
                      <a:r>
                        <a:t>Extra Bru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a:defRPr sz="800">
                          <a:latin typeface="Nexa Bold"/>
                        </a:defRPr>
                      </a:pPr>
                      <a:r>
                        <a:t>Cru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967465589"/>
      </p:ext>
    </p:extLst>
  </p:cSld>
  <p:clrMapOvr>
    <a:masterClrMapping/>
  </p:clrMapOvr>
</p:sld>
</file>

<file path=ppt/slides/slide18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3</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CA B | Champagnes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a:defRPr sz="800">
                          <a:latin typeface="Nexa Bold"/>
                        </a:defRPr>
                      </a:pPr>
                      <a:r>
                        <a:t>Bruts</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a:defRPr sz="800">
                          <a:latin typeface="Nexa Bold"/>
                        </a:defRPr>
                      </a:pPr>
                      <a:r>
                        <a:t>Rosés</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a:defRPr sz="800">
                          <a:latin typeface="Nexa Bold"/>
                        </a:defRPr>
                      </a:pPr>
                      <a:r>
                        <a:t>Millesime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a:defRPr sz="800">
                          <a:latin typeface="Nexa Bold"/>
                        </a:defRPr>
                      </a:pPr>
                      <a:r>
                        <a:t>Blanc De Blancs</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a:defRPr sz="800">
                          <a:latin typeface="Nexa Bold"/>
                        </a:defRPr>
                      </a:pPr>
                      <a:r>
                        <a:t>Extra Bru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a:defRPr sz="800">
                          <a:latin typeface="Nexa Bold"/>
                        </a:defRPr>
                      </a:pPr>
                      <a:r>
                        <a:t>Cru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601609991"/>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4</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CA C | Champagnes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a:defRPr sz="800">
                          <a:latin typeface="Nexa Bold"/>
                        </a:defRPr>
                      </a:pPr>
                      <a:r>
                        <a:t>Bruts</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a:defRPr sz="800">
                          <a:latin typeface="Nexa Bold"/>
                        </a:defRPr>
                      </a:pPr>
                      <a:r>
                        <a:t>Rosés</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a:defRPr sz="800">
                          <a:latin typeface="Nexa Bold"/>
                        </a:defRPr>
                      </a:pPr>
                      <a:r>
                        <a:t>Millesime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a:defRPr sz="800">
                          <a:latin typeface="Nexa Bold"/>
                        </a:defRPr>
                      </a:pPr>
                      <a:r>
                        <a:t>Blanc De Blancs</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a:defRPr sz="800">
                          <a:latin typeface="Nexa Bold"/>
                        </a:defRPr>
                      </a:pPr>
                      <a:r>
                        <a:t>Extra Bru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a:defRPr sz="800">
                          <a:latin typeface="Nexa Bold"/>
                        </a:defRPr>
                      </a:pPr>
                      <a:r>
                        <a:t>Cru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15946415"/>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CA E | Champagnes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a:defRPr sz="800">
                          <a:latin typeface="Nexa Bold"/>
                        </a:defRPr>
                      </a:pPr>
                      <a:r>
                        <a:t>Bruts</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a:defRPr sz="800">
                          <a:latin typeface="Nexa Bold"/>
                        </a:defRPr>
                      </a:pPr>
                      <a:r>
                        <a:t>Rosés</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a:defRPr sz="800">
                          <a:latin typeface="Nexa Bold"/>
                        </a:defRPr>
                      </a:pPr>
                      <a:r>
                        <a:t>Millesime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a:defRPr sz="800">
                          <a:latin typeface="Nexa Bold"/>
                        </a:defRPr>
                      </a:pPr>
                      <a:r>
                        <a:t>Blanc De Blancs</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a:defRPr sz="800">
                          <a:latin typeface="Nexa Bold"/>
                        </a:defRPr>
                      </a:pPr>
                      <a:r>
                        <a:t>Extra Bru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a:defRPr sz="800">
                          <a:latin typeface="Nexa Bold"/>
                        </a:defRPr>
                      </a:pPr>
                      <a:r>
                        <a:t>Cru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562903228"/>
      </p:ext>
    </p:extLst>
  </p:cSld>
  <p:clrMapOvr>
    <a:masterClrMapping/>
  </p:clrMapOvr>
</p:sld>
</file>

<file path=ppt/slides/slide19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3</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NICOLAS IDF | Mousseux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a:defRPr sz="800">
                          <a:latin typeface="Nexa Bold"/>
                        </a:defRPr>
                      </a:pPr>
                      <a:r>
                        <a:t>Mousseux Val De Loire</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a:defRPr sz="800">
                          <a:latin typeface="Nexa Bold"/>
                        </a:defRPr>
                      </a:pPr>
                      <a:r>
                        <a:t>Mousseux Italien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a:defRPr sz="800">
                          <a:latin typeface="Nexa Bold"/>
                        </a:defRPr>
                      </a:pPr>
                      <a:r>
                        <a:t>Mousseux Bourgogne</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a:defRPr sz="800">
                          <a:latin typeface="Nexa Bold"/>
                        </a:defRPr>
                      </a:pPr>
                      <a:r>
                        <a:t>Mousseux Alsace</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a:defRPr sz="800">
                          <a:latin typeface="Nexa Bold"/>
                        </a:defRPr>
                      </a:pPr>
                      <a:r>
                        <a:t>Mousseux Bordelai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62800558"/>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NICOLAS RHO | Mousseux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a:defRPr sz="800">
                          <a:latin typeface="Nexa Bold"/>
                        </a:defRPr>
                      </a:pPr>
                      <a:r>
                        <a:t>Mousseux Val De Loire</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a:defRPr sz="800">
                          <a:latin typeface="Nexa Bold"/>
                        </a:defRPr>
                      </a:pPr>
                      <a:r>
                        <a:t>Mousseux Italien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a:defRPr sz="800">
                          <a:latin typeface="Nexa Bold"/>
                        </a:defRPr>
                      </a:pPr>
                      <a:r>
                        <a:t>Mousseux Bourgogne</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a:defRPr sz="800">
                          <a:latin typeface="Nexa Bold"/>
                        </a:defRPr>
                      </a:pPr>
                      <a:r>
                        <a:t>Mousseux Alsace</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a:defRPr sz="800">
                          <a:latin typeface="Nexa Bold"/>
                        </a:defRPr>
                      </a:pPr>
                      <a:r>
                        <a:t>Mousseux Bordelai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12220354"/>
      </p:ext>
    </p:extLst>
  </p:cSld>
  <p:clrMapOvr>
    <a:masterClrMapping/>
  </p:clrMapOvr>
</p:sld>
</file>

<file path=ppt/slides/slide1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9</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CA B | Mousseux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a:defRPr sz="800">
                          <a:latin typeface="Nexa Bold"/>
                        </a:defRPr>
                      </a:pPr>
                      <a:r>
                        <a:t>Mousseux Val De Loire</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a:defRPr sz="800">
                          <a:latin typeface="Nexa Bold"/>
                        </a:defRPr>
                      </a:pPr>
                      <a:r>
                        <a:t>Mousseux Italien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a:defRPr sz="800">
                          <a:latin typeface="Nexa Bold"/>
                        </a:defRPr>
                      </a:pPr>
                      <a:r>
                        <a:t>Mousseux Bourgogne</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a:defRPr sz="800">
                          <a:latin typeface="Nexa Bold"/>
                        </a:defRPr>
                      </a:pPr>
                      <a:r>
                        <a:t>Mousseux Alsace</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a:defRPr sz="800">
                          <a:latin typeface="Nexa Bold"/>
                        </a:defRPr>
                      </a:pPr>
                      <a:r>
                        <a:t>Mousseux Bordelai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69580939"/>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1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1</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CA D | Mousseux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a:defRPr sz="800">
                          <a:latin typeface="Nexa Bold"/>
                        </a:defRPr>
                      </a:pPr>
                      <a:r>
                        <a:t>Mousseux Val De Loire</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a:defRPr sz="800">
                          <a:latin typeface="Nexa Bold"/>
                        </a:defRPr>
                      </a:pPr>
                      <a:r>
                        <a:t>Mousseux Italiens</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a:defRPr sz="800">
                          <a:latin typeface="Nexa Bold"/>
                        </a:defRPr>
                      </a:pPr>
                      <a:r>
                        <a:t>Mousseux Bourgogne</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a:defRPr sz="800">
                          <a:latin typeface="Nexa Bold"/>
                        </a:defRPr>
                      </a:pPr>
                      <a:r>
                        <a:t>Mousseux Alsace</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a:defRPr sz="800">
                          <a:latin typeface="Nexa Bold"/>
                        </a:defRPr>
                      </a:pPr>
                      <a:r>
                        <a:t>Mousseux Bordelai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49548383"/>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Effervescents | Malard Nicolas | REVENUE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CA 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41919245"/>
      </p:ext>
    </p:extLst>
  </p:cSld>
  <p:clrMapOvr>
    <a:masterClrMapping/>
  </p:clrMapOvr>
</p:sld>
</file>

<file path=ppt/slides/slide1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Champagnes | Nicolas | REVENUE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pPr algn="ctr">
                        <a:defRPr sz="800">
                          <a:latin typeface="Nexa Bold"/>
                        </a:defRPr>
                      </a:pPr>
                      <a:r>
                        <a:t>CA A</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pPr algn="ctr">
                        <a:defRPr sz="800">
                          <a:latin typeface="Nexa Bold"/>
                        </a:defRPr>
                      </a:pPr>
                      <a:r>
                        <a:t>CA B</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pPr algn="ctr">
                        <a:defRPr sz="800">
                          <a:latin typeface="Nexa Bold"/>
                        </a:defRPr>
                      </a:pPr>
                      <a:r>
                        <a:t>CA C</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pPr algn="ctr">
                        <a:defRPr sz="800">
                          <a:latin typeface="Nexa Bold"/>
                        </a:defRPr>
                      </a:pPr>
                      <a:r>
                        <a:t>CA D</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13458003"/>
      </p:ext>
    </p:extLst>
  </p:cSld>
  <p:clrMapOvr>
    <a:masterClrMapping/>
  </p:clrMapOvr>
</p:sld>
</file>

<file path=ppt/slides/slide1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2</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Champagnes | Nicolas | REVENUE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CA 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39749248"/>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ruts | Malard Nicolas | CHANNEL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pPr algn="ctr">
                        <a:defRPr sz="800">
                          <a:latin typeface="Nexa Bold"/>
                        </a:defRPr>
                      </a:pPr>
                      <a:r>
                        <a:t>NICOLAS QCN</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pPr algn="ctr">
                        <a:defRPr sz="800">
                          <a:latin typeface="Nexa Bold"/>
                        </a:defRPr>
                      </a:pPr>
                      <a:r>
                        <a:t>NICOLAS VCN</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pPr algn="ctr">
                        <a:defRPr sz="800">
                          <a:latin typeface="Nexa Bold"/>
                        </a:defRPr>
                      </a:pPr>
                      <a:r>
                        <a:t>NICOLAS QC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pPr algn="ctr">
                        <a:defRPr sz="800">
                          <a:latin typeface="Nexa Bold"/>
                        </a:defRPr>
                      </a:pPr>
                      <a:r>
                        <a:t>NICOLAS QCA</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39380024"/>
      </p:ext>
    </p:extLst>
  </p:cSld>
  <p:clrMapOvr>
    <a:masterClrMapping/>
  </p:clrMapOvr>
</p:sld>
</file>

<file path=ppt/slides/slide19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ruts | Nicolas | CHANNEL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NICOLA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802782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CA 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48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564229"/>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1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0</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ruts | Nicolas | CHANNEL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NICOLAS CCP</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80067536"/>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Crus | Malard Nicolas | REVENUE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pPr algn="ctr">
                        <a:defRPr sz="800">
                          <a:latin typeface="Nexa Bold"/>
                        </a:defRPr>
                      </a:pPr>
                      <a:r>
                        <a:t>CA A</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pPr algn="ctr">
                        <a:defRPr sz="800">
                          <a:latin typeface="Nexa Bold"/>
                        </a:defRPr>
                      </a:pPr>
                      <a:r>
                        <a:t>CA B</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pPr algn="ctr">
                        <a:defRPr sz="800">
                          <a:latin typeface="Nexa Bold"/>
                        </a:defRPr>
                      </a:pPr>
                      <a:r>
                        <a:t>CA C</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pPr algn="ctr">
                        <a:defRPr sz="800">
                          <a:latin typeface="Nexa Bold"/>
                        </a:defRPr>
                      </a:pPr>
                      <a:r>
                        <a:t>CA D</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34273280"/>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82,5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9,8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29,5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8,14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7,3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47,9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6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7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70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6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2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025096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CA 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2978734"/>
      </p:ext>
    </p:extLst>
  </p:cSld>
  <p:clrMapOvr>
    <a:masterClrMapping/>
  </p:clrMapOvr>
</p:sld>
</file>

<file path=ppt/slides/slide1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69,0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1,2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53,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36,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20,7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6,0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1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3233784"/>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55,8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4,3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9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6,0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0,8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6,9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3247812"/>
      </p:ext>
    </p:extLst>
  </p:cSld>
  <p:clrMapOvr>
    <a:masterClrMapping/>
  </p:clrMapOvr>
</p:sld>
</file>

<file path=ppt/slides/slide1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42,9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93,5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58,8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7,7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0,9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16,3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1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3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0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9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4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7331995"/>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206,0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63,6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870,9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91,0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39,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204,6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6,1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3,9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3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3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2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09562833"/>
      </p:ext>
    </p:extLst>
  </p:cSld>
  <p:clrMapOvr>
    <a:masterClrMapping/>
  </p:clrMapOvr>
</p:sld>
</file>

<file path=ppt/slides/slide1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0"/>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59973">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359973">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359973">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9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359973">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6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359973">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359973">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359973">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359973">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359973">
                <a:tc>
                  <a:txBody>
                    <a:bodyPr/>
                    <a:lstStyle/>
                    <a:p>
                      <a:pPr algn="ctr">
                        <a:defRPr sz="800">
                          <a:latin typeface="Nexa Bold"/>
                        </a:defRPr>
                      </a:pPr>
                      <a:r>
                        <a:t>Krit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7669795"/>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CCP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97,5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2,8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4,9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9,4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6,5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4,4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9115164"/>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69,0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1,2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53,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36,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20,7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6,0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1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6943406"/>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33,8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4,4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0,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2,18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9,9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7,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0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7239757"/>
      </p:ext>
    </p:extLst>
  </p:cSld>
  <p:clrMapOvr>
    <a:masterClrMapping/>
  </p:clrMapOvr>
</p:sld>
</file>

<file path=ppt/slides/slide2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4,8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323976">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1,6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323976">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0,3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323976">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2,0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323976">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3,9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323976">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323976">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323976">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323976">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323976">
                <a:tc>
                  <a:txBody>
                    <a:bodyPr/>
                    <a:lstStyle/>
                    <a:p>
                      <a:pPr algn="ctr">
                        <a:defRPr sz="800">
                          <a:latin typeface="Nexa Bold"/>
                        </a:defRPr>
                      </a:pPr>
                      <a:r>
                        <a:t>Krit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83961125"/>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96,5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05,1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69,7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43,0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19,5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78,8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3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9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1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6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9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3623266"/>
      </p:ext>
    </p:extLst>
  </p:cSld>
  <p:clrMapOvr>
    <a:masterClrMapping/>
  </p:clrMapOvr>
</p:sld>
</file>

<file path=ppt/slides/slide2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 CA 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2,3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323976">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0,5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323976">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7,9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323976">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2,4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323976">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2,1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323976">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323976">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323976">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323976">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323976">
                <a:tc>
                  <a:txBody>
                    <a:bodyPr/>
                    <a:lstStyle/>
                    <a:p>
                      <a:pPr algn="ctr">
                        <a:defRPr sz="800">
                          <a:latin typeface="Nexa Bold"/>
                        </a:defRPr>
                      </a:pPr>
                      <a:r>
                        <a:t>Krit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37985338"/>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42,9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93,5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58,8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7,7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0,9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16,3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1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3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0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9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4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4007202"/>
      </p:ext>
    </p:extLst>
  </p:cSld>
  <p:clrMapOvr>
    <a:masterClrMapping/>
  </p:clrMapOvr>
</p:sld>
</file>

<file path=ppt/slides/slide2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15,5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80,7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9,6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3,2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9,3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lamo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Perrier Joue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2362900"/>
      </p:ext>
    </p:extLst>
  </p:cSld>
  <p:clrMapOvr>
    <a:masterClrMapping/>
  </p:clrMapOvr>
</p:sld>
</file>

<file path=ppt/slides/slide2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2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1204692"/>
      </p:ext>
    </p:extLst>
  </p:cSld>
  <p:clrMapOvr>
    <a:masterClrMapping/>
  </p:clrMapOvr>
</p:sld>
</file>

<file path=ppt/slides/slide2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0"/>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59973">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5,4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359973">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3,4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359973">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8,0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359973">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9,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359973">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359973">
                <a:tc>
                  <a:txBody>
                    <a:bodyPr/>
                    <a:lstStyle/>
                    <a:p>
                      <a:pPr algn="ctr">
                        <a:defRPr sz="800">
                          <a:latin typeface="Nexa Bold"/>
                        </a:defRPr>
                      </a:pPr>
                      <a:r>
                        <a:t>Piper Heidsie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359973">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359973">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359973">
                <a:tc>
                  <a:txBody>
                    <a:bodyPr/>
                    <a:lstStyle/>
                    <a:p>
                      <a:pPr algn="ctr">
                        <a:defRPr sz="800">
                          <a:latin typeface="Nexa Bold"/>
                        </a:defRPr>
                      </a:pPr>
                      <a:r>
                        <a:t>Veuve Clicqu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7789296"/>
      </p:ext>
    </p:extLst>
  </p:cSld>
  <p:clrMapOvr>
    <a:masterClrMapping/>
  </p:clrMapOvr>
</p:sld>
</file>

<file path=ppt/slides/slide2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5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610561"/>
      </p:ext>
    </p:extLst>
  </p:cSld>
  <p:clrMapOvr>
    <a:masterClrMapping/>
  </p:clrMapOvr>
</p:sld>
</file>

<file path=ppt/slides/slide2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Cele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9611539"/>
      </p:ext>
    </p:extLst>
  </p:cSld>
  <p:clrMapOvr>
    <a:masterClrMapping/>
  </p:clrMapOvr>
</p:sld>
</file>

<file path=ppt/slides/slide2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rut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30,9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29,5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6,9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12,4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5,70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4,6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4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2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8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6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2466670"/>
      </p:ext>
    </p:extLst>
  </p:cSld>
  <p:clrMapOvr>
    <a:masterClrMapping/>
  </p:clrMapOvr>
</p:sld>
</file>

<file path=ppt/slides/slide2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5685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0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9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5563463"/>
      </p:ext>
    </p:extLst>
  </p:cSld>
  <p:clrMapOvr>
    <a:masterClrMapping/>
  </p:clrMapOvr>
</p:sld>
</file>

<file path=ppt/slides/slide2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6,0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9,8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2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8,1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4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4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047314"/>
      </p:ext>
    </p:extLst>
  </p:cSld>
  <p:clrMapOvr>
    <a:masterClrMapping/>
  </p:clrMapOvr>
</p:sld>
</file>

<file path=ppt/slides/slide2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Cele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5083707"/>
      </p:ext>
    </p:extLst>
  </p:cSld>
  <p:clrMapOvr>
    <a:masterClrMapping/>
  </p:clrMapOvr>
</p:sld>
</file>

<file path=ppt/slides/slide2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9,2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5,9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4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Perrier Joue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Delamo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4736127"/>
      </p:ext>
    </p:extLst>
  </p:cSld>
  <p:clrMapOvr>
    <a:masterClrMapping/>
  </p:clrMapOvr>
</p:sld>
</file>

<file path=ppt/slides/slide2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3051348"/>
      </p:ext>
    </p:extLst>
  </p:cSld>
  <p:clrMapOvr>
    <a:masterClrMapping/>
  </p:clrMapOvr>
</p:sld>
</file>

<file path=ppt/slides/slide2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Val De Loire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8676750"/>
      </p:ext>
    </p:extLst>
  </p:cSld>
  <p:clrMapOvr>
    <a:masterClrMapping/>
  </p:clrMapOvr>
</p:sld>
</file>

<file path=ppt/slides/slide2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NICOLAS CCP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Cele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8175196"/>
      </p:ext>
    </p:extLst>
  </p:cSld>
  <p:clrMapOvr>
    <a:masterClrMapping/>
  </p:clrMapOvr>
</p:sld>
</file>

<file path=ppt/slides/slide2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ruts | NICOLAS IDF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35,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232,1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918,5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91,60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76,1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43,4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2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6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0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5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5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9998839"/>
      </p:ext>
    </p:extLst>
  </p:cSld>
  <p:clrMapOvr>
    <a:masterClrMapping/>
  </p:clrMapOvr>
</p:sld>
</file>

<file path=ppt/slides/slide2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IDF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3654959"/>
      </p:ext>
    </p:extLst>
  </p:cSld>
  <p:clrMapOvr>
    <a:masterClrMapping/>
  </p:clrMapOvr>
</p:sld>
</file>

<file path=ppt/slides/slide2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5,0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9,4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9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Perrier Joue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Piper Heidsie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2789167"/>
      </p:ext>
    </p:extLst>
  </p:cSld>
  <p:clrMapOvr>
    <a:masterClrMapping/>
  </p:clrMapOvr>
</p:sld>
</file>

<file path=ppt/slides/slide2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8,7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2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5,6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5,8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1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856471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1472739"/>
      </p:ext>
    </p:extLst>
  </p:cSld>
  <p:clrMapOvr>
    <a:masterClrMapping/>
  </p:clrMapOvr>
</p:sld>
</file>

<file path=ppt/slides/slide2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89266130"/>
      </p:ext>
    </p:extLst>
  </p:cSld>
  <p:clrMapOvr>
    <a:masterClrMapping/>
  </p:clrMapOvr>
</p:sld>
</file>

<file path=ppt/slides/slide2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632655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Val De Loire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4721620"/>
      </p:ext>
    </p:extLst>
  </p:cSld>
  <p:clrMapOvr>
    <a:masterClrMapping/>
  </p:clrMapOvr>
</p:sld>
</file>

<file path=ppt/slides/slide2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Alsace | NICOLAS RHO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6443468"/>
      </p:ext>
    </p:extLst>
  </p:cSld>
  <p:clrMapOvr>
    <a:masterClrMapping/>
  </p:clrMapOvr>
</p:sld>
</file>

<file path=ppt/slides/slide2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5441315"/>
      </p:ext>
    </p:extLst>
  </p:cSld>
  <p:clrMapOvr>
    <a:masterClrMapping/>
  </p:clrMapOvr>
</p:sld>
</file>

<file path=ppt/slides/slide2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ES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0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76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79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4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lamo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Perrier Joue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5807161"/>
      </p:ext>
    </p:extLst>
  </p:cSld>
  <p:clrMapOvr>
    <a:masterClrMapping/>
  </p:clrMapOvr>
</p:sld>
</file>

<file path=ppt/slides/slide2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ruts | NICOLAS ES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4,0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3,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5,3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9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2,5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2,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5238683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9636704"/>
      </p:ext>
    </p:extLst>
  </p:cSld>
  <p:clrMapOvr>
    <a:masterClrMapping/>
  </p:clrMapOvr>
</p:sld>
</file>

<file path=ppt/slides/slide2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Alsace | NICOLAS ES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2595010"/>
      </p:ext>
    </p:extLst>
  </p:cSld>
  <p:clrMapOvr>
    <a:masterClrMapping/>
  </p:clrMapOvr>
</p:sld>
</file>

<file path=ppt/slides/slide2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5,3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8,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75,7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6,9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7,9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2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Veuve Clicqu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9613815"/>
      </p:ext>
    </p:extLst>
  </p:cSld>
  <p:clrMapOvr>
    <a:masterClrMapping/>
  </p:clrMapOvr>
</p:sld>
</file>

<file path=ppt/slides/slide2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0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Vilavero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5103641"/>
      </p:ext>
    </p:extLst>
  </p:cSld>
  <p:clrMapOvr>
    <a:masterClrMapping/>
  </p:clrMapOvr>
</p:sld>
</file>

<file path=ppt/slides/slide2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2,5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5,7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74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48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5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lamo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Perrier Joue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1025097"/>
      </p:ext>
    </p:extLst>
  </p:cSld>
  <p:clrMapOvr>
    <a:masterClrMapping/>
  </p:clrMapOvr>
</p:sld>
</file>

<file path=ppt/slides/slide2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rus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4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Ves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Louis Marti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6440713"/>
      </p:ext>
    </p:extLst>
  </p:cSld>
  <p:clrMapOvr>
    <a:masterClrMapping/>
  </p:clrMapOvr>
</p:sld>
</file>

<file path=ppt/slides/slide2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Val De Loire | CA B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De Chance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hateau Moncontou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065800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CA E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6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0611503"/>
      </p:ext>
    </p:extLst>
  </p:cSld>
  <p:clrMapOvr>
    <a:masterClrMapping/>
  </p:clrMapOvr>
</p:sld>
</file>

<file path=ppt/slides/slide2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0"/>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59973">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6,9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359973">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8,88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359973">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7,7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359973">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6,3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359973">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359973">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359973">
                <a:tc>
                  <a:txBody>
                    <a:bodyPr/>
                    <a:lstStyle/>
                    <a:p>
                      <a:pPr algn="ctr">
                        <a:defRPr sz="800">
                          <a:latin typeface="Nexa Bold"/>
                        </a:defRPr>
                      </a:pPr>
                      <a:r>
                        <a:t>Delamo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359973">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359973">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9356762"/>
      </p:ext>
    </p:extLst>
  </p:cSld>
  <p:clrMapOvr>
    <a:masterClrMapping/>
  </p:clrMapOvr>
</p:sld>
</file>

<file path=ppt/slides/slide2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rut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32,8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58,8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15,6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5,6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90,8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90,0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6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a:defRPr sz="800">
                          <a:latin typeface="Nexa Bold"/>
                        </a:defRPr>
                      </a:pPr>
                      <a:r>
                        <a:t>Ayal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4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33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5367643"/>
      </p:ext>
    </p:extLst>
  </p:cSld>
  <p:clrMapOvr>
    <a:masterClrMapping/>
  </p:clrMapOvr>
</p:sld>
</file>

<file path=ppt/slides/slide2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7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8393732"/>
      </p:ext>
    </p:extLst>
  </p:cSld>
  <p:clrMapOvr>
    <a:masterClrMapping/>
  </p:clrMapOvr>
</p:sld>
</file>

<file path=ppt/slides/slide2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6"/>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Contarini</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5209819"/>
      </p:ext>
    </p:extLst>
  </p:cSld>
  <p:clrMapOvr>
    <a:masterClrMapping/>
  </p:clrMapOvr>
</p:sld>
</file>

<file path=ppt/slides/slide2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Alsace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1379187"/>
      </p:ext>
    </p:extLst>
  </p:cSld>
  <p:clrMapOvr>
    <a:masterClrMapping/>
  </p:clrMapOvr>
</p:sld>
</file>

<file path=ppt/slides/slide2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CA E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36,7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3,8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6,3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Piper Heidsie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Boll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147751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CA E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85,0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192560"/>
      </p:ext>
    </p:extLst>
  </p:cSld>
  <p:clrMapOvr>
    <a:masterClrMapping/>
  </p:clrMapOvr>
</p:sld>
</file>

<file path=ppt/slides/slide2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Effervescents | NICOLAS VCN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hampagn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ousseux</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ffervescents Sans Alcool</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2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a:defRPr sz="800">
                          <a:latin typeface="Nexa Bold"/>
                        </a:defRPr>
                      </a:pPr>
                      <a:r>
                        <a:t>Ruinar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a:defRPr sz="800">
                          <a:latin typeface="Nexa Bold"/>
                        </a:defRPr>
                      </a:pPr>
                      <a:r>
                        <a:t>Deutz</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a:defRPr sz="800">
                          <a:latin typeface="Nexa Bold"/>
                        </a:defRPr>
                      </a:pPr>
                      <a:r>
                        <a:t>Malard</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a:defRPr sz="800">
                          <a:latin typeface="Nexa Bold"/>
                        </a:defRPr>
                      </a:pPr>
                      <a:r>
                        <a:t>Laurent Perrier</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a:defRPr sz="800">
                          <a:latin typeface="Nexa Bold"/>
                        </a:defRPr>
                      </a:pPr>
                      <a:r>
                        <a:t>Nicolas Feuilla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a:defRPr sz="800">
                          <a:latin typeface="Nexa Bold"/>
                        </a:defRPr>
                      </a:pPr>
                      <a:r>
                        <a:t>De Bligny</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a:defRPr sz="800">
                          <a:latin typeface="Nexa Bold"/>
                        </a:defRPr>
                      </a:pPr>
                      <a:r>
                        <a:t>Canard Duchên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a:defRPr sz="800">
                          <a:latin typeface="Nexa Bold"/>
                        </a:defRPr>
                      </a:pPr>
                      <a:r>
                        <a:t>Heidsieck &amp; Co Monopol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33289725"/>
      </p:ext>
    </p:extLst>
  </p:cSld>
  <p:clrMapOvr>
    <a:masterClrMapping/>
  </p:clrMapOvr>
</p:sld>
</file>

<file path=ppt/slides/slide2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NICOLA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a:defRPr sz="800">
                          <a:latin typeface="Nexa Bold"/>
                        </a:defRPr>
                      </a:pPr>
                      <a:r>
                        <a:t>Ruinar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2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a:defRPr sz="800">
                          <a:latin typeface="Nexa Bold"/>
                        </a:defRPr>
                      </a:pPr>
                      <a:r>
                        <a:t>Malard</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7%</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a:defRPr sz="800">
                          <a:latin typeface="Nexa Bold"/>
                        </a:defRPr>
                      </a:pPr>
                      <a:r>
                        <a:t>Besserat De Bellefo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a:defRPr sz="800">
                          <a:latin typeface="Nexa Bold"/>
                        </a:defRPr>
                      </a:pPr>
                      <a:r>
                        <a:t>Henrio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a:defRPr sz="800">
                          <a:latin typeface="Nexa Bold"/>
                        </a:defRPr>
                      </a:pPr>
                      <a:r>
                        <a:t>Delamo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a:defRPr sz="800">
                          <a:latin typeface="Nexa Bold"/>
                        </a:defRPr>
                      </a:pPr>
                      <a:r>
                        <a:t>De Bligny</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a:defRPr sz="800">
                          <a:latin typeface="Nexa Bold"/>
                        </a:defRPr>
                      </a:pPr>
                      <a:r>
                        <a:t>Ayala</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a:defRPr sz="800">
                          <a:latin typeface="Nexa Bold"/>
                        </a:defRPr>
                      </a:pPr>
                      <a:r>
                        <a:t>De Venog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27734343"/>
      </p:ext>
    </p:extLst>
  </p:cSld>
  <p:clrMapOvr>
    <a:masterClrMapping/>
  </p:clrMapOvr>
</p:sld>
</file>

<file path=ppt/slides/slide2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CA A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a:defRPr sz="800">
                          <a:latin typeface="Nexa Bold"/>
                        </a:defRPr>
                      </a:pPr>
                      <a:r>
                        <a:t>Ruinar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2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a:defRPr sz="800">
                          <a:latin typeface="Nexa Bold"/>
                        </a:defRPr>
                      </a:pPr>
                      <a:r>
                        <a:t>Malard</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a:defRPr sz="800">
                          <a:latin typeface="Nexa Bold"/>
                        </a:defRPr>
                      </a:pPr>
                      <a:r>
                        <a:t>Besserat De Bellefo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a:defRPr sz="800">
                          <a:latin typeface="Nexa Bold"/>
                        </a:defRPr>
                      </a:pPr>
                      <a:r>
                        <a:t>Perrier Joue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a:defRPr sz="800">
                          <a:latin typeface="Nexa Bold"/>
                        </a:defRPr>
                      </a:pPr>
                      <a:r>
                        <a:t>Henrio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a:defRPr sz="800">
                          <a:latin typeface="Nexa Bold"/>
                        </a:defRPr>
                      </a:pPr>
                      <a:r>
                        <a:t>Delamo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a:defRPr sz="800">
                          <a:latin typeface="Nexa Bold"/>
                        </a:defRPr>
                      </a:pPr>
                      <a:r>
                        <a:t>Deutz</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a:defRPr sz="800">
                          <a:latin typeface="Nexa Bold"/>
                        </a:defRPr>
                      </a:pPr>
                      <a:r>
                        <a:t>Taittinger</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65598742"/>
      </p:ext>
    </p:extLst>
  </p:cSld>
  <p:clrMapOvr>
    <a:masterClrMapping/>
  </p:clrMapOvr>
</p:sld>
</file>

<file path=ppt/slides/slide2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CA C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a:defRPr sz="800">
                          <a:latin typeface="Nexa Bold"/>
                        </a:defRPr>
                      </a:pPr>
                      <a:r>
                        <a:t>Ruinar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a:defRPr sz="800">
                          <a:latin typeface="Nexa Bold"/>
                        </a:defRPr>
                      </a:pPr>
                      <a:r>
                        <a:t>2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7%</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a:defRPr sz="800">
                          <a:latin typeface="Nexa Bold"/>
                        </a:defRPr>
                      </a:pPr>
                      <a:r>
                        <a:t>Malard</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7%</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a:defRPr sz="800">
                          <a:latin typeface="Nexa Bold"/>
                        </a:defRPr>
                      </a:pPr>
                      <a:r>
                        <a:t>Besserat De Bellefo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a:defRPr sz="800">
                          <a:latin typeface="Nexa Bold"/>
                        </a:defRPr>
                      </a:pPr>
                      <a:r>
                        <a:t>Henriot</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a:defRPr sz="800">
                          <a:latin typeface="Nexa Bold"/>
                        </a:defRPr>
                      </a:pPr>
                      <a:r>
                        <a:t>De Bligny</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a:defRPr sz="800">
                          <a:latin typeface="Nexa Bold"/>
                        </a:defRPr>
                      </a:pPr>
                      <a:r>
                        <a:t>Delamo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a:defRPr sz="800">
                          <a:latin typeface="Nexa Bold"/>
                        </a:defRPr>
                      </a:pPr>
                      <a:r>
                        <a:t>Ayala</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a:defRPr sz="800">
                          <a:latin typeface="Nexa Bold"/>
                        </a:defRPr>
                      </a:pPr>
                      <a:r>
                        <a:t>Deutz</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217873541"/>
      </p:ext>
    </p:extLst>
  </p:cSld>
  <p:clrMapOvr>
    <a:masterClrMapping/>
  </p:clrMapOvr>
</p:sld>
</file>

<file path=ppt/slides/slide2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Champagn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42020828"/>
      </p:ext>
    </p:extLst>
  </p:cSld>
  <p:clrMapOvr>
    <a:masterClrMapping/>
  </p:clrMapOvr>
</p:sld>
</file>

<file path=ppt/slides/slide2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Effervescents Sans Alcool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128795"/>
      </p:ext>
    </p:extLst>
  </p:cSld>
  <p:clrMapOvr>
    <a:masterClrMapping/>
  </p:clrMapOvr>
</p:sld>
</file>

<file path=ppt/slides/slide2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ousseux Bourgogne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168662652"/>
      </p:ext>
    </p:extLst>
  </p:cSld>
  <p:clrMapOvr>
    <a:masterClrMapping/>
  </p:clrMapOvr>
</p:sld>
</file>

<file path=ppt/slides/slide2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T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4154414"/>
      </p:ext>
    </p:extLst>
  </p:cSld>
  <p:clrMapOvr>
    <a:masterClrMapping/>
  </p:clrMapOvr>
</p:sld>
</file>

<file path=ppt/slides/slide2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RHO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00200167"/>
      </p:ext>
    </p:extLst>
  </p:cSld>
  <p:clrMapOvr>
    <a:masterClrMapping/>
  </p:clrMapOvr>
</p:sld>
</file>

<file path=ppt/slides/slide2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5864322"/>
      </p:ext>
    </p:extLst>
  </p:cSld>
  <p:clrMapOvr>
    <a:masterClrMapping/>
  </p:clrMapOvr>
</p:sld>
</file>

<file path=ppt/slides/slide2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A | Effervescen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52</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0166255"/>
      </p:ext>
    </p:extLst>
  </p:cSld>
  <p:clrMapOvr>
    <a:masterClrMapping/>
  </p:clrMapOvr>
</p:sld>
</file>

<file path=ppt/slides/slide2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7078065"/>
      </p:ext>
    </p:extLst>
  </p:cSld>
  <p:clrMapOvr>
    <a:masterClrMapping/>
  </p:clrMapOvr>
</p:sld>
</file>

<file path=ppt/slides/slide2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Effervescents Sans Alcoo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7056627"/>
      </p:ext>
    </p:extLst>
  </p:cSld>
  <p:clrMapOvr>
    <a:masterClrMapping/>
  </p:clrMapOvr>
</p:sld>
</file>

<file path=ppt/slides/slide2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0225069"/>
      </p:ext>
    </p:extLst>
  </p:cSld>
  <p:clrMapOvr>
    <a:masterClrMapping/>
  </p:clrMapOvr>
</p:sld>
</file>

<file path=ppt/slides/slide2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3672824"/>
      </p:ext>
    </p:extLst>
  </p:cSld>
  <p:clrMapOvr>
    <a:masterClrMapping/>
  </p:clrMapOvr>
</p:sld>
</file>

<file path=ppt/slides/slide2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4719608"/>
      </p:ext>
    </p:extLst>
  </p:cSld>
  <p:clrMapOvr>
    <a:masterClrMapping/>
  </p:clrMapOvr>
</p:sld>
</file>

<file path=ppt/slides/slide2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2228456"/>
      </p:ext>
    </p:extLst>
  </p:cSld>
  <p:clrMapOvr>
    <a:masterClrMapping/>
  </p:clrMapOvr>
</p:sld>
</file>

<file path=ppt/slides/slide2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0243557"/>
      </p:ext>
    </p:extLst>
  </p:cSld>
  <p:clrMapOvr>
    <a:masterClrMapping/>
  </p:clrMapOvr>
</p:sld>
</file>

<file path=ppt/slides/slide2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C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9283578"/>
      </p:ext>
    </p:extLst>
  </p:cSld>
  <p:clrMapOvr>
    <a:masterClrMapping/>
  </p:clrMapOvr>
</p:sld>
</file>

<file path=ppt/slides/slide2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Mousseux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3098638"/>
      </p:ext>
    </p:extLst>
  </p:cSld>
  <p:clrMapOvr>
    <a:masterClrMapping/>
  </p:clrMapOvr>
</p:sld>
</file>

<file path=ppt/slides/slide2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Champagn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7273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0,2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09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5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4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2040952"/>
      </p:ext>
    </p:extLst>
  </p:cSld>
  <p:clrMapOvr>
    <a:masterClrMapping/>
  </p:clrMapOvr>
</p:sld>
</file>

<file path=ppt/slides/slide2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402434"/>
      </p:ext>
    </p:extLst>
  </p:cSld>
  <p:clrMapOvr>
    <a:masterClrMapping/>
  </p:clrMapOvr>
</p:sld>
</file>

<file path=ppt/slides/slide2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317985"/>
      </p:ext>
    </p:extLst>
  </p:cSld>
  <p:clrMapOvr>
    <a:masterClrMapping/>
  </p:clrMapOvr>
</p:sld>
</file>

<file path=ppt/slides/slide2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349462"/>
      </p:ext>
    </p:extLst>
  </p:cSld>
  <p:clrMapOvr>
    <a:masterClrMapping/>
  </p:clrMapOvr>
</p:sld>
</file>

<file path=ppt/slides/slide2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Mousseux Alsac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1648325"/>
      </p:ext>
    </p:extLst>
  </p:cSld>
  <p:clrMapOvr>
    <a:masterClrMapping/>
  </p:clrMapOvr>
</p:sld>
</file>

<file path=ppt/slides/slide2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N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06911074"/>
      </p:ext>
    </p:extLst>
  </p:cSld>
  <p:clrMapOvr>
    <a:masterClrMapping/>
  </p:clrMapOvr>
</p:sld>
</file>

<file path=ppt/slides/slide2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0799388"/>
      </p:ext>
    </p:extLst>
  </p:cSld>
  <p:clrMapOvr>
    <a:masterClrMapping/>
  </p:clrMapOvr>
</p:sld>
</file>

<file path=ppt/slides/slide2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VCN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7705902"/>
      </p:ext>
    </p:extLst>
  </p:cSld>
  <p:clrMapOvr>
    <a:masterClrMapping/>
  </p:clrMapOvr>
</p:sld>
</file>

<file path=ppt/slides/slide2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T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2</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926488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Effervescents | CA D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hampagn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ousseux</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Nico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005161882"/>
      </p:ext>
    </p:extLst>
  </p:cSld>
  <p:clrMapOvr>
    <a:masterClrMapping/>
  </p:clrMapOvr>
</p:sld>
</file>

<file path=ppt/slides/slide2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QCA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148224"/>
      </p:ext>
    </p:extLst>
  </p:cSld>
  <p:clrMapOvr>
    <a:masterClrMapping/>
  </p:clrMapOvr>
</p:sld>
</file>

<file path=ppt/slides/slide2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9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3341806"/>
      </p:ext>
    </p:extLst>
  </p:cSld>
  <p:clrMapOvr>
    <a:masterClrMapping/>
  </p:clrMapOvr>
</p:sld>
</file>

<file path=ppt/slides/slide2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813392"/>
      </p:ext>
    </p:extLst>
  </p:cSld>
  <p:clrMapOvr>
    <a:masterClrMapping/>
  </p:clrMapOvr>
</p:sld>
</file>

<file path=ppt/slides/slide2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1674498"/>
      </p:ext>
    </p:extLst>
  </p:cSld>
  <p:clrMapOvr>
    <a:masterClrMapping/>
  </p:clrMapOvr>
</p:sld>
</file>

<file path=ppt/slides/slide2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CCP | Mousseux Alsac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23885060"/>
      </p:ext>
    </p:extLst>
  </p:cSld>
  <p:clrMapOvr>
    <a:masterClrMapping/>
  </p:clrMapOvr>
</p:sld>
</file>

<file path=ppt/slides/slide2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IDF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01385818"/>
      </p:ext>
    </p:extLst>
  </p:cSld>
  <p:clrMapOvr>
    <a:masterClrMapping/>
  </p:clrMapOvr>
</p:sld>
</file>

<file path=ppt/slides/slide2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289119"/>
      </p:ext>
    </p:extLst>
  </p:cSld>
  <p:clrMapOvr>
    <a:masterClrMapping/>
  </p:clrMapOvr>
</p:sld>
</file>

<file path=ppt/slides/slide2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7928360"/>
      </p:ext>
    </p:extLst>
  </p:cSld>
  <p:clrMapOvr>
    <a:masterClrMapping/>
  </p:clrMapOvr>
</p:sld>
</file>

<file path=ppt/slides/slide2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0668000"/>
      </p:ext>
    </p:extLst>
  </p:cSld>
  <p:clrMapOvr>
    <a:masterClrMapping/>
  </p:clrMapOvr>
</p:sld>
</file>

<file path=ppt/slides/slide2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PAC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9635421"/>
      </p:ext>
    </p:extLst>
  </p:cSld>
  <p:clrMapOvr>
    <a:masterClrMapping/>
  </p:clrMapOvr>
</p:sld>
</file>

<file path=ppt/slides/slide2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RHO | Rosé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76062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NICOLAS QC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Nico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598434036"/>
      </p:ext>
    </p:extLst>
  </p:cSld>
  <p:clrMapOvr>
    <a:masterClrMapping/>
  </p:clrMapOvr>
</p:sld>
</file>

<file path=ppt/slides/slide2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0787309"/>
      </p:ext>
    </p:extLst>
  </p:cSld>
  <p:clrMapOvr>
    <a:masterClrMapping/>
  </p:clrMapOvr>
</p:sld>
</file>

<file path=ppt/slides/slide2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338677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NICOLAS QCA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7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Nico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991931092"/>
      </p:ext>
    </p:extLst>
  </p:cSld>
  <p:clrMapOvr>
    <a:masterClrMapping/>
  </p:clrMapOvr>
</p:sld>
</file>

<file path=ppt/slides/slide2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AQU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7627443"/>
      </p:ext>
    </p:extLst>
  </p:cSld>
  <p:clrMapOvr>
    <a:masterClrMapping/>
  </p:clrMapOvr>
</p:sld>
</file>

<file path=ppt/slides/slide2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Brut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0616536"/>
      </p:ext>
    </p:extLst>
  </p:cSld>
  <p:clrMapOvr>
    <a:masterClrMapping/>
  </p:clrMapOvr>
</p:sld>
</file>

<file path=ppt/slides/slide2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3811606"/>
      </p:ext>
    </p:extLst>
  </p:cSld>
  <p:clrMapOvr>
    <a:masterClrMapping/>
  </p:clrMapOvr>
</p:sld>
</file>

<file path=ppt/slides/slide2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NICOLAS EST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7475408"/>
      </p:ext>
    </p:extLst>
  </p:cSld>
  <p:clrMapOvr>
    <a:masterClrMapping/>
  </p:clrMapOvr>
</p:sld>
</file>

<file path=ppt/slides/slide2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A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372479"/>
      </p:ext>
    </p:extLst>
  </p:cSld>
  <p:clrMapOvr>
    <a:masterClrMapping/>
  </p:clrMapOvr>
</p:sld>
</file>

<file path=ppt/slides/slide2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A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1061463"/>
      </p:ext>
    </p:extLst>
  </p:cSld>
  <p:clrMapOvr>
    <a:masterClrMapping/>
  </p:clrMapOvr>
</p:sld>
</file>

<file path=ppt/slides/slide2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9236918"/>
      </p:ext>
    </p:extLst>
  </p:cSld>
  <p:clrMapOvr>
    <a:masterClrMapping/>
  </p:clrMapOvr>
</p:sld>
</file>

<file path=ppt/slides/slide2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B | Mousseux Val De Loir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2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308322"/>
      </p:ext>
    </p:extLst>
  </p:cSld>
  <p:clrMapOvr>
    <a:masterClrMapping/>
  </p:clrMapOvr>
</p:sld>
</file>

<file path=ppt/slides/slide2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C | Extra Bru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2845116"/>
      </p:ext>
    </p:extLst>
  </p:cSld>
  <p:clrMapOvr>
    <a:masterClrMapping/>
  </p:clrMapOvr>
</p:sld>
</file>

<file path=ppt/slides/slide2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C | Mousseux Alsac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4527461"/>
      </p:ext>
    </p:extLst>
  </p:cSld>
  <p:clrMapOvr>
    <a:masterClrMapping/>
  </p:clrMapOvr>
</p:sld>
</file>

<file path=ppt/slides/slide2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Blanc De Blanc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2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1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7352182"/>
      </p:ext>
    </p:extLst>
  </p:cSld>
  <p:clrMapOvr>
    <a:masterClrMapping/>
  </p:clrMapOvr>
</p:sld>
</file>

<file path=ppt/slides/slide2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Mousseux Bourgogne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58543"/>
      </p:ext>
    </p:extLst>
  </p:cSld>
  <p:clrMapOvr>
    <a:masterClrMapping/>
  </p:clrMapOvr>
</p:sld>
</file>

<file path=ppt/slides/slide2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D | Mousseux Italien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03542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1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Effervescents | CA E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lanc De Blanc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Brut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Cru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Extra Brut</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Millesim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7%</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Nico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894359723"/>
      </p:ext>
    </p:extLst>
  </p:cSld>
  <p:clrMapOvr>
    <a:masterClrMapping/>
  </p:clrMapOvr>
</p:sld>
</file>

<file path=ppt/slides/slide2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Cru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8723313"/>
      </p:ext>
    </p:extLst>
  </p:cSld>
  <p:clrMapOvr>
    <a:masterClrMapping/>
  </p:clrMapOvr>
</p:sld>
</file>

<file path=ppt/slides/slide2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Millesim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6682591"/>
      </p:ext>
    </p:extLst>
  </p:cSld>
  <p:clrMapOvr>
    <a:masterClrMapping/>
  </p:clrMapOvr>
</p:sld>
</file>

<file path=ppt/slides/slide2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1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CA E | Mousseux Bordelai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5</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12042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Champagn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578140817"/>
      </p:ext>
    </p:extLst>
  </p:cSld>
  <p:clrMapOvr>
    <a:masterClrMapping/>
  </p:clrMapOvr>
</p:sld>
</file>

<file path=ppt/slides/slide2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Effervescents | CA D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96755163"/>
      </p:ext>
    </p:extLst>
  </p:cSld>
  <p:clrMapOvr>
    <a:masterClrMapping/>
  </p:clrMapOvr>
</p:sld>
</file>

<file path=ppt/slides/slide2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187782085"/>
      </p:ext>
    </p:extLst>
  </p:cSld>
  <p:clrMapOvr>
    <a:masterClrMapping/>
  </p:clrMapOvr>
</p:sld>
</file>

<file path=ppt/slides/slide2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T | Champagn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064813085"/>
      </p:ext>
    </p:extLst>
  </p:cSld>
  <p:clrMapOvr>
    <a:masterClrMapping/>
  </p:clrMapOvr>
</p:sld>
</file>

<file path=ppt/slides/slide2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4"/>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44348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443483">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443483">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44348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44348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44348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44348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443483">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ousseux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5381290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6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42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2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6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99828666"/>
      </p:ext>
    </p:extLst>
  </p:cSld>
  <p:clrMapOvr>
    <a:masterClrMapping/>
  </p:clrMapOvr>
</p:sld>
</file>

<file path=ppt/slides/slide2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4"/>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44348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443483">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44348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443483">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44348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44348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44348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443483">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Mousseux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805853710"/>
      </p:ext>
    </p:extLst>
  </p:cSld>
  <p:clrMapOvr>
    <a:masterClrMapping/>
  </p:clrMapOvr>
</p:sld>
</file>

<file path=ppt/slides/slide2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Mousseux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216113873"/>
      </p:ext>
    </p:extLst>
  </p:cSld>
  <p:clrMapOvr>
    <a:masterClrMapping/>
  </p:clrMapOvr>
</p:sld>
</file>

<file path=ppt/slides/slide2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Moët &amp; Chand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Extra Bru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569885067"/>
      </p:ext>
    </p:extLst>
  </p:cSld>
  <p:clrMapOvr>
    <a:masterClrMapping/>
  </p:clrMapOvr>
</p:sld>
</file>

<file path=ppt/slides/slide2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892234552"/>
      </p:ext>
    </p:extLst>
  </p:cSld>
  <p:clrMapOvr>
    <a:masterClrMapping/>
  </p:clrMapOvr>
</p:sld>
</file>

<file path=ppt/slides/slide2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34850049"/>
      </p:ext>
    </p:extLst>
  </p:cSld>
  <p:clrMapOvr>
    <a:masterClrMapping/>
  </p:clrMapOvr>
</p:sld>
</file>

<file path=ppt/slides/slide2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45250390"/>
      </p:ext>
    </p:extLst>
  </p:cSld>
  <p:clrMapOvr>
    <a:masterClrMapping/>
  </p:clrMapOvr>
</p:sld>
</file>

<file path=ppt/slides/slide2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618148499"/>
      </p:ext>
    </p:extLst>
  </p:cSld>
  <p:clrMapOvr>
    <a:masterClrMapping/>
  </p:clrMapOvr>
</p:sld>
</file>

<file path=ppt/slides/slide2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N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82011377"/>
      </p:ext>
    </p:extLst>
  </p:cSld>
  <p:clrMapOvr>
    <a:masterClrMapping/>
  </p:clrMapOvr>
</p:sld>
</file>

<file path=ppt/slides/slide2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Moët &amp; Chand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Extra Bru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963377789"/>
      </p:ext>
    </p:extLst>
  </p:cSld>
  <p:clrMapOvr>
    <a:masterClrMapping/>
  </p:clrMapOvr>
</p:sld>
</file>

<file path=ppt/slides/slide2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VCN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9935583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illesim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533839300"/>
      </p:ext>
    </p:extLst>
  </p:cSld>
  <p:clrMapOvr>
    <a:masterClrMapping/>
  </p:clrMapOvr>
</p:sld>
</file>

<file path=ppt/slides/slide2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T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833402998"/>
      </p:ext>
    </p:extLst>
  </p:cSld>
  <p:clrMapOvr>
    <a:masterClrMapping/>
  </p:clrMapOvr>
</p:sld>
</file>

<file path=ppt/slides/slide2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T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120877656"/>
      </p:ext>
    </p:extLst>
  </p:cSld>
  <p:clrMapOvr>
    <a:masterClrMapping/>
  </p:clrMapOvr>
</p:sld>
</file>

<file path=ppt/slides/slide2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T | Mousseux Val De Loir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947122997"/>
      </p:ext>
    </p:extLst>
  </p:cSld>
  <p:clrMapOvr>
    <a:masterClrMapping/>
  </p:clrMapOvr>
</p:sld>
</file>

<file path=ppt/slides/slide2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QCA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007514953"/>
      </p:ext>
    </p:extLst>
  </p:cSld>
  <p:clrMapOvr>
    <a:masterClrMapping/>
  </p:clrMapOvr>
</p:sld>
</file>

<file path=ppt/slides/slide2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CCP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92380087"/>
      </p:ext>
    </p:extLst>
  </p:cSld>
  <p:clrMapOvr>
    <a:masterClrMapping/>
  </p:clrMapOvr>
</p:sld>
</file>

<file path=ppt/slides/slide2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Vilaveroni</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CCP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05486871"/>
      </p:ext>
    </p:extLst>
  </p:cSld>
  <p:clrMapOvr>
    <a:masterClrMapping/>
  </p:clrMapOvr>
</p:sld>
</file>

<file path=ppt/slides/slide2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852458252"/>
      </p:ext>
    </p:extLst>
  </p:cSld>
  <p:clrMapOvr>
    <a:masterClrMapping/>
  </p:clrMapOvr>
</p:sld>
</file>

<file path=ppt/slides/slide2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39674186"/>
      </p:ext>
    </p:extLst>
  </p:cSld>
  <p:clrMapOvr>
    <a:masterClrMapping/>
  </p:clrMapOvr>
</p:sld>
</file>

<file path=ppt/slides/slide2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Cru La Maqueli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IDF | Mousseux Bordelai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87675157"/>
      </p:ext>
    </p:extLst>
  </p:cSld>
  <p:clrMapOvr>
    <a:masterClrMapping/>
  </p:clrMapOvr>
</p:sld>
</file>

<file path=ppt/slides/slide2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047400782"/>
      </p:ext>
    </p:extLst>
  </p:cSld>
  <p:clrMapOvr>
    <a:masterClrMapping/>
  </p:clrMapOvr>
</p:sld>
</file>

<file path=ppt/slides/slide2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79143642"/>
      </p:ext>
    </p:extLst>
  </p:cSld>
  <p:clrMapOvr>
    <a:masterClrMapping/>
  </p:clrMapOvr>
</p:sld>
</file>

<file path=ppt/slides/slide2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PAC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1920041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ousseux Bordelai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NICOLA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VCN</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QC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CCP</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IDF</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PAC</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RHO</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AQU</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NICOLAS EST</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A</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B</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CA C</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57040107"/>
      </p:ext>
    </p:extLst>
  </p:cSld>
  <p:clrMapOvr>
    <a:masterClrMapping/>
  </p:clrMapOvr>
</p:sld>
</file>

<file path=ppt/slides/slide2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RHO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38644384"/>
      </p:ext>
    </p:extLst>
  </p:cSld>
  <p:clrMapOvr>
    <a:masterClrMapping/>
  </p:clrMapOvr>
</p:sld>
</file>

<file path=ppt/slides/slide2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Patriarch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RHO | Mousseux Bourgogn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182272185"/>
      </p:ext>
    </p:extLst>
  </p:cSld>
  <p:clrMapOvr>
    <a:masterClrMapping/>
  </p:clrMapOvr>
</p:sld>
</file>

<file path=ppt/slides/slide2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63153372"/>
      </p:ext>
    </p:extLst>
  </p:cSld>
  <p:clrMapOvr>
    <a:masterClrMapping/>
  </p:clrMapOvr>
</p:sld>
</file>

<file path=ppt/slides/slide2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84763413"/>
      </p:ext>
    </p:extLst>
  </p:cSld>
  <p:clrMapOvr>
    <a:masterClrMapping/>
  </p:clrMapOvr>
</p:sld>
</file>

<file path=ppt/slides/slide2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AQU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77983176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N | Effervescent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0177589"/>
      </p:ext>
    </p:extLst>
  </p:cSld>
  <p:clrMapOvr>
    <a:masterClrMapping/>
  </p:clrMapOvr>
</p:sld>
</file>

<file path=ppt/slides/slide2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3"/>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94207">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9420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4207">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4207">
                <a:tc>
                  <a:txBody>
                    <a:bodyPr/>
                    <a:lstStyle/>
                    <a:p>
                      <a:pPr algn="l">
                        <a:defRPr sz="900" b="0">
                          <a:latin typeface="Nexa Bold"/>
                        </a:defRPr>
                      </a:pPr>
                      <a:r>
                        <a:rPr sz="900">
                          <a:latin typeface="Nexa Bold"/>
                        </a:rPr>
                        <a:t>Demoi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4207">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420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94207">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94207">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9420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Rosé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553745791"/>
      </p:ext>
    </p:extLst>
  </p:cSld>
  <p:clrMapOvr>
    <a:masterClrMapping/>
  </p:clrMapOvr>
</p:sld>
</file>

<file path=ppt/slides/slide2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NICOLAS EST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79207052"/>
      </p:ext>
    </p:extLst>
  </p:cSld>
  <p:clrMapOvr>
    <a:masterClrMapping/>
  </p:clrMapOvr>
</p:sld>
</file>

<file path=ppt/slides/slide2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A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105264368"/>
      </p:ext>
    </p:extLst>
  </p:cSld>
  <p:clrMapOvr>
    <a:masterClrMapping/>
  </p:clrMapOvr>
</p:sld>
</file>

<file path=ppt/slides/slide2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A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803059723"/>
      </p:ext>
    </p:extLst>
  </p:cSld>
  <p:clrMapOvr>
    <a:masterClrMapping/>
  </p:clrMapOvr>
</p:sld>
</file>

<file path=ppt/slides/slide2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A | Mousseux Val De Loir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20593887"/>
      </p:ext>
    </p:extLst>
  </p:cSld>
  <p:clrMapOvr>
    <a:masterClrMapping/>
  </p:clrMapOvr>
</p:sld>
</file>

<file path=ppt/slides/slide2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680128881"/>
      </p:ext>
    </p:extLst>
  </p:cSld>
  <p:clrMapOvr>
    <a:masterClrMapping/>
  </p:clrMapOvr>
</p:sld>
</file>

<file path=ppt/slides/slide2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786">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786">
                <a:tc>
                  <a:txBody>
                    <a:bodyPr/>
                    <a:lstStyle/>
                    <a:p>
                      <a:pPr algn="l">
                        <a:defRPr sz="900" b="0">
                          <a:latin typeface="Nexa Bold"/>
                        </a:defRPr>
                      </a:pPr>
                      <a:r>
                        <a:rPr sz="900">
                          <a:latin typeface="Nexa Bold"/>
                        </a:rPr>
                        <a:t>Deutz</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786">
                <a:tc>
                  <a:txBody>
                    <a:bodyPr/>
                    <a:lstStyle/>
                    <a:p>
                      <a:pPr algn="l">
                        <a:defRPr sz="900" b="0">
                          <a:latin typeface="Nexa Bold"/>
                        </a:defRPr>
                      </a:pPr>
                      <a:r>
                        <a:rPr sz="900">
                          <a:latin typeface="Nexa Bold"/>
                        </a:rPr>
                        <a:t>Heidsieck &amp; Co Monopo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786">
                <a:tc>
                  <a:txBody>
                    <a:bodyPr/>
                    <a:lstStyle/>
                    <a:p>
                      <a:pPr algn="l">
                        <a:defRPr sz="900" b="0">
                          <a:latin typeface="Nexa Bold"/>
                        </a:defRPr>
                      </a:pPr>
                      <a:r>
                        <a:rPr sz="900">
                          <a:latin typeface="Nexa Bold"/>
                        </a:rPr>
                        <a:t>Ayal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786">
                <a:tc>
                  <a:txBody>
                    <a:bodyPr/>
                    <a:lstStyle/>
                    <a:p>
                      <a:pPr algn="l">
                        <a:defRPr sz="900" b="0">
                          <a:latin typeface="Nexa Bold"/>
                        </a:defRPr>
                      </a:pPr>
                      <a:r>
                        <a:rPr sz="900">
                          <a:latin typeface="Nexa Bold"/>
                        </a:rPr>
                        <a:t>Laurent Perri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786">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354786">
                <a:tc>
                  <a:txBody>
                    <a:bodyPr/>
                    <a:lstStyle/>
                    <a:p>
                      <a:pPr algn="l">
                        <a:defRPr sz="900" b="0">
                          <a:latin typeface="Nexa Bold"/>
                        </a:defRPr>
                      </a:pPr>
                      <a:r>
                        <a:rPr sz="900">
                          <a:latin typeface="Nexa Bold"/>
                        </a:rPr>
                        <a:t>Canard Duchê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354786">
                <a:tc>
                  <a:txBody>
                    <a:bodyPr/>
                    <a:lstStyle/>
                    <a:p>
                      <a:pPr algn="l">
                        <a:defRPr sz="900" b="0">
                          <a:latin typeface="Nexa Bold"/>
                        </a:defRPr>
                      </a:pPr>
                      <a:r>
                        <a:rPr sz="900">
                          <a:latin typeface="Nexa Bold"/>
                        </a:rPr>
                        <a:t>Taitt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354786">
                <a:tc>
                  <a:txBody>
                    <a:bodyPr/>
                    <a:lstStyle/>
                    <a:p>
                      <a:pPr algn="l">
                        <a:defRPr sz="900" b="0">
                          <a:latin typeface="Nexa Bold"/>
                        </a:defRPr>
                      </a:pPr>
                      <a:r>
                        <a:rPr sz="900">
                          <a:latin typeface="Nexa Bold"/>
                        </a:rPr>
                        <a:t>Bolling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Brut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666558354"/>
      </p:ext>
    </p:extLst>
  </p:cSld>
  <p:clrMapOvr>
    <a:masterClrMapping/>
  </p:clrMapOvr>
</p:sld>
</file>

<file path=ppt/slides/slide2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Nicolas Feuilla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Moët &amp; Chand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Extra Bru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70168722"/>
      </p:ext>
    </p:extLst>
  </p:cSld>
  <p:clrMapOvr>
    <a:masterClrMapping/>
  </p:clrMapOvr>
</p:sld>
</file>

<file path=ppt/slides/slide2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773934">
                <a:tc>
                  <a:txBody>
                    <a:bodyPr/>
                    <a:lstStyle/>
                    <a:p>
                      <a:pPr algn="l">
                        <a:defRPr sz="900" b="0">
                          <a:latin typeface="Nexa Bold"/>
                        </a:defRPr>
                      </a:pPr>
                      <a:r>
                        <a:rPr sz="900">
                          <a:latin typeface="Nexa Bold"/>
                        </a:rPr>
                        <a:t>Botteg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773934">
                <a:tc>
                  <a:txBody>
                    <a:bodyPr/>
                    <a:lstStyle/>
                    <a:p>
                      <a:pPr algn="l">
                        <a:defRPr sz="900" b="0">
                          <a:latin typeface="Nexa Bold"/>
                        </a:defRPr>
                      </a:pPr>
                      <a:r>
                        <a:rPr sz="900">
                          <a:latin typeface="Nexa Bold"/>
                        </a:rPr>
                        <a:t>Savia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Mousseux Italien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64329013"/>
      </p:ext>
    </p:extLst>
  </p:cSld>
  <p:clrMapOvr>
    <a:masterClrMapping/>
  </p:clrMapOvr>
</p:sld>
</file>

<file path=ppt/slides/slide2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7869">
                <a:tc>
                  <a:txBody>
                    <a:bodyPr/>
                    <a:lstStyle/>
                    <a:p>
                      <a:pPr algn="l">
                        <a:defRPr sz="900" b="0">
                          <a:latin typeface="Nexa Bold"/>
                        </a:defRPr>
                      </a:pPr>
                      <a:r>
                        <a:rPr sz="900">
                          <a:latin typeface="Nexa Bold"/>
                        </a:rPr>
                        <a:t>Mur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C | Mousseux Alsac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83876227"/>
      </p:ext>
    </p:extLst>
  </p:cSld>
  <p:clrMapOvr>
    <a:masterClrMapping/>
  </p:clrMapOvr>
</p:sld>
</file>

<file path=ppt/slides/slide2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Dom Perign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Roedere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Ruinar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Pommer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D | Millesim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753464401"/>
      </p:ext>
    </p:extLst>
  </p:cSld>
  <p:clrMapOvr>
    <a:masterClrMapping/>
  </p:clrMapOvr>
</p:sld>
</file>

<file path=ppt/slides/slide2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Besserat De Bellefo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De Blig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Henrio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e Venog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Blanc De Blanc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56435913"/>
      </p:ext>
    </p:extLst>
  </p:cSld>
  <p:clrMapOvr>
    <a:masterClrMapping/>
  </p:clrMapOvr>
</p:sld>
</file>

<file path=ppt/slides/slide2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Malar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Vessel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Louis Marti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Nicola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Cru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61498358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PAC | Effervescent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4008871"/>
      </p:ext>
    </p:extLst>
  </p:cSld>
  <p:clrMapOvr>
    <a:masterClrMapping/>
  </p:clrMapOvr>
</p:sld>
</file>

<file path=ppt/slides/slide2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1182623">
                <a:tc>
                  <a:txBody>
                    <a:bodyPr/>
                    <a:lstStyle/>
                    <a:p>
                      <a:pPr algn="l">
                        <a:defRPr sz="900" b="0">
                          <a:latin typeface="Nexa Bold"/>
                        </a:defRPr>
                      </a:pPr>
                      <a:r>
                        <a:rPr sz="900">
                          <a:latin typeface="Nexa Bold"/>
                        </a:rPr>
                        <a:t>Bouvet-Laduba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1182623">
                <a:tc>
                  <a:txBody>
                    <a:bodyPr/>
                    <a:lstStyle/>
                    <a:p>
                      <a:pPr algn="l">
                        <a:defRPr sz="900" b="0">
                          <a:latin typeface="Nexa Bold"/>
                        </a:defRPr>
                      </a:pPr>
                      <a:r>
                        <a:rPr sz="900">
                          <a:latin typeface="Nexa Bold"/>
                        </a:rPr>
                        <a:t>Chateau Moncontou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1182623">
                <a:tc>
                  <a:txBody>
                    <a:bodyPr/>
                    <a:lstStyle/>
                    <a:p>
                      <a:pPr algn="l">
                        <a:defRPr sz="900" b="0">
                          <a:latin typeface="Nexa Bold"/>
                        </a:defRPr>
                      </a:pPr>
                      <a:r>
                        <a:rPr sz="900">
                          <a:latin typeface="Nexa Bold"/>
                        </a:rPr>
                        <a:t>De Chanceny</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1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CA E | Mousseux Val De Loire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0032018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E | Effervescent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460917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VCN | Mousseux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126541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T | Champagn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159704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IDF | Champagn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7524315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PAC | Champagn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7006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5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86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53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14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260280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B | Mousseux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049296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E | Champagn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724950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E | Mousseux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95015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0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2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564264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N | Millesim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498332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N | Mousseux Bourgogn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0744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VCN | Blanc De Blanc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046877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VCN | Cru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407446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VCN | Mousseux Val De Loir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70791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A | Blanc De Blanc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151167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A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525060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QCA | Mousseux Italien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824698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CCP | Brut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612223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CCP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64774289"/>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IDF | Blanc De Blanc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4290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 NICOLAS AQU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Bouvet-Laduba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021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NICOLAS ES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3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Canard Duchê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8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22120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PAC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2180801"/>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RHO | Cru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2997509"/>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RHO | Extra Bru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544803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AQU | Cru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051461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NICOLAS AQU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96986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CA 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8,36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9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0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7963862"/>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A | Extra Bru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497966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A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2599719"/>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B | Extra Bru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1766121"/>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C | Cru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5626460"/>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C | Mousseux Italien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330305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C | Mousseux Val De Loir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30329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D | Brut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776445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D | Mousseux Italien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829869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E | Rosé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8274389"/>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1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CA E | Mousseux Italien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2694347"/>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A | Effervescen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9"/>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4381">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124381">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124381">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124381">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124381">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124381">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124381">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124381">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124381">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124381">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RUINART BRUT SECOND SKIN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124381">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124381">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124381">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OEDERER BRUT COLLECTION 24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124381">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124381">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124381">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124381">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ERRIER JOUET GRAND BRUT SHAP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124381">
                <a:tc>
                  <a:txBody>
                    <a:bodyPr/>
                    <a:lstStyle/>
                    <a:p>
                      <a:pPr algn="ctr">
                        <a:defRPr sz="400">
                          <a:latin typeface="Nexa Book (Body)"/>
                        </a:defRPr>
                      </a:pPr>
                      <a:r>
                        <a:rPr sz="400">
                          <a:latin typeface="Nexa Book (Body)"/>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LALLIER SERIE R.021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124381">
                <a:tc>
                  <a:txBody>
                    <a:bodyPr/>
                    <a:lstStyle/>
                    <a:p>
                      <a:pPr algn="ctr">
                        <a:defRPr sz="400">
                          <a:latin typeface="Nexa Book (Body)"/>
                        </a:defRPr>
                      </a:pPr>
                      <a:r>
                        <a:rPr sz="400">
                          <a:latin typeface="Nexa Book (Body)"/>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LAURENT PERRIER LA CUVEE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124381">
                <a:tc>
                  <a:txBody>
                    <a:bodyPr/>
                    <a:lstStyle/>
                    <a:p>
                      <a:pPr algn="ctr">
                        <a:defRPr sz="400">
                          <a:latin typeface="Nexa Book (Body)"/>
                        </a:defRPr>
                      </a:pPr>
                      <a:r>
                        <a:rPr sz="400">
                          <a:latin typeface="Nexa Book (Body)"/>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124381">
                <a:tc>
                  <a:txBody>
                    <a:bodyPr/>
                    <a:lstStyle/>
                    <a:p>
                      <a:pPr algn="ctr">
                        <a:defRPr sz="400">
                          <a:latin typeface="Nexa Book (Body)"/>
                        </a:defRPr>
                      </a:pPr>
                      <a:r>
                        <a:rPr sz="400">
                          <a:latin typeface="Nexa Book (Body)"/>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124381">
                <a:tc>
                  <a:txBody>
                    <a:bodyPr/>
                    <a:lstStyle/>
                    <a:p>
                      <a:pPr algn="ctr">
                        <a:defRPr sz="400">
                          <a:latin typeface="Nexa Book (Body)"/>
                        </a:defRPr>
                      </a:pPr>
                      <a:r>
                        <a:rPr sz="400">
                          <a:latin typeface="Nexa Book (Body)"/>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ER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124381">
                <a:tc>
                  <a:txBody>
                    <a:bodyPr/>
                    <a:lstStyle/>
                    <a:p>
                      <a:pPr algn="ctr">
                        <a:defRPr sz="400">
                          <a:latin typeface="Nexa Book (Body)"/>
                        </a:defRPr>
                      </a:pPr>
                      <a:r>
                        <a:rPr sz="400">
                          <a:latin typeface="Nexa Book (Body)"/>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124381">
                <a:tc>
                  <a:txBody>
                    <a:bodyPr/>
                    <a:lstStyle/>
                    <a:p>
                      <a:pPr algn="ctr">
                        <a:defRPr sz="400">
                          <a:latin typeface="Nexa Book (Body)"/>
                        </a:defRPr>
                      </a:pPr>
                      <a:r>
                        <a:rPr sz="400">
                          <a:latin typeface="Nexa Book (Body)"/>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 SAINT GALL LE TRADITION 1E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124381">
                <a:tc>
                  <a:txBody>
                    <a:bodyPr/>
                    <a:lstStyle/>
                    <a:p>
                      <a:pPr algn="ctr">
                        <a:defRPr sz="400">
                          <a:latin typeface="Nexa Book (Body)"/>
                        </a:defRPr>
                      </a:pPr>
                      <a:r>
                        <a:rPr sz="400">
                          <a:latin typeface="Nexa Book (Body)"/>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POL ROG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124381">
                <a:tc>
                  <a:txBody>
                    <a:bodyPr/>
                    <a:lstStyle/>
                    <a:p>
                      <a:pPr algn="ctr">
                        <a:defRPr sz="400">
                          <a:latin typeface="Nexa Book (Body)"/>
                        </a:defRPr>
                      </a:pPr>
                      <a:r>
                        <a:rPr sz="400">
                          <a:latin typeface="Nexa Book (Body)"/>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124381">
                <a:tc>
                  <a:txBody>
                    <a:bodyPr/>
                    <a:lstStyle/>
                    <a:p>
                      <a:pPr algn="ctr">
                        <a:defRPr sz="400">
                          <a:latin typeface="Nexa Book (Body)"/>
                        </a:defRPr>
                      </a:pPr>
                      <a:r>
                        <a:rPr sz="400">
                          <a:latin typeface="Nexa Book (Body)"/>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4381">
                <a:tc>
                  <a:txBody>
                    <a:bodyPr/>
                    <a:lstStyle/>
                    <a:p>
                      <a:pPr algn="ctr">
                        <a:defRPr sz="400">
                          <a:latin typeface="Nexa Book (Body)"/>
                        </a:defRPr>
                      </a:pPr>
                      <a:r>
                        <a:rPr sz="400">
                          <a:latin typeface="Nexa Book (Body)"/>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EORGES VESSELLE GRD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4381">
                <a:tc>
                  <a:txBody>
                    <a:bodyPr/>
                    <a:lstStyle/>
                    <a:p>
                      <a:pPr algn="ctr">
                        <a:defRPr sz="400">
                          <a:latin typeface="Nexa Book (Body)"/>
                        </a:defRPr>
                      </a:pPr>
                      <a:r>
                        <a:rPr sz="400">
                          <a:latin typeface="Nexa Book (Body)"/>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56291042"/>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AQU | Effervescen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9"/>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4381">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124381">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124381">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124381">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124381">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124381">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124381">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124381">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124381">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124381">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124381">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124381">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124381">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124381">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LALLIER SERIE R.021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124381">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124381">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RUINART BRUT SECOND SKIN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124381">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OUIS MARTIN BRUT PREMIER CRU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124381">
                <a:tc>
                  <a:txBody>
                    <a:bodyPr/>
                    <a:lstStyle/>
                    <a:p>
                      <a:pPr algn="ctr">
                        <a:defRPr sz="400">
                          <a:latin typeface="Nexa Book (Body)"/>
                        </a:defRPr>
                      </a:pPr>
                      <a:r>
                        <a:rPr sz="400">
                          <a:latin typeface="Nexa Book (Body)"/>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124381">
                <a:tc>
                  <a:txBody>
                    <a:bodyPr/>
                    <a:lstStyle/>
                    <a:p>
                      <a:pPr algn="ctr">
                        <a:defRPr sz="400">
                          <a:latin typeface="Nexa Book (Body)"/>
                        </a:defRPr>
                      </a:pPr>
                      <a:r>
                        <a:rPr sz="400">
                          <a:latin typeface="Nexa Book (Body)"/>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124381">
                <a:tc>
                  <a:txBody>
                    <a:bodyPr/>
                    <a:lstStyle/>
                    <a:p>
                      <a:pPr algn="ctr">
                        <a:defRPr sz="400">
                          <a:latin typeface="Nexa Book (Body)"/>
                        </a:defRPr>
                      </a:pPr>
                      <a:r>
                        <a:rPr sz="400">
                          <a:latin typeface="Nexa Book (Body)"/>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RUT SOUVERA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124381">
                <a:tc>
                  <a:txBody>
                    <a:bodyPr/>
                    <a:lstStyle/>
                    <a:p>
                      <a:pPr algn="ctr">
                        <a:defRPr sz="400">
                          <a:latin typeface="Nexa Book (Body)"/>
                        </a:defRPr>
                      </a:pPr>
                      <a:r>
                        <a:rPr sz="400">
                          <a:latin typeface="Nexa Book (Body)"/>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124381">
                <a:tc>
                  <a:txBody>
                    <a:bodyPr/>
                    <a:lstStyle/>
                    <a:p>
                      <a:pPr algn="ctr">
                        <a:defRPr sz="400">
                          <a:latin typeface="Nexa Book (Body)"/>
                        </a:defRPr>
                      </a:pPr>
                      <a:r>
                        <a:rPr sz="400">
                          <a:latin typeface="Nexa Book (Body)"/>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GOSSET GDE RESERV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124381">
                <a:tc>
                  <a:txBody>
                    <a:bodyPr/>
                    <a:lstStyle/>
                    <a:p>
                      <a:pPr algn="ctr">
                        <a:defRPr sz="400">
                          <a:latin typeface="Nexa Book (Body)"/>
                        </a:defRPr>
                      </a:pPr>
                      <a:r>
                        <a:rPr sz="400">
                          <a:latin typeface="Nexa Book (Body)"/>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EORGES VESSELLE GRD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124381">
                <a:tc>
                  <a:txBody>
                    <a:bodyPr/>
                    <a:lstStyle/>
                    <a:p>
                      <a:pPr algn="ctr">
                        <a:defRPr sz="400">
                          <a:latin typeface="Nexa Book (Body)"/>
                        </a:defRPr>
                      </a:pPr>
                      <a:r>
                        <a:rPr sz="400">
                          <a:latin typeface="Nexa Book (Body)"/>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124381">
                <a:tc>
                  <a:txBody>
                    <a:bodyPr/>
                    <a:lstStyle/>
                    <a:p>
                      <a:pPr algn="ctr">
                        <a:defRPr sz="400">
                          <a:latin typeface="Nexa Book (Body)"/>
                        </a:defRPr>
                      </a:pPr>
                      <a:r>
                        <a:rPr sz="400">
                          <a:latin typeface="Nexa Book (Body)"/>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OEDERER BRUT COLLECTION 24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124381">
                <a:tc>
                  <a:txBody>
                    <a:bodyPr/>
                    <a:lstStyle/>
                    <a:p>
                      <a:pPr algn="ctr">
                        <a:defRPr sz="400">
                          <a:latin typeface="Nexa Book (Body)"/>
                        </a:defRPr>
                      </a:pPr>
                      <a:r>
                        <a:rPr sz="400">
                          <a:latin typeface="Nexa Book (Body)"/>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LAURENT PERRIER LA CUVEE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124381">
                <a:tc>
                  <a:txBody>
                    <a:bodyPr/>
                    <a:lstStyle/>
                    <a:p>
                      <a:pPr algn="ctr">
                        <a:defRPr sz="400">
                          <a:latin typeface="Nexa Book (Body)"/>
                        </a:defRPr>
                      </a:pPr>
                      <a:r>
                        <a:rPr sz="400">
                          <a:latin typeface="Nexa Book (Body)"/>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ROSE PRES SPEC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4381">
                <a:tc>
                  <a:txBody>
                    <a:bodyPr/>
                    <a:lstStyle/>
                    <a:p>
                      <a:pPr algn="ctr">
                        <a:defRPr sz="400">
                          <a:latin typeface="Nexa Book (Body)"/>
                        </a:defRPr>
                      </a:pPr>
                      <a:r>
                        <a:rPr sz="400">
                          <a:latin typeface="Nexa Book (Body)"/>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4381">
                <a:tc>
                  <a:txBody>
                    <a:bodyPr/>
                    <a:lstStyle/>
                    <a:p>
                      <a:pPr algn="ctr">
                        <a:defRPr sz="400">
                          <a:latin typeface="Nexa Book (Body)"/>
                        </a:defRPr>
                      </a:pPr>
                      <a:r>
                        <a:rPr sz="400">
                          <a:latin typeface="Nexa Book (Body)"/>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ER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49388276"/>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EST | Effervescen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36"/>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16356">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116356">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116356">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116356">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116356">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116356">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116356">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116356">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116356">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116356">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116356">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116356">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116356">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LALLIER SERIE R.021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116356">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116356">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EORGES VESSELLE GRD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116356">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POL ROG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116356">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ERRIER JOUET GRAND BRUT SHAP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116356">
                <a:tc>
                  <a:txBody>
                    <a:bodyPr/>
                    <a:lstStyle/>
                    <a:p>
                      <a:pPr algn="ctr">
                        <a:defRPr sz="400">
                          <a:latin typeface="Nexa Book (Body)"/>
                        </a:defRPr>
                      </a:pPr>
                      <a:r>
                        <a:rPr sz="400">
                          <a:latin typeface="Nexa Book (Body)"/>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116356">
                <a:tc>
                  <a:txBody>
                    <a:bodyPr/>
                    <a:lstStyle/>
                    <a:p>
                      <a:pPr algn="ctr">
                        <a:defRPr sz="400">
                          <a:latin typeface="Nexa Book (Body)"/>
                        </a:defRPr>
                      </a:pPr>
                      <a:r>
                        <a:rPr sz="400">
                          <a:latin typeface="Nexa Book (Body)"/>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ER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116356">
                <a:tc>
                  <a:txBody>
                    <a:bodyPr/>
                    <a:lstStyle/>
                    <a:p>
                      <a:pPr algn="ctr">
                        <a:defRPr sz="400">
                          <a:latin typeface="Nexa Book (Body)"/>
                        </a:defRPr>
                      </a:pPr>
                      <a:r>
                        <a:rPr sz="400">
                          <a:latin typeface="Nexa Book (Body)"/>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GOSSET GDE RESERV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116356">
                <a:tc>
                  <a:txBody>
                    <a:bodyPr/>
                    <a:lstStyle/>
                    <a:p>
                      <a:pPr algn="ctr">
                        <a:defRPr sz="400">
                          <a:latin typeface="Nexa Book (Body)"/>
                        </a:defRPr>
                      </a:pPr>
                      <a:r>
                        <a:rPr sz="400">
                          <a:latin typeface="Nexa Book (Body)"/>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LAURENT PERRIER LA CUVEE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116356">
                <a:tc>
                  <a:txBody>
                    <a:bodyPr/>
                    <a:lstStyle/>
                    <a:p>
                      <a:pPr algn="ctr">
                        <a:defRPr sz="400">
                          <a:latin typeface="Nexa Book (Body)"/>
                        </a:defRPr>
                      </a:pPr>
                      <a:r>
                        <a:rPr sz="400">
                          <a:latin typeface="Nexa Book (Body)"/>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RUT SOUVERA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116356">
                <a:tc>
                  <a:txBody>
                    <a:bodyPr/>
                    <a:lstStyle/>
                    <a:p>
                      <a:pPr algn="ctr">
                        <a:defRPr sz="400">
                          <a:latin typeface="Nexa Book (Body)"/>
                        </a:defRPr>
                      </a:pPr>
                      <a:r>
                        <a:rPr sz="400">
                          <a:latin typeface="Nexa Book (Body)"/>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ROSE PRES SPEC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116356">
                <a:tc>
                  <a:txBody>
                    <a:bodyPr/>
                    <a:lstStyle/>
                    <a:p>
                      <a:pPr algn="ctr">
                        <a:defRPr sz="400">
                          <a:latin typeface="Nexa Book (Body)"/>
                        </a:defRPr>
                      </a:pPr>
                      <a:r>
                        <a:rPr sz="400">
                          <a:latin typeface="Nexa Book (Body)"/>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116356">
                <a:tc>
                  <a:txBody>
                    <a:bodyPr/>
                    <a:lstStyle/>
                    <a:p>
                      <a:pPr algn="ctr">
                        <a:defRPr sz="400">
                          <a:latin typeface="Nexa Book (Body)"/>
                        </a:defRPr>
                      </a:pPr>
                      <a:r>
                        <a:rPr sz="400">
                          <a:latin typeface="Nexa Book (Body)"/>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116356">
                <a:tc>
                  <a:txBody>
                    <a:bodyPr/>
                    <a:lstStyle/>
                    <a:p>
                      <a:pPr algn="ctr">
                        <a:defRPr sz="400">
                          <a:latin typeface="Nexa Book (Body)"/>
                        </a:defRPr>
                      </a:pPr>
                      <a:r>
                        <a:rPr sz="400">
                          <a:latin typeface="Nexa Book (Body)"/>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TAITTINGER PRESTIGE BRUT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116356">
                <a:tc>
                  <a:txBody>
                    <a:bodyPr/>
                    <a:lstStyle/>
                    <a:p>
                      <a:pPr algn="ctr">
                        <a:defRPr sz="400">
                          <a:latin typeface="Nexa Book (Body)"/>
                        </a:defRPr>
                      </a:pPr>
                      <a:r>
                        <a:rPr sz="400">
                          <a:latin typeface="Nexa Book (Body)"/>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NOIR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116356">
                <a:tc>
                  <a:txBody>
                    <a:bodyPr/>
                    <a:lstStyle/>
                    <a:p>
                      <a:pPr algn="ctr">
                        <a:defRPr sz="400">
                          <a:latin typeface="Nexa Book (Body)"/>
                        </a:defRPr>
                      </a:pPr>
                      <a:r>
                        <a:rPr sz="400">
                          <a:latin typeface="Nexa Book (Body)"/>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116356">
                <a:tc>
                  <a:txBody>
                    <a:bodyPr/>
                    <a:lstStyle/>
                    <a:p>
                      <a:pPr algn="ctr">
                        <a:defRPr sz="400">
                          <a:latin typeface="Nexa Book (Body)"/>
                        </a:defRPr>
                      </a:pPr>
                      <a:r>
                        <a:rPr sz="400">
                          <a:latin typeface="Nexa Book (Body)"/>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16356">
                <a:tc>
                  <a:txBody>
                    <a:bodyPr/>
                    <a:lstStyle/>
                    <a:p>
                      <a:pPr algn="ctr">
                        <a:defRPr sz="400">
                          <a:latin typeface="Nexa Book (Body)"/>
                        </a:defRPr>
                      </a:pPr>
                      <a:r>
                        <a:rPr sz="400">
                          <a:latin typeface="Nexa Book (Body)"/>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D'ALSACE PRESTIGE BIO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16356">
                <a:tc>
                  <a:txBody>
                    <a:bodyPr/>
                    <a:lstStyle/>
                    <a:p>
                      <a:pPr algn="ctr">
                        <a:defRPr sz="400">
                          <a:latin typeface="Nexa Book (Body)"/>
                        </a:defRPr>
                      </a:pPr>
                      <a:r>
                        <a:rPr sz="400">
                          <a:latin typeface="Nexa Book (Body)"/>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3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523447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Champagnes | CA D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9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5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8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7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210198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A | Mousseux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SAVIAN EXTRA DRY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VINO DEI POETI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1277066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CCP | Mousseux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 ROS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VINO DEI POETI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0189621"/>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PAC | Mousseux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VINO DEI POETI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SAVIAN EXTRA DRY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15847661"/>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RHO | Mousseux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 ROS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SAVIAN EXTRA DRY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VINO DEI POETI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59824622"/>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A | Mousseux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60117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60117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601175">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601175">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 ROS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601175">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SAVIAN EXTRA DRY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601175">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VINO DEI POETI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285782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 Blanc De Blanc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023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0235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LANC DE BLANCS ETUI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0235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 VENOGE PRINCES BLC DE BL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99803741"/>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 Rosé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ROSE PRES SPEC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387088"/>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 Mousseux Bourgogn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08874022"/>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 Mousseux Val De Loir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LOIRE NATURE 2015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1543974"/>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N | Mousseux Bourgogn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870169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N | Mousseux Val De Loir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LOIRE NATURE 2015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57645244"/>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VCN | Rosé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ROSE PRES SPEC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9276828"/>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T | Extra Bru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176442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xtra Brut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Nicolas Feuilla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9,1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Moët &amp; Chand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36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469538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QCA | Cru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1585448"/>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CCP | Blanc De Blanc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023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0235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 VENOGE PRINCES BLC DE BL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0235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LANC DE BLANCS ETUI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74805634"/>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CCP | Cru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5007865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CCP | Mousseux Val De Loir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015944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19,58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62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29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8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2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782853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IDF | Mousseux Bourgogn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5929279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PAC | Rosé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ROSE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ROSE PRES SPEC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ROS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ROS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83741143"/>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RHO | Bru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3"/>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12179">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212179">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12179">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12179">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12179">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12179">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12179">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12179">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12179">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12179">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12179">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12179">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12179">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RUINART BRUT SECOND SKIN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12179">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GOSSET GDE RESERV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12179">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TAITTINGER PRESTIGE BRUT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12179">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LAURENT PERRIER LA CUVEE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12179">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ERRIER JOUET GRAND BRUT SHAP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72003154"/>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RHO | Cru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PREMIER CR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78174516"/>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RHO | Millesim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3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BRUT MILLESIME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6649818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AQU | Bru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2544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2544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2544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2544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2544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25440">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25440">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25440">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25440">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25440">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25440">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LALLIER SERIE R.021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25440">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25440">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RUINART BRUT SECOND SKIN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25440">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25440">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RUT SOUVERA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25440">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8668621"/>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AQU | Mousseux Val De Loir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95007916"/>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EST | Bru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36"/>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9844">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189844">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189844">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189844">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189844">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189844">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189844">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189844">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189844">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189844">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189844">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LALLIER SERIE R.021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189844">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189844">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POL ROG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189844">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ERRIER JOUET GRAND BRUT SHAP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189844">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189844">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ER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189844">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GOSSET GDE RESERV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89844">
                <a:tc>
                  <a:txBody>
                    <a:bodyPr/>
                    <a:lstStyle/>
                    <a:p>
                      <a:pPr algn="ctr">
                        <a:defRPr sz="400">
                          <a:latin typeface="Nexa Book (Body)"/>
                        </a:defRPr>
                      </a:pPr>
                      <a:r>
                        <a:rPr sz="400">
                          <a:latin typeface="Nexa Book (Body)"/>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9844">
                <a:tc>
                  <a:txBody>
                    <a:bodyPr/>
                    <a:lstStyle/>
                    <a:p>
                      <a:pPr algn="ctr">
                        <a:defRPr sz="400">
                          <a:latin typeface="Nexa Book (Body)"/>
                        </a:defRPr>
                      </a:pPr>
                      <a:r>
                        <a:rPr sz="400">
                          <a:latin typeface="Nexa Book (Body)"/>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TAITTINGER PRESTIGE BRUT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516551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Alsace | NICOLA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Mur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5951432"/>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NICOLAS EST | Mousseux Italien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ROSECCO CARLO V CUVEE DEL ITA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7152688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A | Extra Bru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4374312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A | Millesim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BRUT MILLESIME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3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OEDERER BRUT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0730168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B | Millesim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023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BRUT MILLESIME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0235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3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0235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OEDERER BRUT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79868589"/>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B | Mousseux Bourgogn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BOURG PATRIARCHE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000021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lanc De Blancs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6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nrio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3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e Blign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1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e Venog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8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Besserat De Bellef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0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3155606"/>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C | Millesim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023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BRUT MILLESIME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0235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OM PERIGNON 2013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0235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2015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16206391"/>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D | Brut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3"/>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12179">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IDSIECK MONOPOLE SILVER TOP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212179">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UTZ CLASSIC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12179">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NU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12179">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ANARD DUCHENE CUVEE LEONI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12179">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LAURENT PERRIER LA CUVE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12179">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MOISELLE TETE CUVEE BRUT P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12179">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12179">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TAITTINGER PRESTIGE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12179">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ESSERAT BELLEF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12179">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AYALA BRUT MAJEUR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12179">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OLLINGER SPECIAL CUVE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12179">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RUINART BRUT SECOND SKIN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12179">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OMMERY SILVER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12179">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PERRIER JOUET GRAND BRUT SHAP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12179">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G RUINART BRUT SECOND SKIN 1CT X 150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12179">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DE VENOGE CORDON BLEU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12179">
                <a:tc>
                  <a:txBody>
                    <a:bodyPr/>
                    <a:lstStyle/>
                    <a:p>
                      <a:pPr algn="ctr">
                        <a:defRPr sz="400">
                          <a:latin typeface="Nexa Book (Body)"/>
                        </a:defRPr>
                      </a:pPr>
                      <a:r>
                        <a:rPr sz="400">
                          <a:latin typeface="Nexa Book (Body)"/>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OET &amp; CHANDON RES IMPERIALE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28501706"/>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D | Extra Bru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NICOLAS FEUILLATTE RES EX BRUT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59146733"/>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E | Blanc De Blanc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2023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MALARD GRAND CRU BLC DE BLANCS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120235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HAMPAGNE CH DE BLIGNY BLC/BL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20235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ENRIOT BLANC DE BLANCS ETUI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534431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1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Order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CA E | Mousseux Val De Loire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AUMUR BOUVET L CUV SAPHI M 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CREMANT LOIRE NATURE 2015AC 1CT X 750M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747792"/>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NICOLAS CCP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Ruinar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RUINART BRUT (NUE) 1CT X 750ML</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5.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87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167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64.71</a:t>
                      </a:r>
                    </a:p>
                  </a:txBody>
                  <a:tcPr marL="2858" marR="2858" marT="2858" marB="0" anchor="ctr">
                    <a:noFill/>
                  </a:tcPr>
                </a:tc>
                <a:tc>
                  <a:txBody>
                    <a:bodyPr/>
                    <a:lstStyle/>
                    <a:p>
                      <a:pPr algn="ctr">
                        <a:defRPr sz="600">
                          <a:latin typeface="Nexa Book"/>
                        </a:defRPr>
                      </a:pPr>
                      <a:r>
                        <a:rPr sz="600">
                          <a:latin typeface="Nexa Book"/>
                        </a:rPr>
                        <a:t> 58.70</a:t>
                      </a:r>
                    </a:p>
                  </a:txBody>
                  <a:tcPr marL="2858" marR="2858" marT="2858" marB="0" anchor="ctr">
                    <a:noFill/>
                  </a:tcPr>
                </a:tc>
                <a:tc>
                  <a:txBody>
                    <a:bodyPr/>
                    <a:lstStyle/>
                    <a:p>
                      <a:pPr algn="ctr">
                        <a:defRPr sz="600">
                          <a:latin typeface="Nexa Book"/>
                        </a:defRPr>
                      </a:pPr>
                      <a:r>
                        <a:rPr sz="600">
                          <a:latin typeface="Nexa Book"/>
                        </a:rPr>
                        <a:t>86'752</a:t>
                      </a:r>
                    </a:p>
                  </a:txBody>
                  <a:tcPr marL="2858" marR="2858" marT="2858" marB="0" anchor="ctr">
                    <a:noFill/>
                  </a:tcPr>
                </a:tc>
                <a:tc>
                  <a:txBody>
                    <a:bodyPr/>
                    <a:lstStyle/>
                    <a:p>
                      <a:pPr algn="ctr">
                        <a:defRPr sz="600">
                          <a:latin typeface="Nexa Book"/>
                        </a:defRPr>
                      </a:pPr>
                      <a:r>
                        <a:rPr sz="600">
                          <a:latin typeface="Nexa Book"/>
                        </a:rPr>
                        <a:t>191%</a:t>
                      </a:r>
                    </a:p>
                  </a:txBody>
                  <a:tcPr marL="2858" marR="2858" marT="2858" marB="0" anchor="ctr">
                    <a:noFill/>
                  </a:tcPr>
                </a:tc>
                <a:tc>
                  <a:txBody>
                    <a:bodyPr/>
                    <a:lstStyle/>
                    <a:p>
                      <a:pPr algn="ctr">
                        <a:defRPr sz="600">
                          <a:latin typeface="Nexa Book"/>
                        </a:defRPr>
                      </a:pPr>
                      <a:r>
                        <a:rPr sz="600">
                          <a:latin typeface="Nexa Book"/>
                        </a:rPr>
                        <a:t>217%</a:t>
                      </a:r>
                    </a:p>
                  </a:txBody>
                  <a:tcPr marL="2858" marR="2858" marT="2858" marB="0" anchor="ctr">
                    <a:noFill/>
                  </a:tcPr>
                </a:tc>
                <a:tc>
                  <a:txBody>
                    <a:bodyPr/>
                    <a:lstStyle/>
                    <a:p>
                      <a:pPr algn="ctr">
                        <a:defRPr sz="600">
                          <a:latin typeface="Nexa Book"/>
                        </a:defRPr>
                      </a:pPr>
                      <a:r>
                        <a:rPr sz="600">
                          <a:latin typeface="Nexa Book"/>
                        </a:rPr>
                        <a:t>61996</a:t>
                      </a:r>
                    </a:p>
                  </a:txBody>
                  <a:tcPr marL="2858" marR="2858" marT="2858" marB="0" anchor="ctr">
                    <a:noFill/>
                  </a:tcPr>
                </a:tc>
                <a:tc>
                  <a:txBody>
                    <a:bodyPr/>
                    <a:lstStyle/>
                    <a:p>
                      <a:pPr algn="ctr">
                        <a:defRPr sz="600">
                          <a:latin typeface="Nexa Book"/>
                        </a:defRPr>
                      </a:pPr>
                      <a:r>
                        <a:rPr sz="600">
                          <a:latin typeface="Nexa Book"/>
                        </a:rPr>
                        <a:t>65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Heidsieck &amp; Co Monopole</a:t>
                      </a:r>
                    </a:p>
                  </a:txBody>
                  <a:tcPr marL="2858" marR="2858" marT="2858" marB="0" anchor="ctr">
                    <a:noFill/>
                  </a:tcPr>
                </a:tc>
                <a:tc>
                  <a:txBody>
                    <a:bodyPr/>
                    <a:lstStyle/>
                    <a:p>
                      <a:pPr algn="l">
                        <a:defRPr sz="600">
                          <a:latin typeface="Nexa Book"/>
                        </a:defRPr>
                      </a:pPr>
                      <a:r>
                        <a:rPr sz="600">
                          <a:latin typeface="Nexa Book"/>
                        </a:rPr>
                        <a:t>HEIDSIECK MONOPOLE SILVER TOP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 38.49</a:t>
                      </a:r>
                    </a:p>
                  </a:txBody>
                  <a:tcPr marL="2858" marR="2858" marT="2858" marB="0" anchor="ctr">
                    <a:noFill/>
                  </a:tcPr>
                </a:tc>
                <a:tc>
                  <a:txBody>
                    <a:bodyPr/>
                    <a:lstStyle/>
                    <a:p>
                      <a:pPr algn="ctr">
                        <a:defRPr sz="600">
                          <a:latin typeface="Nexa Book"/>
                        </a:defRPr>
                      </a:pPr>
                      <a:r>
                        <a:rPr sz="600">
                          <a:latin typeface="Nexa Book"/>
                        </a:rPr>
                        <a:t> 28.81</a:t>
                      </a:r>
                    </a:p>
                  </a:txBody>
                  <a:tcPr marL="2858" marR="2858" marT="2858" marB="0" anchor="ctr">
                    <a:noFill/>
                  </a:tcPr>
                </a:tc>
                <a:tc>
                  <a:txBody>
                    <a:bodyPr/>
                    <a:lstStyle/>
                    <a:p>
                      <a:pPr algn="ctr">
                        <a:defRPr sz="600">
                          <a:latin typeface="Nexa Book"/>
                        </a:defRPr>
                      </a:pPr>
                      <a:r>
                        <a:rPr sz="600">
                          <a:latin typeface="Nexa Book"/>
                        </a:rPr>
                        <a:t>74'929</a:t>
                      </a:r>
                    </a:p>
                  </a:txBody>
                  <a:tcPr marL="2858" marR="2858" marT="2858" marB="0" anchor="ctr">
                    <a:noFill/>
                  </a:tcPr>
                </a:tc>
                <a:tc>
                  <a:txBody>
                    <a:bodyPr/>
                    <a:lstStyle/>
                    <a:p>
                      <a:pPr algn="ctr">
                        <a:defRPr sz="600">
                          <a:latin typeface="Nexa Book"/>
                        </a:defRPr>
                      </a:pPr>
                      <a:r>
                        <a:rPr sz="600">
                          <a:latin typeface="Nexa Book"/>
                        </a:rPr>
                        <a:t>390%</a:t>
                      </a:r>
                    </a:p>
                  </a:txBody>
                  <a:tcPr marL="2858" marR="2858" marT="2858" marB="0" anchor="ctr">
                    <a:noFill/>
                  </a:tcPr>
                </a:tc>
                <a:tc>
                  <a:txBody>
                    <a:bodyPr/>
                    <a:lstStyle/>
                    <a:p>
                      <a:pPr algn="ctr">
                        <a:defRPr sz="600">
                          <a:latin typeface="Nexa Book"/>
                        </a:defRPr>
                      </a:pPr>
                      <a:r>
                        <a:rPr sz="600">
                          <a:latin typeface="Nexa Book"/>
                        </a:rPr>
                        <a:t>550%</a:t>
                      </a:r>
                    </a:p>
                  </a:txBody>
                  <a:tcPr marL="2858" marR="2858" marT="2858" marB="0" anchor="ctr">
                    <a:noFill/>
                  </a:tcPr>
                </a:tc>
                <a:tc>
                  <a:txBody>
                    <a:bodyPr/>
                    <a:lstStyle/>
                    <a:p>
                      <a:pPr algn="ctr">
                        <a:defRPr sz="600">
                          <a:latin typeface="Nexa Book"/>
                        </a:defRPr>
                      </a:pPr>
                      <a:r>
                        <a:rPr sz="600">
                          <a:latin typeface="Nexa Book"/>
                        </a:rPr>
                        <a:t>61252</a:t>
                      </a:r>
                    </a:p>
                  </a:txBody>
                  <a:tcPr marL="2858" marR="2858" marT="2858" marB="0" anchor="ctr">
                    <a:noFill/>
                  </a:tcPr>
                </a:tc>
                <a:tc>
                  <a:txBody>
                    <a:bodyPr/>
                    <a:lstStyle/>
                    <a:p>
                      <a:pPr algn="ctr">
                        <a:defRPr sz="600">
                          <a:latin typeface="Nexa Book"/>
                        </a:defRPr>
                      </a:pPr>
                      <a:r>
                        <a:rPr sz="600">
                          <a:latin typeface="Nexa Book"/>
                        </a:rPr>
                        <a:t>238%</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35.71</a:t>
                      </a:r>
                    </a:p>
                  </a:txBody>
                  <a:tcPr marL="2858" marR="2858" marT="2858" marB="0" anchor="ctr">
                    <a:noFill/>
                  </a:tcPr>
                </a:tc>
                <a:tc>
                  <a:txBody>
                    <a:bodyPr/>
                    <a:lstStyle/>
                    <a:p>
                      <a:pPr algn="ctr">
                        <a:defRPr sz="600">
                          <a:latin typeface="Nexa Book"/>
                        </a:defRPr>
                      </a:pPr>
                      <a:r>
                        <a:rPr sz="600">
                          <a:latin typeface="Nexa Book"/>
                        </a:rPr>
                        <a:t> 29.09</a:t>
                      </a:r>
                    </a:p>
                  </a:txBody>
                  <a:tcPr marL="2858" marR="2858" marT="2858" marB="0" anchor="ctr">
                    <a:noFill/>
                  </a:tcPr>
                </a:tc>
                <a:tc>
                  <a:txBody>
                    <a:bodyPr/>
                    <a:lstStyle/>
                    <a:p>
                      <a:pPr algn="ctr">
                        <a:defRPr sz="600">
                          <a:latin typeface="Nexa Book"/>
                        </a:defRPr>
                      </a:pPr>
                      <a:r>
                        <a:rPr sz="600">
                          <a:latin typeface="Nexa Book"/>
                        </a:rPr>
                        <a:t>56'406</a:t>
                      </a:r>
                    </a:p>
                  </a:txBody>
                  <a:tcPr marL="2858" marR="2858" marT="2858" marB="0" anchor="ctr">
                    <a:noFill/>
                  </a:tcPr>
                </a:tc>
                <a:tc>
                  <a:txBody>
                    <a:bodyPr/>
                    <a:lstStyle/>
                    <a:p>
                      <a:pPr algn="ctr">
                        <a:defRPr sz="600">
                          <a:latin typeface="Nexa Book"/>
                        </a:defRPr>
                      </a:pPr>
                      <a:r>
                        <a:rPr sz="600">
                          <a:latin typeface="Nexa Book"/>
                        </a:rPr>
                        <a:t>368%</a:t>
                      </a:r>
                    </a:p>
                  </a:txBody>
                  <a:tcPr marL="2858" marR="2858" marT="2858" marB="0" anchor="ctr">
                    <a:noFill/>
                  </a:tcPr>
                </a:tc>
                <a:tc>
                  <a:txBody>
                    <a:bodyPr/>
                    <a:lstStyle/>
                    <a:p>
                      <a:pPr algn="ctr">
                        <a:defRPr sz="600">
                          <a:latin typeface="Nexa Book"/>
                        </a:defRPr>
                      </a:pPr>
                      <a:r>
                        <a:rPr sz="600">
                          <a:latin typeface="Nexa Book"/>
                        </a:rPr>
                        <a:t>453%</a:t>
                      </a:r>
                    </a:p>
                  </a:txBody>
                  <a:tcPr marL="2858" marR="2858" marT="2858" marB="0" anchor="ctr">
                    <a:noFill/>
                  </a:tcPr>
                </a:tc>
                <a:tc>
                  <a:txBody>
                    <a:bodyPr/>
                    <a:lstStyle/>
                    <a:p>
                      <a:pPr algn="ctr">
                        <a:defRPr sz="600">
                          <a:latin typeface="Nexa Book"/>
                        </a:defRPr>
                      </a:pPr>
                      <a:r>
                        <a:rPr sz="600">
                          <a:latin typeface="Nexa Book"/>
                        </a:rPr>
                        <a:t>47062</a:t>
                      </a:r>
                    </a:p>
                  </a:txBody>
                  <a:tcPr marL="2858" marR="2858" marT="2858" marB="0" anchor="ctr">
                    <a:noFill/>
                  </a:tcPr>
                </a:tc>
                <a:tc>
                  <a:txBody>
                    <a:bodyPr/>
                    <a:lstStyle/>
                    <a:p>
                      <a:pPr algn="ctr">
                        <a:defRPr sz="600">
                          <a:latin typeface="Nexa Book"/>
                        </a:defRPr>
                      </a:pPr>
                      <a:r>
                        <a:rPr sz="600">
                          <a:latin typeface="Nexa Book"/>
                        </a:rPr>
                        <a:t>41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36.18</a:t>
                      </a:r>
                    </a:p>
                  </a:txBody>
                  <a:tcPr marL="2858" marR="2858" marT="2858" marB="0" anchor="ctr">
                    <a:noFill/>
                  </a:tcPr>
                </a:tc>
                <a:tc>
                  <a:txBody>
                    <a:bodyPr/>
                    <a:lstStyle/>
                    <a:p>
                      <a:pPr algn="ctr">
                        <a:defRPr sz="600">
                          <a:latin typeface="Nexa Book"/>
                        </a:defRPr>
                      </a:pPr>
                      <a:r>
                        <a:rPr sz="600">
                          <a:latin typeface="Nexa Book"/>
                        </a:rPr>
                        <a:t> 28.59</a:t>
                      </a:r>
                    </a:p>
                  </a:txBody>
                  <a:tcPr marL="2858" marR="2858" marT="2858" marB="0" anchor="ctr">
                    <a:noFill/>
                  </a:tcPr>
                </a:tc>
                <a:tc>
                  <a:txBody>
                    <a:bodyPr/>
                    <a:lstStyle/>
                    <a:p>
                      <a:pPr algn="ctr">
                        <a:defRPr sz="600">
                          <a:latin typeface="Nexa Book"/>
                        </a:defRPr>
                      </a:pPr>
                      <a:r>
                        <a:rPr sz="600">
                          <a:latin typeface="Nexa Book"/>
                        </a:rPr>
                        <a:t>46'149</a:t>
                      </a:r>
                    </a:p>
                  </a:txBody>
                  <a:tcPr marL="2858" marR="2858" marT="2858" marB="0" anchor="ctr">
                    <a:noFill/>
                  </a:tcPr>
                </a:tc>
                <a:tc>
                  <a:txBody>
                    <a:bodyPr/>
                    <a:lstStyle/>
                    <a:p>
                      <a:pPr algn="ctr">
                        <a:defRPr sz="600">
                          <a:latin typeface="Nexa Book"/>
                        </a:defRPr>
                      </a:pPr>
                      <a:r>
                        <a:rPr sz="600">
                          <a:latin typeface="Nexa Book"/>
                        </a:rPr>
                        <a:t>547%</a:t>
                      </a:r>
                    </a:p>
                  </a:txBody>
                  <a:tcPr marL="2858" marR="2858" marT="2858" marB="0" anchor="ctr">
                    <a:noFill/>
                  </a:tcPr>
                </a:tc>
                <a:tc>
                  <a:txBody>
                    <a:bodyPr/>
                    <a:lstStyle/>
                    <a:p>
                      <a:pPr algn="ctr">
                        <a:defRPr sz="600">
                          <a:latin typeface="Nexa Book"/>
                        </a:defRPr>
                      </a:pPr>
                      <a:r>
                        <a:rPr sz="600">
                          <a:latin typeface="Nexa Book"/>
                        </a:rPr>
                        <a:t>678%</a:t>
                      </a:r>
                    </a:p>
                  </a:txBody>
                  <a:tcPr marL="2858" marR="2858" marT="2858" marB="0" anchor="ctr">
                    <a:noFill/>
                  </a:tcPr>
                </a:tc>
                <a:tc>
                  <a:txBody>
                    <a:bodyPr/>
                    <a:lstStyle/>
                    <a:p>
                      <a:pPr algn="ctr">
                        <a:defRPr sz="600">
                          <a:latin typeface="Nexa Book"/>
                        </a:defRPr>
                      </a:pPr>
                      <a:r>
                        <a:rPr sz="600">
                          <a:latin typeface="Nexa Book"/>
                        </a:rPr>
                        <a:t>44901</a:t>
                      </a:r>
                    </a:p>
                  </a:txBody>
                  <a:tcPr marL="2858" marR="2858" marT="2858" marB="0" anchor="ctr">
                    <a:noFill/>
                  </a:tcPr>
                </a:tc>
                <a:tc>
                  <a:txBody>
                    <a:bodyPr/>
                    <a:lstStyle/>
                    <a:p>
                      <a:pPr algn="ctr">
                        <a:defRPr sz="600">
                          <a:latin typeface="Nexa Book"/>
                        </a:defRPr>
                      </a:pPr>
                      <a:r>
                        <a:rPr sz="600">
                          <a:latin typeface="Nexa Book"/>
                        </a:rPr>
                        <a:t>356%</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 50.00</a:t>
                      </a:r>
                    </a:p>
                  </a:txBody>
                  <a:tcPr marL="2858" marR="2858" marT="2858" marB="0" anchor="ctr">
                    <a:noFill/>
                  </a:tcPr>
                </a:tc>
                <a:tc>
                  <a:txBody>
                    <a:bodyPr/>
                    <a:lstStyle/>
                    <a:p>
                      <a:pPr algn="ctr">
                        <a:defRPr sz="600">
                          <a:latin typeface="Nexa Book"/>
                        </a:defRPr>
                      </a:pPr>
                      <a:r>
                        <a:rPr sz="600">
                          <a:latin typeface="Nexa Book"/>
                        </a:rPr>
                        <a:t> 44.91</a:t>
                      </a:r>
                    </a:p>
                  </a:txBody>
                  <a:tcPr marL="2858" marR="2858" marT="2858" marB="0" anchor="ctr">
                    <a:noFill/>
                  </a:tcPr>
                </a:tc>
                <a:tc>
                  <a:txBody>
                    <a:bodyPr/>
                    <a:lstStyle/>
                    <a:p>
                      <a:pPr algn="ctr">
                        <a:defRPr sz="600">
                          <a:latin typeface="Nexa Book"/>
                        </a:defRPr>
                      </a:pPr>
                      <a:r>
                        <a:rPr sz="600">
                          <a:latin typeface="Nexa Book"/>
                        </a:rPr>
                        <a:t>31'750</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36164</a:t>
                      </a:r>
                    </a:p>
                  </a:txBody>
                  <a:tcPr marL="2858" marR="2858" marT="2858" marB="0" anchor="ctr">
                    <a:noFill/>
                  </a:tcPr>
                </a:tc>
                <a:tc>
                  <a:txBody>
                    <a:bodyPr/>
                    <a:lstStyle/>
                    <a:p>
                      <a:pPr algn="ctr">
                        <a:defRPr sz="600">
                          <a:latin typeface="Nexa Book"/>
                        </a:defRPr>
                      </a:pPr>
                      <a:r>
                        <a:rPr sz="600">
                          <a:latin typeface="Nexa Book"/>
                        </a:rPr>
                        <a:t>1002%</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33.58</a:t>
                      </a:r>
                    </a:p>
                  </a:txBody>
                  <a:tcPr marL="2858" marR="2858" marT="2858" marB="0" anchor="ctr">
                    <a:noFill/>
                  </a:tcPr>
                </a:tc>
                <a:tc>
                  <a:txBody>
                    <a:bodyPr/>
                    <a:lstStyle/>
                    <a:p>
                      <a:pPr algn="ctr">
                        <a:defRPr sz="600">
                          <a:latin typeface="Nexa Book"/>
                        </a:defRPr>
                      </a:pPr>
                      <a:r>
                        <a:rPr sz="600">
                          <a:latin typeface="Nexa Book"/>
                        </a:rPr>
                        <a:t> 29.39</a:t>
                      </a:r>
                    </a:p>
                  </a:txBody>
                  <a:tcPr marL="2858" marR="2858" marT="2858" marB="0" anchor="ctr">
                    <a:noFill/>
                  </a:tcPr>
                </a:tc>
                <a:tc>
                  <a:txBody>
                    <a:bodyPr/>
                    <a:lstStyle/>
                    <a:p>
                      <a:pPr algn="ctr">
                        <a:defRPr sz="600">
                          <a:latin typeface="Nexa Book"/>
                        </a:defRPr>
                      </a:pPr>
                      <a:r>
                        <a:rPr sz="600">
                          <a:latin typeface="Nexa Book"/>
                        </a:rPr>
                        <a:t>51'07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10%</a:t>
                      </a:r>
                    </a:p>
                  </a:txBody>
                  <a:tcPr marL="2858" marR="2858" marT="2858" marB="0" anchor="ctr">
                    <a:noFill/>
                  </a:tcPr>
                </a:tc>
                <a:tc>
                  <a:txBody>
                    <a:bodyPr/>
                    <a:lstStyle/>
                    <a:p>
                      <a:pPr algn="ctr">
                        <a:defRPr sz="600">
                          <a:latin typeface="Nexa Book"/>
                        </a:defRPr>
                      </a:pPr>
                      <a:r>
                        <a:rPr sz="600">
                          <a:latin typeface="Nexa Book"/>
                        </a:rPr>
                        <a:t>32078</a:t>
                      </a:r>
                    </a:p>
                  </a:txBody>
                  <a:tcPr marL="2858" marR="2858" marT="2858" marB="0" anchor="ctr">
                    <a:noFill/>
                  </a:tcPr>
                </a:tc>
                <a:tc>
                  <a:txBody>
                    <a:bodyPr/>
                    <a:lstStyle/>
                    <a:p>
                      <a:pPr algn="ctr">
                        <a:defRPr sz="600">
                          <a:latin typeface="Nexa Book"/>
                        </a:defRPr>
                      </a:pPr>
                      <a:r>
                        <a:rPr sz="600">
                          <a:latin typeface="Nexa Book"/>
                        </a:rPr>
                        <a:t>44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46.85</a:t>
                      </a:r>
                    </a:p>
                  </a:txBody>
                  <a:tcPr marL="2858" marR="2858" marT="2858" marB="0" anchor="ctr">
                    <a:noFill/>
                  </a:tcPr>
                </a:tc>
                <a:tc>
                  <a:txBody>
                    <a:bodyPr/>
                    <a:lstStyle/>
                    <a:p>
                      <a:pPr algn="ctr">
                        <a:defRPr sz="600">
                          <a:latin typeface="Nexa Book"/>
                        </a:defRPr>
                      </a:pPr>
                      <a:r>
                        <a:rPr sz="600">
                          <a:latin typeface="Nexa Book"/>
                        </a:rPr>
                        <a:t> 39.75</a:t>
                      </a:r>
                    </a:p>
                  </a:txBody>
                  <a:tcPr marL="2858" marR="2858" marT="2858" marB="0" anchor="ctr">
                    <a:noFill/>
                  </a:tcPr>
                </a:tc>
                <a:tc>
                  <a:txBody>
                    <a:bodyPr/>
                    <a:lstStyle/>
                    <a:p>
                      <a:pPr algn="ctr">
                        <a:defRPr sz="600">
                          <a:latin typeface="Nexa Book"/>
                        </a:defRPr>
                      </a:pPr>
                      <a:r>
                        <a:rPr sz="600">
                          <a:latin typeface="Nexa Book"/>
                        </a:rPr>
                        <a:t>37'685</a:t>
                      </a:r>
                    </a:p>
                  </a:txBody>
                  <a:tcPr marL="2858" marR="2858" marT="2858" marB="0" anchor="ctr">
                    <a:noFill/>
                  </a:tcPr>
                </a:tc>
                <a:tc>
                  <a:txBody>
                    <a:bodyPr/>
                    <a:lstStyle/>
                    <a:p>
                      <a:pPr algn="ctr">
                        <a:defRPr sz="600">
                          <a:latin typeface="Nexa Book"/>
                        </a:defRPr>
                      </a:pPr>
                      <a:r>
                        <a:rPr sz="600">
                          <a:latin typeface="Nexa Book"/>
                        </a:rPr>
                        <a:t>477%</a:t>
                      </a:r>
                    </a:p>
                  </a:txBody>
                  <a:tcPr marL="2858" marR="2858" marT="2858" marB="0" anchor="ctr">
                    <a:noFill/>
                  </a:tcPr>
                </a:tc>
                <a:tc>
                  <a:txBody>
                    <a:bodyPr/>
                    <a:lstStyle/>
                    <a:p>
                      <a:pPr algn="ctr">
                        <a:defRPr sz="600">
                          <a:latin typeface="Nexa Book"/>
                        </a:defRPr>
                      </a:pPr>
                      <a:r>
                        <a:rPr sz="600">
                          <a:latin typeface="Nexa Book"/>
                        </a:rPr>
                        <a:t>552%</a:t>
                      </a:r>
                    </a:p>
                  </a:txBody>
                  <a:tcPr marL="2858" marR="2858" marT="2858" marB="0" anchor="ctr">
                    <a:noFill/>
                  </a:tcPr>
                </a:tc>
                <a:tc>
                  <a:txBody>
                    <a:bodyPr/>
                    <a:lstStyle/>
                    <a:p>
                      <a:pPr algn="ctr">
                        <a:defRPr sz="600">
                          <a:latin typeface="Nexa Book"/>
                        </a:defRPr>
                      </a:pPr>
                      <a:r>
                        <a:rPr sz="600">
                          <a:latin typeface="Nexa Book"/>
                        </a:rPr>
                        <a:t>32056</a:t>
                      </a:r>
                    </a:p>
                  </a:txBody>
                  <a:tcPr marL="2858" marR="2858" marT="2858" marB="0" anchor="ctr">
                    <a:noFill/>
                  </a:tcPr>
                </a:tc>
                <a:tc>
                  <a:txBody>
                    <a:bodyPr/>
                    <a:lstStyle/>
                    <a:p>
                      <a:pPr algn="ctr">
                        <a:defRPr sz="600">
                          <a:latin typeface="Nexa Book"/>
                        </a:defRPr>
                      </a:pPr>
                      <a:r>
                        <a:rPr sz="600">
                          <a:latin typeface="Nexa Book"/>
                        </a:rPr>
                        <a:t>643%</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 49.14</a:t>
                      </a:r>
                    </a:p>
                  </a:txBody>
                  <a:tcPr marL="2858" marR="2858" marT="2858" marB="0" anchor="ctr">
                    <a:noFill/>
                  </a:tcPr>
                </a:tc>
                <a:tc>
                  <a:txBody>
                    <a:bodyPr/>
                    <a:lstStyle/>
                    <a:p>
                      <a:pPr algn="ctr">
                        <a:defRPr sz="600">
                          <a:latin typeface="Nexa Book"/>
                        </a:defRPr>
                      </a:pPr>
                      <a:r>
                        <a:rPr sz="600">
                          <a:latin typeface="Nexa Book"/>
                        </a:rPr>
                        <a:t> 44.11</a:t>
                      </a:r>
                    </a:p>
                  </a:txBody>
                  <a:tcPr marL="2858" marR="2858" marT="2858" marB="0" anchor="ctr">
                    <a:noFill/>
                  </a:tcPr>
                </a:tc>
                <a:tc>
                  <a:txBody>
                    <a:bodyPr/>
                    <a:lstStyle/>
                    <a:p>
                      <a:pPr algn="ctr">
                        <a:defRPr sz="600">
                          <a:latin typeface="Nexa Book"/>
                        </a:defRPr>
                      </a:pPr>
                      <a:r>
                        <a:rPr sz="600">
                          <a:latin typeface="Nexa Book"/>
                        </a:rPr>
                        <a:t>43'804</a:t>
                      </a:r>
                    </a:p>
                  </a:txBody>
                  <a:tcPr marL="2858" marR="2858" marT="2858" marB="0" anchor="ctr">
                    <a:noFill/>
                  </a:tcPr>
                </a:tc>
                <a:tc>
                  <a:txBody>
                    <a:bodyPr/>
                    <a:lstStyle/>
                    <a:p>
                      <a:pPr algn="ctr">
                        <a:defRPr sz="600">
                          <a:latin typeface="Nexa Book"/>
                        </a:defRPr>
                      </a:pPr>
                      <a:r>
                        <a:rPr sz="600">
                          <a:latin typeface="Nexa Book"/>
                        </a:rPr>
                        <a:t>225%</a:t>
                      </a:r>
                    </a:p>
                  </a:txBody>
                  <a:tcPr marL="2858" marR="2858" marT="2858" marB="0" anchor="ctr">
                    <a:noFill/>
                  </a:tcPr>
                </a:tc>
                <a:tc>
                  <a:txBody>
                    <a:bodyPr/>
                    <a:lstStyle/>
                    <a:p>
                      <a:pPr algn="ctr">
                        <a:defRPr sz="600">
                          <a:latin typeface="Nexa Book"/>
                        </a:defRPr>
                      </a:pPr>
                      <a:r>
                        <a:rPr sz="600">
                          <a:latin typeface="Nexa Book"/>
                        </a:rPr>
                        <a:t>252%</a:t>
                      </a:r>
                    </a:p>
                  </a:txBody>
                  <a:tcPr marL="2858" marR="2858" marT="2858" marB="0" anchor="ctr">
                    <a:noFill/>
                  </a:tcPr>
                </a:tc>
                <a:tc>
                  <a:txBody>
                    <a:bodyPr/>
                    <a:lstStyle/>
                    <a:p>
                      <a:pPr algn="ctr">
                        <a:defRPr sz="600">
                          <a:latin typeface="Nexa Book"/>
                        </a:defRPr>
                      </a:pPr>
                      <a:r>
                        <a:rPr sz="600">
                          <a:latin typeface="Nexa Book"/>
                        </a:rPr>
                        <a:t>31837</a:t>
                      </a:r>
                    </a:p>
                  </a:txBody>
                  <a:tcPr marL="2858" marR="2858" marT="2858" marB="0" anchor="ctr">
                    <a:noFill/>
                  </a:tcPr>
                </a:tc>
                <a:tc>
                  <a:txBody>
                    <a:bodyPr/>
                    <a:lstStyle/>
                    <a:p>
                      <a:pPr algn="ctr">
                        <a:defRPr sz="600">
                          <a:latin typeface="Nexa Book"/>
                        </a:defRPr>
                      </a:pPr>
                      <a:r>
                        <a:rPr sz="600">
                          <a:latin typeface="Nexa Book"/>
                        </a:rPr>
                        <a:t>803%</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 61.59</a:t>
                      </a:r>
                    </a:p>
                  </a:txBody>
                  <a:tcPr marL="2858" marR="2858" marT="2858" marB="0" anchor="ctr">
                    <a:noFill/>
                  </a:tcPr>
                </a:tc>
                <a:tc>
                  <a:txBody>
                    <a:bodyPr/>
                    <a:lstStyle/>
                    <a:p>
                      <a:pPr algn="ctr">
                        <a:defRPr sz="600">
                          <a:latin typeface="Nexa Book"/>
                        </a:defRPr>
                      </a:pPr>
                      <a:r>
                        <a:rPr sz="600">
                          <a:latin typeface="Nexa Book"/>
                        </a:rPr>
                        <a:t> 55.06</a:t>
                      </a:r>
                    </a:p>
                  </a:txBody>
                  <a:tcPr marL="2858" marR="2858" marT="2858" marB="0" anchor="ctr">
                    <a:noFill/>
                  </a:tcPr>
                </a:tc>
                <a:tc>
                  <a:txBody>
                    <a:bodyPr/>
                    <a:lstStyle/>
                    <a:p>
                      <a:pPr algn="ctr">
                        <a:defRPr sz="600">
                          <a:latin typeface="Nexa Book"/>
                        </a:defRPr>
                      </a:pPr>
                      <a:r>
                        <a:rPr sz="600">
                          <a:latin typeface="Nexa Book"/>
                        </a:rPr>
                        <a:t>31'549</a:t>
                      </a:r>
                    </a:p>
                  </a:txBody>
                  <a:tcPr marL="2858" marR="2858" marT="2858" marB="0" anchor="ctr">
                    <a:noFill/>
                  </a:tcPr>
                </a:tc>
                <a:tc>
                  <a:txBody>
                    <a:bodyPr/>
                    <a:lstStyle/>
                    <a:p>
                      <a:pPr algn="ctr">
                        <a:defRPr sz="600">
                          <a:latin typeface="Nexa Book"/>
                        </a:defRPr>
                      </a:pPr>
                      <a:r>
                        <a:rPr sz="600">
                          <a:latin typeface="Nexa Book"/>
                        </a:rPr>
                        <a:t>261%</a:t>
                      </a:r>
                    </a:p>
                  </a:txBody>
                  <a:tcPr marL="2858" marR="2858" marT="2858" marB="0" anchor="ctr">
                    <a:noFill/>
                  </a:tcPr>
                </a:tc>
                <a:tc>
                  <a:txBody>
                    <a:bodyPr/>
                    <a:lstStyle/>
                    <a:p>
                      <a:pPr algn="ctr">
                        <a:defRPr sz="600">
                          <a:latin typeface="Nexa Book"/>
                        </a:defRPr>
                      </a:pPr>
                      <a:r>
                        <a:rPr sz="600">
                          <a:latin typeface="Nexa Book"/>
                        </a:rPr>
                        <a:t>289%</a:t>
                      </a:r>
                    </a:p>
                  </a:txBody>
                  <a:tcPr marL="2858" marR="2858" marT="2858" marB="0" anchor="ctr">
                    <a:noFill/>
                  </a:tcPr>
                </a:tc>
                <a:tc>
                  <a:txBody>
                    <a:bodyPr/>
                    <a:lstStyle/>
                    <a:p>
                      <a:pPr algn="ctr">
                        <a:defRPr sz="600">
                          <a:latin typeface="Nexa Book"/>
                        </a:defRPr>
                      </a:pPr>
                      <a:r>
                        <a:rPr sz="600">
                          <a:latin typeface="Nexa Book"/>
                        </a:rPr>
                        <a:t>24557</a:t>
                      </a:r>
                    </a:p>
                  </a:txBody>
                  <a:tcPr marL="2858" marR="2858" marT="2858" marB="0" anchor="ctr">
                    <a:noFill/>
                  </a:tcPr>
                </a:tc>
                <a:tc>
                  <a:txBody>
                    <a:bodyPr/>
                    <a:lstStyle/>
                    <a:p>
                      <a:pPr algn="ctr">
                        <a:defRPr sz="600">
                          <a:latin typeface="Nexa Book"/>
                        </a:defRPr>
                      </a:pPr>
                      <a:r>
                        <a:rPr sz="600">
                          <a:latin typeface="Nexa Book"/>
                        </a:rPr>
                        <a:t>739%</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MG RUINART BRUT SECOND SKIN 1CT X 150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146.77</a:t>
                      </a:r>
                    </a:p>
                  </a:txBody>
                  <a:tcPr marL="2858" marR="2858" marT="2858" marB="0" anchor="ctr">
                    <a:noFill/>
                  </a:tcPr>
                </a:tc>
                <a:tc>
                  <a:txBody>
                    <a:bodyPr/>
                    <a:lstStyle/>
                    <a:p>
                      <a:pPr algn="ctr">
                        <a:defRPr sz="600">
                          <a:latin typeface="Nexa Book"/>
                        </a:defRPr>
                      </a:pPr>
                      <a:r>
                        <a:rPr sz="600">
                          <a:latin typeface="Nexa Book"/>
                        </a:rPr>
                        <a:t> 133.04</a:t>
                      </a:r>
                    </a:p>
                  </a:txBody>
                  <a:tcPr marL="2858" marR="2858" marT="2858" marB="0" anchor="ctr">
                    <a:noFill/>
                  </a:tcPr>
                </a:tc>
                <a:tc>
                  <a:txBody>
                    <a:bodyPr/>
                    <a:lstStyle/>
                    <a:p>
                      <a:pPr algn="ctr">
                        <a:defRPr sz="600">
                          <a:latin typeface="Nexa Book"/>
                        </a:defRPr>
                      </a:pPr>
                      <a:r>
                        <a:rPr sz="600">
                          <a:latin typeface="Nexa Book"/>
                        </a:rPr>
                        <a:t>35'789</a:t>
                      </a:r>
                    </a:p>
                  </a:txBody>
                  <a:tcPr marL="2858" marR="2858" marT="2858" marB="0" anchor="ctr">
                    <a:noFill/>
                  </a:tcPr>
                </a:tc>
                <a:tc>
                  <a:txBody>
                    <a:bodyPr/>
                    <a:lstStyle/>
                    <a:p>
                      <a:pPr algn="ctr">
                        <a:defRPr sz="600">
                          <a:latin typeface="Nexa Book"/>
                        </a:defRPr>
                      </a:pPr>
                      <a:r>
                        <a:rPr sz="600">
                          <a:latin typeface="Nexa Book"/>
                        </a:rPr>
                        <a:t>163%</a:t>
                      </a:r>
                    </a:p>
                  </a:txBody>
                  <a:tcPr marL="2858" marR="2858" marT="2858" marB="0" anchor="ctr">
                    <a:noFill/>
                  </a:tcPr>
                </a:tc>
                <a:tc>
                  <a:txBody>
                    <a:bodyPr/>
                    <a:lstStyle/>
                    <a:p>
                      <a:pPr algn="ctr">
                        <a:defRPr sz="600">
                          <a:latin typeface="Nexa Book"/>
                        </a:defRPr>
                      </a:pPr>
                      <a:r>
                        <a:rPr sz="600">
                          <a:latin typeface="Nexa Book"/>
                        </a:rPr>
                        <a:t>199%</a:t>
                      </a:r>
                    </a:p>
                  </a:txBody>
                  <a:tcPr marL="2858" marR="2858" marT="2858" marB="0" anchor="ctr">
                    <a:noFill/>
                  </a:tcPr>
                </a:tc>
                <a:tc>
                  <a:txBody>
                    <a:bodyPr/>
                    <a:lstStyle/>
                    <a:p>
                      <a:pPr algn="ctr">
                        <a:defRPr sz="600">
                          <a:latin typeface="Nexa Book"/>
                        </a:defRPr>
                      </a:pPr>
                      <a:r>
                        <a:rPr sz="600">
                          <a:latin typeface="Nexa Book"/>
                        </a:rPr>
                        <a:t>22838</a:t>
                      </a:r>
                    </a:p>
                  </a:txBody>
                  <a:tcPr marL="2858" marR="2858" marT="2858" marB="0" anchor="ctr">
                    <a:noFill/>
                  </a:tcPr>
                </a:tc>
                <a:tc>
                  <a:txBody>
                    <a:bodyPr/>
                    <a:lstStyle/>
                    <a:p>
                      <a:pPr algn="ctr">
                        <a:defRPr sz="600">
                          <a:latin typeface="Nexa Book"/>
                        </a:defRPr>
                      </a:pPr>
                      <a:r>
                        <a:rPr sz="600">
                          <a:latin typeface="Nexa Book"/>
                        </a:rPr>
                        <a:t>46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35.02</a:t>
                      </a:r>
                    </a:p>
                  </a:txBody>
                  <a:tcPr marL="2858" marR="2858" marT="2858" marB="0" anchor="ctr">
                    <a:noFill/>
                  </a:tcPr>
                </a:tc>
                <a:tc>
                  <a:txBody>
                    <a:bodyPr/>
                    <a:lstStyle/>
                    <a:p>
                      <a:pPr algn="ctr">
                        <a:defRPr sz="600">
                          <a:latin typeface="Nexa Book"/>
                        </a:defRPr>
                      </a:pPr>
                      <a:r>
                        <a:rPr sz="600">
                          <a:latin typeface="Nexa Book"/>
                        </a:rPr>
                        <a:t> 29.36</a:t>
                      </a:r>
                    </a:p>
                  </a:txBody>
                  <a:tcPr marL="2858" marR="2858" marT="2858" marB="0" anchor="ctr">
                    <a:noFill/>
                  </a:tcPr>
                </a:tc>
                <a:tc>
                  <a:txBody>
                    <a:bodyPr/>
                    <a:lstStyle/>
                    <a:p>
                      <a:pPr algn="ctr">
                        <a:defRPr sz="600">
                          <a:latin typeface="Nexa Book"/>
                        </a:defRPr>
                      </a:pPr>
                      <a:r>
                        <a:rPr sz="600">
                          <a:latin typeface="Nexa Book"/>
                        </a:rPr>
                        <a:t>42'843</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21118</a:t>
                      </a:r>
                    </a:p>
                  </a:txBody>
                  <a:tcPr marL="2858" marR="2858" marT="2858" marB="0" anchor="ctr">
                    <a:noFill/>
                  </a:tcPr>
                </a:tc>
                <a:tc>
                  <a:txBody>
                    <a:bodyPr/>
                    <a:lstStyle/>
                    <a:p>
                      <a:pPr algn="ctr">
                        <a:defRPr sz="600">
                          <a:latin typeface="Nexa Book"/>
                        </a:defRPr>
                      </a:pPr>
                      <a:r>
                        <a:rPr sz="600">
                          <a:latin typeface="Nexa Book"/>
                        </a:rPr>
                        <a:t>258%</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 39.71</a:t>
                      </a:r>
                    </a:p>
                  </a:txBody>
                  <a:tcPr marL="2858" marR="2858" marT="2858" marB="0" anchor="ctr">
                    <a:noFill/>
                  </a:tcPr>
                </a:tc>
                <a:tc>
                  <a:txBody>
                    <a:bodyPr/>
                    <a:lstStyle/>
                    <a:p>
                      <a:pPr algn="ctr">
                        <a:defRPr sz="600">
                          <a:latin typeface="Nexa Book"/>
                        </a:defRPr>
                      </a:pPr>
                      <a:r>
                        <a:rPr sz="600">
                          <a:latin typeface="Nexa Book"/>
                        </a:rPr>
                        <a:t> 35.05</a:t>
                      </a:r>
                    </a:p>
                  </a:txBody>
                  <a:tcPr marL="2858" marR="2858" marT="2858" marB="0" anchor="ctr">
                    <a:noFill/>
                  </a:tcPr>
                </a:tc>
                <a:tc>
                  <a:txBody>
                    <a:bodyPr/>
                    <a:lstStyle/>
                    <a:p>
                      <a:pPr algn="ctr">
                        <a:defRPr sz="600">
                          <a:latin typeface="Nexa Book"/>
                        </a:defRPr>
                      </a:pPr>
                      <a:r>
                        <a:rPr sz="600">
                          <a:latin typeface="Nexa Book"/>
                        </a:rPr>
                        <a:t>29'863</a:t>
                      </a:r>
                    </a:p>
                  </a:txBody>
                  <a:tcPr marL="2858" marR="2858" marT="2858" marB="0" anchor="ctr">
                    <a:noFill/>
                  </a:tcPr>
                </a:tc>
                <a:tc>
                  <a:txBody>
                    <a:bodyPr/>
                    <a:lstStyle/>
                    <a:p>
                      <a:pPr algn="ctr">
                        <a:defRPr sz="600">
                          <a:latin typeface="Nexa Book"/>
                        </a:defRPr>
                      </a:pPr>
                      <a:r>
                        <a:rPr sz="600">
                          <a:latin typeface="Nexa Book"/>
                        </a:rPr>
                        <a:t>164%</a:t>
                      </a:r>
                    </a:p>
                  </a:txBody>
                  <a:tcPr marL="2858" marR="2858" marT="2858" marB="0" anchor="ctr">
                    <a:noFill/>
                  </a:tcPr>
                </a:tc>
                <a:tc>
                  <a:txBody>
                    <a:bodyPr/>
                    <a:lstStyle/>
                    <a:p>
                      <a:pPr algn="ctr">
                        <a:defRPr sz="600">
                          <a:latin typeface="Nexa Book"/>
                        </a:defRPr>
                      </a:pPr>
                      <a:r>
                        <a:rPr sz="600">
                          <a:latin typeface="Nexa Book"/>
                        </a:rPr>
                        <a:t>186%</a:t>
                      </a:r>
                    </a:p>
                  </a:txBody>
                  <a:tcPr marL="2858" marR="2858" marT="2858" marB="0" anchor="ctr">
                    <a:noFill/>
                  </a:tcPr>
                </a:tc>
                <a:tc>
                  <a:txBody>
                    <a:bodyPr/>
                    <a:lstStyle/>
                    <a:p>
                      <a:pPr algn="ctr">
                        <a:defRPr sz="600">
                          <a:latin typeface="Nexa Book"/>
                        </a:defRPr>
                      </a:pPr>
                      <a:r>
                        <a:rPr sz="600">
                          <a:latin typeface="Nexa Book"/>
                        </a:rPr>
                        <a:t>20163</a:t>
                      </a:r>
                    </a:p>
                  </a:txBody>
                  <a:tcPr marL="2858" marR="2858" marT="2858" marB="0" anchor="ctr">
                    <a:noFill/>
                  </a:tcPr>
                </a:tc>
                <a:tc>
                  <a:txBody>
                    <a:bodyPr/>
                    <a:lstStyle/>
                    <a:p>
                      <a:pPr algn="ctr">
                        <a:defRPr sz="600">
                          <a:latin typeface="Nexa Book"/>
                        </a:defRPr>
                      </a:pPr>
                      <a:r>
                        <a:rPr sz="600">
                          <a:latin typeface="Nexa Book"/>
                        </a:rPr>
                        <a:t>600%</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39.85</a:t>
                      </a:r>
                    </a:p>
                  </a:txBody>
                  <a:tcPr marL="2858" marR="2858" marT="2858" marB="0" anchor="ctr">
                    <a:noFill/>
                  </a:tcPr>
                </a:tc>
                <a:tc>
                  <a:txBody>
                    <a:bodyPr/>
                    <a:lstStyle/>
                    <a:p>
                      <a:pPr algn="ctr">
                        <a:defRPr sz="600">
                          <a:latin typeface="Nexa Book"/>
                        </a:defRPr>
                      </a:pPr>
                      <a:r>
                        <a:rPr sz="600">
                          <a:latin typeface="Nexa Book"/>
                        </a:rPr>
                        <a:t> 35.57</a:t>
                      </a:r>
                    </a:p>
                  </a:txBody>
                  <a:tcPr marL="2858" marR="2858" marT="2858" marB="0" anchor="ctr">
                    <a:noFill/>
                  </a:tcPr>
                </a:tc>
                <a:tc>
                  <a:txBody>
                    <a:bodyPr/>
                    <a:lstStyle/>
                    <a:p>
                      <a:pPr algn="ctr">
                        <a:defRPr sz="600">
                          <a:latin typeface="Nexa Book"/>
                        </a:defRPr>
                      </a:pPr>
                      <a:r>
                        <a:rPr sz="600">
                          <a:latin typeface="Nexa Book"/>
                        </a:rPr>
                        <a:t>23'048</a:t>
                      </a:r>
                    </a:p>
                  </a:txBody>
                  <a:tcPr marL="2858" marR="2858" marT="2858" marB="0" anchor="ctr">
                    <a:noFill/>
                  </a:tcPr>
                </a:tc>
                <a:tc>
                  <a:txBody>
                    <a:bodyPr/>
                    <a:lstStyle/>
                    <a:p>
                      <a:pPr algn="ctr">
                        <a:defRPr sz="600">
                          <a:latin typeface="Nexa Book"/>
                        </a:defRPr>
                      </a:pPr>
                      <a:r>
                        <a:rPr sz="600">
                          <a:latin typeface="Nexa Book"/>
                        </a:rPr>
                        <a:t>330%</a:t>
                      </a:r>
                    </a:p>
                  </a:txBody>
                  <a:tcPr marL="2858" marR="2858" marT="2858" marB="0" anchor="ctr">
                    <a:noFill/>
                  </a:tcPr>
                </a:tc>
                <a:tc>
                  <a:txBody>
                    <a:bodyPr/>
                    <a:lstStyle/>
                    <a:p>
                      <a:pPr algn="ctr">
                        <a:defRPr sz="600">
                          <a:latin typeface="Nexa Book"/>
                        </a:defRPr>
                      </a:pPr>
                      <a:r>
                        <a:rPr sz="600">
                          <a:latin typeface="Nexa Book"/>
                        </a:rPr>
                        <a:t>369%</a:t>
                      </a:r>
                    </a:p>
                  </a:txBody>
                  <a:tcPr marL="2858" marR="2858" marT="2858" marB="0" anchor="ctr">
                    <a:noFill/>
                  </a:tcPr>
                </a:tc>
                <a:tc>
                  <a:txBody>
                    <a:bodyPr/>
                    <a:lstStyle/>
                    <a:p>
                      <a:pPr algn="ctr">
                        <a:defRPr sz="600">
                          <a:latin typeface="Nexa Book"/>
                        </a:defRPr>
                      </a:pPr>
                      <a:r>
                        <a:rPr sz="600">
                          <a:latin typeface="Nexa Book"/>
                        </a:rPr>
                        <a:t>18632</a:t>
                      </a:r>
                    </a:p>
                  </a:txBody>
                  <a:tcPr marL="2858" marR="2858" marT="2858" marB="0" anchor="ctr">
                    <a:noFill/>
                  </a:tcPr>
                </a:tc>
                <a:tc>
                  <a:txBody>
                    <a:bodyPr/>
                    <a:lstStyle/>
                    <a:p>
                      <a:pPr algn="ctr">
                        <a:defRPr sz="600">
                          <a:latin typeface="Nexa Book"/>
                        </a:defRPr>
                      </a:pPr>
                      <a:r>
                        <a:rPr sz="600">
                          <a:latin typeface="Nexa Book"/>
                        </a:rPr>
                        <a:t>768%</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avian</a:t>
                      </a:r>
                    </a:p>
                  </a:txBody>
                  <a:tcPr marL="2858" marR="2858" marT="2858" marB="0" anchor="ctr">
                    <a:noFill/>
                  </a:tcPr>
                </a:tc>
                <a:tc>
                  <a:txBody>
                    <a:bodyPr/>
                    <a:lstStyle/>
                    <a:p>
                      <a:pPr algn="l">
                        <a:defRPr sz="600">
                          <a:latin typeface="Nexa Book"/>
                        </a:defRPr>
                      </a:pPr>
                      <a:r>
                        <a:rPr sz="600">
                          <a:latin typeface="Nexa Book"/>
                        </a:rPr>
                        <a:t>CHAMPAGNE GOSSET GDE RESERVE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 50.44</a:t>
                      </a:r>
                    </a:p>
                  </a:txBody>
                  <a:tcPr marL="2858" marR="2858" marT="2858" marB="0" anchor="ctr">
                    <a:noFill/>
                  </a:tcPr>
                </a:tc>
                <a:tc>
                  <a:txBody>
                    <a:bodyPr/>
                    <a:lstStyle/>
                    <a:p>
                      <a:pPr algn="ctr">
                        <a:defRPr sz="600">
                          <a:latin typeface="Nexa Book"/>
                        </a:defRPr>
                      </a:pPr>
                      <a:r>
                        <a:rPr sz="600">
                          <a:latin typeface="Nexa Book"/>
                        </a:rPr>
                        <a:t> 45.25</a:t>
                      </a:r>
                    </a:p>
                  </a:txBody>
                  <a:tcPr marL="2858" marR="2858" marT="2858" marB="0" anchor="ctr">
                    <a:noFill/>
                  </a:tcPr>
                </a:tc>
                <a:tc>
                  <a:txBody>
                    <a:bodyPr/>
                    <a:lstStyle/>
                    <a:p>
                      <a:pPr algn="ctr">
                        <a:defRPr sz="600">
                          <a:latin typeface="Nexa Book"/>
                        </a:defRPr>
                      </a:pPr>
                      <a:r>
                        <a:rPr sz="600">
                          <a:latin typeface="Nexa Book"/>
                        </a:rPr>
                        <a:t>19'775</a:t>
                      </a:r>
                    </a:p>
                  </a:txBody>
                  <a:tcPr marL="2858" marR="2858" marT="2858" marB="0" anchor="ctr">
                    <a:noFill/>
                  </a:tcPr>
                </a:tc>
                <a:tc>
                  <a:txBody>
                    <a:bodyPr/>
                    <a:lstStyle/>
                    <a:p>
                      <a:pPr algn="ctr">
                        <a:defRPr sz="600">
                          <a:latin typeface="Nexa Book"/>
                        </a:defRPr>
                      </a:pPr>
                      <a:r>
                        <a:rPr sz="600">
                          <a:latin typeface="Nexa Book"/>
                        </a:rPr>
                        <a:t>429%</a:t>
                      </a:r>
                    </a:p>
                  </a:txBody>
                  <a:tcPr marL="2858" marR="2858" marT="2858" marB="0" anchor="ctr">
                    <a:noFill/>
                  </a:tcPr>
                </a:tc>
                <a:tc>
                  <a:txBody>
                    <a:bodyPr/>
                    <a:lstStyle/>
                    <a:p>
                      <a:pPr algn="ctr">
                        <a:defRPr sz="600">
                          <a:latin typeface="Nexa Book"/>
                        </a:defRPr>
                      </a:pPr>
                      <a:r>
                        <a:rPr sz="600">
                          <a:latin typeface="Nexa Book"/>
                        </a:rPr>
                        <a:t>520%</a:t>
                      </a:r>
                    </a:p>
                  </a:txBody>
                  <a:tcPr marL="2858" marR="2858" marT="2858" marB="0" anchor="ctr">
                    <a:noFill/>
                  </a:tcPr>
                </a:tc>
                <a:tc>
                  <a:txBody>
                    <a:bodyPr/>
                    <a:lstStyle/>
                    <a:p>
                      <a:pPr algn="ctr">
                        <a:defRPr sz="600">
                          <a:latin typeface="Nexa Book"/>
                        </a:defRPr>
                      </a:pPr>
                      <a:r>
                        <a:rPr sz="600">
                          <a:latin typeface="Nexa Book"/>
                        </a:rPr>
                        <a:t>16403</a:t>
                      </a:r>
                    </a:p>
                  </a:txBody>
                  <a:tcPr marL="2858" marR="2858" marT="2858" marB="0" anchor="ctr">
                    <a:noFill/>
                  </a:tcPr>
                </a:tc>
                <a:tc>
                  <a:txBody>
                    <a:bodyPr/>
                    <a:lstStyle/>
                    <a:p>
                      <a:pPr algn="ctr">
                        <a:defRPr sz="600">
                          <a:latin typeface="Nexa Book"/>
                        </a:defRPr>
                      </a:pPr>
                      <a:r>
                        <a:rPr sz="600">
                          <a:latin typeface="Nexa Book"/>
                        </a:rPr>
                        <a:t>475%</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ROS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63.76</a:t>
                      </a:r>
                    </a:p>
                  </a:txBody>
                  <a:tcPr marL="2858" marR="2858" marT="2858" marB="0" anchor="ctr">
                    <a:noFill/>
                  </a:tcPr>
                </a:tc>
                <a:tc>
                  <a:txBody>
                    <a:bodyPr/>
                    <a:lstStyle/>
                    <a:p>
                      <a:pPr algn="ctr">
                        <a:defRPr sz="600">
                          <a:latin typeface="Nexa Book"/>
                        </a:defRPr>
                      </a:pPr>
                      <a:r>
                        <a:rPr sz="600">
                          <a:latin typeface="Nexa Book"/>
                        </a:rPr>
                        <a:t> 55.72</a:t>
                      </a:r>
                    </a:p>
                  </a:txBody>
                  <a:tcPr marL="2858" marR="2858" marT="2858" marB="0" anchor="ctr">
                    <a:noFill/>
                  </a:tcPr>
                </a:tc>
                <a:tc>
                  <a:txBody>
                    <a:bodyPr/>
                    <a:lstStyle/>
                    <a:p>
                      <a:pPr algn="ctr">
                        <a:defRPr sz="600">
                          <a:latin typeface="Nexa Book"/>
                        </a:defRPr>
                      </a:pPr>
                      <a:r>
                        <a:rPr sz="600">
                          <a:latin typeface="Nexa Book"/>
                        </a:rPr>
                        <a:t>15'713</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171%</a:t>
                      </a:r>
                    </a:p>
                  </a:txBody>
                  <a:tcPr marL="2858" marR="2858" marT="2858" marB="0" anchor="ctr">
                    <a:noFill/>
                  </a:tcPr>
                </a:tc>
                <a:tc>
                  <a:txBody>
                    <a:bodyPr/>
                    <a:lstStyle/>
                    <a:p>
                      <a:pPr algn="ctr">
                        <a:defRPr sz="600">
                          <a:latin typeface="Nexa Book"/>
                        </a:defRPr>
                      </a:pPr>
                      <a:r>
                        <a:rPr sz="600">
                          <a:latin typeface="Nexa Book"/>
                        </a:rPr>
                        <a:t>16368</a:t>
                      </a:r>
                    </a:p>
                  </a:txBody>
                  <a:tcPr marL="2858" marR="2858" marT="2858" marB="0" anchor="ctr">
                    <a:noFill/>
                  </a:tcPr>
                </a:tc>
                <a:tc>
                  <a:txBody>
                    <a:bodyPr/>
                    <a:lstStyle/>
                    <a:p>
                      <a:pPr algn="ctr">
                        <a:defRPr sz="600">
                          <a:latin typeface="Nexa Book"/>
                        </a:defRPr>
                      </a:pPr>
                      <a:r>
                        <a:rPr sz="600">
                          <a:latin typeface="Nexa Book"/>
                        </a:rPr>
                        <a:t>758%</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ROSE PRES SPECIAL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5.92</a:t>
                      </a:r>
                    </a:p>
                  </a:txBody>
                  <a:tcPr marL="2858" marR="2858" marT="2858" marB="0" anchor="ctr">
                    <a:noFill/>
                  </a:tcPr>
                </a:tc>
                <a:tc>
                  <a:txBody>
                    <a:bodyPr/>
                    <a:lstStyle/>
                    <a:p>
                      <a:pPr algn="ctr">
                        <a:defRPr sz="600">
                          <a:latin typeface="Nexa Book"/>
                        </a:defRPr>
                      </a:pPr>
                      <a:r>
                        <a:rPr sz="600">
                          <a:latin typeface="Nexa Book"/>
                        </a:rPr>
                        <a:t>18'964</a:t>
                      </a:r>
                    </a:p>
                  </a:txBody>
                  <a:tcPr marL="2858" marR="2858" marT="2858" marB="0" anchor="ctr">
                    <a:noFill/>
                  </a:tcPr>
                </a:tc>
                <a:tc>
                  <a:txBody>
                    <a:bodyPr/>
                    <a:lstStyle/>
                    <a:p>
                      <a:pPr algn="ctr">
                        <a:defRPr sz="600">
                          <a:latin typeface="Nexa Book"/>
                        </a:defRPr>
                      </a:pPr>
                      <a:r>
                        <a:rPr sz="600">
                          <a:latin typeface="Nexa Book"/>
                        </a:rPr>
                        <a:t>397%</a:t>
                      </a:r>
                    </a:p>
                  </a:txBody>
                  <a:tcPr marL="2858" marR="2858" marT="2858" marB="0" anchor="ctr">
                    <a:noFill/>
                  </a:tcPr>
                </a:tc>
                <a:tc>
                  <a:txBody>
                    <a:bodyPr/>
                    <a:lstStyle/>
                    <a:p>
                      <a:pPr algn="ctr">
                        <a:defRPr sz="600">
                          <a:latin typeface="Nexa Book"/>
                        </a:defRPr>
                      </a:pPr>
                      <a:r>
                        <a:rPr sz="600">
                          <a:latin typeface="Nexa Book"/>
                        </a:rPr>
                        <a:t>442%</a:t>
                      </a:r>
                    </a:p>
                  </a:txBody>
                  <a:tcPr marL="2858" marR="2858" marT="2858" marB="0" anchor="ctr">
                    <a:noFill/>
                  </a:tcPr>
                </a:tc>
                <a:tc>
                  <a:txBody>
                    <a:bodyPr/>
                    <a:lstStyle/>
                    <a:p>
                      <a:pPr algn="ctr">
                        <a:defRPr sz="600">
                          <a:latin typeface="Nexa Book"/>
                        </a:defRPr>
                      </a:pPr>
                      <a:r>
                        <a:rPr sz="600">
                          <a:latin typeface="Nexa Book"/>
                        </a:rPr>
                        <a:t>16365</a:t>
                      </a:r>
                    </a:p>
                  </a:txBody>
                  <a:tcPr marL="2858" marR="2858" marT="2858" marB="0" anchor="ctr">
                    <a:noFill/>
                  </a:tcPr>
                </a:tc>
                <a:tc>
                  <a:txBody>
                    <a:bodyPr/>
                    <a:lstStyle/>
                    <a:p>
                      <a:pPr algn="ctr">
                        <a:defRPr sz="600">
                          <a:latin typeface="Nexa Book"/>
                        </a:defRPr>
                      </a:pPr>
                      <a:r>
                        <a:rPr sz="600">
                          <a:latin typeface="Nexa Book"/>
                        </a:rPr>
                        <a:t>718%</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NUE) 1CT X 750ML</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92.83</a:t>
                      </a:r>
                    </a:p>
                  </a:txBody>
                  <a:tcPr marL="2858" marR="2858" marT="2858" marB="0" anchor="ctr">
                    <a:noFill/>
                  </a:tcPr>
                </a:tc>
                <a:tc>
                  <a:txBody>
                    <a:bodyPr/>
                    <a:lstStyle/>
                    <a:p>
                      <a:pPr algn="ctr">
                        <a:defRPr sz="600">
                          <a:latin typeface="Nexa Book"/>
                        </a:defRPr>
                      </a:pPr>
                      <a:r>
                        <a:rPr sz="600">
                          <a:latin typeface="Nexa Book"/>
                        </a:rPr>
                        <a:t> 84.22</a:t>
                      </a:r>
                    </a:p>
                  </a:txBody>
                  <a:tcPr marL="2858" marR="2858" marT="2858" marB="0" anchor="ctr">
                    <a:noFill/>
                  </a:tcPr>
                </a:tc>
                <a:tc>
                  <a:txBody>
                    <a:bodyPr/>
                    <a:lstStyle/>
                    <a:p>
                      <a:pPr algn="ctr">
                        <a:defRPr sz="600">
                          <a:latin typeface="Nexa Book"/>
                        </a:defRPr>
                      </a:pPr>
                      <a:r>
                        <a:rPr sz="600">
                          <a:latin typeface="Nexa Book"/>
                        </a:rPr>
                        <a:t>19'455</a:t>
                      </a:r>
                    </a:p>
                  </a:txBody>
                  <a:tcPr marL="2858" marR="2858" marT="2858" marB="0" anchor="ctr">
                    <a:noFill/>
                  </a:tcPr>
                </a:tc>
                <a:tc>
                  <a:txBody>
                    <a:bodyPr/>
                    <a:lstStyle/>
                    <a:p>
                      <a:pPr algn="ctr">
                        <a:defRPr sz="600">
                          <a:latin typeface="Nexa Book"/>
                        </a:defRPr>
                      </a:pPr>
                      <a:r>
                        <a:rPr sz="600">
                          <a:latin typeface="Nexa Book"/>
                        </a:rPr>
                        <a:t>452%</a:t>
                      </a:r>
                    </a:p>
                  </a:txBody>
                  <a:tcPr marL="2858" marR="2858" marT="2858" marB="0" anchor="ctr">
                    <a:noFill/>
                  </a:tcPr>
                </a:tc>
                <a:tc>
                  <a:txBody>
                    <a:bodyPr/>
                    <a:lstStyle/>
                    <a:p>
                      <a:pPr algn="ctr">
                        <a:defRPr sz="600">
                          <a:latin typeface="Nexa Book"/>
                        </a:defRPr>
                      </a:pPr>
                      <a:r>
                        <a:rPr sz="600">
                          <a:latin typeface="Nexa Book"/>
                        </a:rPr>
                        <a:t>525%</a:t>
                      </a:r>
                    </a:p>
                  </a:txBody>
                  <a:tcPr marL="2858" marR="2858" marT="2858" marB="0" anchor="ctr">
                    <a:noFill/>
                  </a:tcPr>
                </a:tc>
                <a:tc>
                  <a:txBody>
                    <a:bodyPr/>
                    <a:lstStyle/>
                    <a:p>
                      <a:pPr algn="ctr">
                        <a:defRPr sz="600">
                          <a:latin typeface="Nexa Book"/>
                        </a:defRPr>
                      </a:pPr>
                      <a:r>
                        <a:rPr sz="600">
                          <a:latin typeface="Nexa Book"/>
                        </a:rPr>
                        <a:t>16160</a:t>
                      </a:r>
                    </a:p>
                  </a:txBody>
                  <a:tcPr marL="2858" marR="2858" marT="2858" marB="0" anchor="ctr">
                    <a:noFill/>
                  </a:tcPr>
                </a:tc>
                <a:tc>
                  <a:txBody>
                    <a:bodyPr/>
                    <a:lstStyle/>
                    <a:p>
                      <a:pPr algn="ctr">
                        <a:defRPr sz="600">
                          <a:latin typeface="Nexa Book"/>
                        </a:defRPr>
                      </a:pPr>
                      <a:r>
                        <a:rPr sz="600">
                          <a:latin typeface="Nexa Book"/>
                        </a:rPr>
                        <a:t>61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40.96</a:t>
                      </a:r>
                    </a:p>
                  </a:txBody>
                  <a:tcPr marL="2858" marR="2858" marT="2858" marB="0" anchor="ctr">
                    <a:noFill/>
                  </a:tcPr>
                </a:tc>
                <a:tc>
                  <a:txBody>
                    <a:bodyPr/>
                    <a:lstStyle/>
                    <a:p>
                      <a:pPr algn="ctr">
                        <a:defRPr sz="600">
                          <a:latin typeface="Nexa Book"/>
                        </a:defRPr>
                      </a:pPr>
                      <a:r>
                        <a:rPr sz="600">
                          <a:latin typeface="Nexa Book"/>
                        </a:rPr>
                        <a:t> 36.74</a:t>
                      </a:r>
                    </a:p>
                  </a:txBody>
                  <a:tcPr marL="2858" marR="2858" marT="2858" marB="0" anchor="ctr">
                    <a:noFill/>
                  </a:tcPr>
                </a:tc>
                <a:tc>
                  <a:txBody>
                    <a:bodyPr/>
                    <a:lstStyle/>
                    <a:p>
                      <a:pPr algn="ctr">
                        <a:defRPr sz="600">
                          <a:latin typeface="Nexa Book"/>
                        </a:defRPr>
                      </a:pPr>
                      <a:r>
                        <a:rPr sz="600">
                          <a:latin typeface="Nexa Book"/>
                        </a:rPr>
                        <a:t>28'586</a:t>
                      </a:r>
                    </a:p>
                  </a:txBody>
                  <a:tcPr marL="2858" marR="2858" marT="2858" marB="0" anchor="ctr">
                    <a:noFill/>
                  </a:tcPr>
                </a:tc>
                <a:tc>
                  <a:txBody>
                    <a:bodyPr/>
                    <a:lstStyle/>
                    <a:p>
                      <a:pPr algn="ctr">
                        <a:defRPr sz="600">
                          <a:latin typeface="Nexa Book"/>
                        </a:defRPr>
                      </a:pPr>
                      <a:r>
                        <a:rPr sz="600">
                          <a:latin typeface="Nexa Book"/>
                        </a:rPr>
                        <a:t>98%</a:t>
                      </a:r>
                    </a:p>
                  </a:txBody>
                  <a:tcPr marL="2858" marR="2858" marT="2858" marB="0" anchor="ctr">
                    <a:noFill/>
                  </a:tcPr>
                </a:tc>
                <a:tc>
                  <a:txBody>
                    <a:bodyPr/>
                    <a:lstStyle/>
                    <a:p>
                      <a:pPr algn="ctr">
                        <a:defRPr sz="600">
                          <a:latin typeface="Nexa Book"/>
                        </a:defRPr>
                      </a:pPr>
                      <a:r>
                        <a:rPr sz="600">
                          <a:latin typeface="Nexa Book"/>
                        </a:rPr>
                        <a:t>122%</a:t>
                      </a:r>
                    </a:p>
                  </a:txBody>
                  <a:tcPr marL="2858" marR="2858" marT="2858" marB="0" anchor="ctr">
                    <a:noFill/>
                  </a:tcPr>
                </a:tc>
                <a:tc>
                  <a:txBody>
                    <a:bodyPr/>
                    <a:lstStyle/>
                    <a:p>
                      <a:pPr algn="ctr">
                        <a:defRPr sz="600">
                          <a:latin typeface="Nexa Book"/>
                        </a:defRPr>
                      </a:pPr>
                      <a:r>
                        <a:rPr sz="600">
                          <a:latin typeface="Nexa Book"/>
                        </a:rPr>
                        <a:t>13999</a:t>
                      </a:r>
                    </a:p>
                  </a:txBody>
                  <a:tcPr marL="2858" marR="2858" marT="2858" marB="0" anchor="ctr">
                    <a:noFill/>
                  </a:tcPr>
                </a:tc>
                <a:tc>
                  <a:txBody>
                    <a:bodyPr/>
                    <a:lstStyle/>
                    <a:p>
                      <a:pPr algn="ctr">
                        <a:defRPr sz="600">
                          <a:latin typeface="Nexa Book"/>
                        </a:defRPr>
                      </a:pPr>
                      <a:r>
                        <a:rPr sz="600">
                          <a:latin typeface="Nexa Book"/>
                        </a:rPr>
                        <a:t>382%</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GRAND CRU BLC DE BLANC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8.32</a:t>
                      </a:r>
                    </a:p>
                  </a:txBody>
                  <a:tcPr marL="2858" marR="2858" marT="2858" marB="0" anchor="ctr">
                    <a:noFill/>
                  </a:tcPr>
                </a:tc>
                <a:tc>
                  <a:txBody>
                    <a:bodyPr/>
                    <a:lstStyle/>
                    <a:p>
                      <a:pPr algn="ctr">
                        <a:defRPr sz="600">
                          <a:latin typeface="Nexa Book"/>
                        </a:defRPr>
                      </a:pPr>
                      <a:r>
                        <a:rPr sz="600">
                          <a:latin typeface="Nexa Book"/>
                        </a:rPr>
                        <a:t> 34.20</a:t>
                      </a:r>
                    </a:p>
                  </a:txBody>
                  <a:tcPr marL="2858" marR="2858" marT="2858" marB="0" anchor="ctr">
                    <a:noFill/>
                  </a:tcPr>
                </a:tc>
                <a:tc>
                  <a:txBody>
                    <a:bodyPr/>
                    <a:lstStyle/>
                    <a:p>
                      <a:pPr algn="ctr">
                        <a:defRPr sz="600">
                          <a:latin typeface="Nexa Book"/>
                        </a:defRPr>
                      </a:pPr>
                      <a:r>
                        <a:rPr sz="600">
                          <a:latin typeface="Nexa Book"/>
                        </a:rPr>
                        <a:t>19'017</a:t>
                      </a:r>
                    </a:p>
                  </a:txBody>
                  <a:tcPr marL="2858" marR="2858" marT="2858" marB="0" anchor="ctr">
                    <a:noFill/>
                  </a:tcPr>
                </a:tc>
                <a:tc>
                  <a:txBody>
                    <a:bodyPr/>
                    <a:lstStyle/>
                    <a:p>
                      <a:pPr algn="ctr">
                        <a:defRPr sz="600">
                          <a:latin typeface="Nexa Book"/>
                        </a:defRPr>
                      </a:pPr>
                      <a:r>
                        <a:rPr sz="600">
                          <a:latin typeface="Nexa Book"/>
                        </a:rPr>
                        <a:t>203%</a:t>
                      </a:r>
                    </a:p>
                  </a:txBody>
                  <a:tcPr marL="2858" marR="2858" marT="2858" marB="0" anchor="ctr">
                    <a:noFill/>
                  </a:tcPr>
                </a:tc>
                <a:tc>
                  <a:txBody>
                    <a:bodyPr/>
                    <a:lstStyle/>
                    <a:p>
                      <a:pPr algn="ctr">
                        <a:defRPr sz="600">
                          <a:latin typeface="Nexa Book"/>
                        </a:defRPr>
                      </a:pPr>
                      <a:r>
                        <a:rPr sz="600">
                          <a:latin typeface="Nexa Book"/>
                        </a:rPr>
                        <a:t>238%</a:t>
                      </a:r>
                    </a:p>
                  </a:txBody>
                  <a:tcPr marL="2858" marR="2858" marT="2858" marB="0" anchor="ctr">
                    <a:noFill/>
                  </a:tcPr>
                </a:tc>
                <a:tc>
                  <a:txBody>
                    <a:bodyPr/>
                    <a:lstStyle/>
                    <a:p>
                      <a:pPr algn="ctr">
                        <a:defRPr sz="600">
                          <a:latin typeface="Nexa Book"/>
                        </a:defRPr>
                      </a:pPr>
                      <a:r>
                        <a:rPr sz="600">
                          <a:latin typeface="Nexa Book"/>
                        </a:rPr>
                        <a:t>13332</a:t>
                      </a:r>
                    </a:p>
                  </a:txBody>
                  <a:tcPr marL="2858" marR="2858" marT="2858" marB="0" anchor="ctr">
                    <a:noFill/>
                  </a:tcPr>
                </a:tc>
                <a:tc>
                  <a:txBody>
                    <a:bodyPr/>
                    <a:lstStyle/>
                    <a:p>
                      <a:pPr algn="ctr">
                        <a:defRPr sz="600">
                          <a:latin typeface="Nexa Book"/>
                        </a:defRPr>
                      </a:pPr>
                      <a:r>
                        <a:rPr sz="600">
                          <a:latin typeface="Nexa Book"/>
                        </a:rPr>
                        <a:t>54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11952280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Heidsieck &amp; Co Monopol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EIDSIECK MONOPOLE SILVER TOP 1CT X 750ML</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8.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8.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2'13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8830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9.94</a:t>
                      </a:r>
                    </a:p>
                  </a:txBody>
                  <a:tcPr marL="2858" marR="2858" marT="2858" marB="0" anchor="ctr">
                    <a:noFill/>
                  </a:tcPr>
                </a:tc>
                <a:tc>
                  <a:txBody>
                    <a:bodyPr/>
                    <a:lstStyle/>
                    <a:p>
                      <a:pPr algn="ctr">
                        <a:defRPr sz="600">
                          <a:latin typeface="Nexa Book"/>
                        </a:defRPr>
                      </a:pPr>
                      <a:r>
                        <a:rPr sz="600">
                          <a:latin typeface="Nexa Book"/>
                        </a:rPr>
                        <a:t> 44.88</a:t>
                      </a:r>
                    </a:p>
                  </a:txBody>
                  <a:tcPr marL="2858" marR="2858" marT="2858" marB="0" anchor="ctr">
                    <a:noFill/>
                  </a:tcPr>
                </a:tc>
                <a:tc>
                  <a:txBody>
                    <a:bodyPr/>
                    <a:lstStyle/>
                    <a:p>
                      <a:pPr algn="ctr">
                        <a:defRPr sz="600">
                          <a:latin typeface="Nexa Book"/>
                        </a:defRPr>
                      </a:pPr>
                      <a:r>
                        <a:rPr sz="600">
                          <a:latin typeface="Nexa Book"/>
                        </a:rPr>
                        <a:t>388'349</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5%</a:t>
                      </a:r>
                    </a:p>
                  </a:txBody>
                  <a:tcPr marL="2858" marR="2858" marT="2858" marB="0" anchor="ctr">
                    <a:noFill/>
                  </a:tcPr>
                </a:tc>
                <a:tc>
                  <a:txBody>
                    <a:bodyPr/>
                    <a:lstStyle/>
                    <a:p>
                      <a:pPr algn="ctr">
                        <a:defRPr sz="600">
                          <a:latin typeface="Nexa Book"/>
                        </a:defRPr>
                      </a:pPr>
                      <a:r>
                        <a:rPr sz="600">
                          <a:latin typeface="Nexa Book"/>
                        </a:rPr>
                        <a:t>751587</a:t>
                      </a:r>
                    </a:p>
                  </a:txBody>
                  <a:tcPr marL="2858" marR="2858" marT="2858" marB="0" anchor="ctr">
                    <a:noFill/>
                  </a:tcPr>
                </a:tc>
                <a:tc>
                  <a:txBody>
                    <a:bodyPr/>
                    <a:lstStyle/>
                    <a:p>
                      <a:pPr algn="ctr">
                        <a:defRPr sz="600">
                          <a:latin typeface="Nexa Book"/>
                        </a:defRPr>
                      </a:pPr>
                      <a:r>
                        <a:rPr sz="600">
                          <a:latin typeface="Nexa Book"/>
                        </a:rPr>
                        <a:t>1721%</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5.52</a:t>
                      </a:r>
                    </a:p>
                  </a:txBody>
                  <a:tcPr marL="2858" marR="2858" marT="2858" marB="0" anchor="ctr">
                    <a:noFill/>
                  </a:tcPr>
                </a:tc>
                <a:tc>
                  <a:txBody>
                    <a:bodyPr/>
                    <a:lstStyle/>
                    <a:p>
                      <a:pPr algn="ctr">
                        <a:defRPr sz="600">
                          <a:latin typeface="Nexa Book"/>
                        </a:defRPr>
                      </a:pPr>
                      <a:r>
                        <a:rPr sz="600">
                          <a:latin typeface="Nexa Book"/>
                        </a:rPr>
                        <a:t> 29.13</a:t>
                      </a:r>
                    </a:p>
                  </a:txBody>
                  <a:tcPr marL="2858" marR="2858" marT="2858" marB="0" anchor="ctr">
                    <a:noFill/>
                  </a:tcPr>
                </a:tc>
                <a:tc>
                  <a:txBody>
                    <a:bodyPr/>
                    <a:lstStyle/>
                    <a:p>
                      <a:pPr algn="ctr">
                        <a:defRPr sz="600">
                          <a:latin typeface="Nexa Book"/>
                        </a:defRPr>
                      </a:pPr>
                      <a:r>
                        <a:rPr sz="600">
                          <a:latin typeface="Nexa Book"/>
                        </a:rPr>
                        <a:t>833'464</a:t>
                      </a:r>
                    </a:p>
                  </a:txBody>
                  <a:tcPr marL="2858" marR="2858" marT="2858" marB="0" anchor="ctr">
                    <a:noFill/>
                  </a:tcPr>
                </a:tc>
                <a:tc>
                  <a:txBody>
                    <a:bodyPr/>
                    <a:lstStyle/>
                    <a:p>
                      <a:pPr algn="ctr">
                        <a:defRPr sz="600">
                          <a:latin typeface="Nexa Book"/>
                        </a:defRPr>
                      </a:pPr>
                      <a:r>
                        <a:rPr sz="600">
                          <a:latin typeface="Nexa Book"/>
                        </a:rPr>
                        <a:t>258%</a:t>
                      </a:r>
                    </a:p>
                  </a:txBody>
                  <a:tcPr marL="2858" marR="2858" marT="2858" marB="0" anchor="ctr">
                    <a:noFill/>
                  </a:tcPr>
                </a:tc>
                <a:tc>
                  <a:txBody>
                    <a:bodyPr/>
                    <a:lstStyle/>
                    <a:p>
                      <a:pPr algn="ctr">
                        <a:defRPr sz="600">
                          <a:latin typeface="Nexa Book"/>
                        </a:defRPr>
                      </a:pPr>
                      <a:r>
                        <a:rPr sz="600">
                          <a:latin typeface="Nexa Book"/>
                        </a:rPr>
                        <a:t>328%</a:t>
                      </a:r>
                    </a:p>
                  </a:txBody>
                  <a:tcPr marL="2858" marR="2858" marT="2858" marB="0" anchor="ctr">
                    <a:noFill/>
                  </a:tcPr>
                </a:tc>
                <a:tc>
                  <a:txBody>
                    <a:bodyPr/>
                    <a:lstStyle/>
                    <a:p>
                      <a:pPr algn="ctr">
                        <a:defRPr sz="600">
                          <a:latin typeface="Nexa Book"/>
                        </a:defRPr>
                      </a:pPr>
                      <a:r>
                        <a:rPr sz="600">
                          <a:latin typeface="Nexa Book"/>
                        </a:rPr>
                        <a:t>645859</a:t>
                      </a:r>
                    </a:p>
                  </a:txBody>
                  <a:tcPr marL="2858" marR="2858" marT="2858" marB="0" anchor="ctr">
                    <a:noFill/>
                  </a:tcPr>
                </a:tc>
                <a:tc>
                  <a:txBody>
                    <a:bodyPr/>
                    <a:lstStyle/>
                    <a:p>
                      <a:pPr algn="ctr">
                        <a:defRPr sz="600">
                          <a:latin typeface="Nexa Book"/>
                        </a:defRPr>
                      </a:pPr>
                      <a:r>
                        <a:rPr sz="600">
                          <a:latin typeface="Nexa Book"/>
                        </a:rPr>
                        <a:t>357%</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61.18</a:t>
                      </a:r>
                    </a:p>
                  </a:txBody>
                  <a:tcPr marL="2858" marR="2858" marT="2858" marB="0" anchor="ctr">
                    <a:noFill/>
                  </a:tcPr>
                </a:tc>
                <a:tc>
                  <a:txBody>
                    <a:bodyPr/>
                    <a:lstStyle/>
                    <a:p>
                      <a:pPr algn="ctr">
                        <a:defRPr sz="600">
                          <a:latin typeface="Nexa Book"/>
                        </a:defRPr>
                      </a:pPr>
                      <a:r>
                        <a:rPr sz="600">
                          <a:latin typeface="Nexa Book"/>
                        </a:rPr>
                        <a:t> 55.19</a:t>
                      </a:r>
                    </a:p>
                  </a:txBody>
                  <a:tcPr marL="2858" marR="2858" marT="2858" marB="0" anchor="ctr">
                    <a:noFill/>
                  </a:tcPr>
                </a:tc>
                <a:tc>
                  <a:txBody>
                    <a:bodyPr/>
                    <a:lstStyle/>
                    <a:p>
                      <a:pPr algn="ctr">
                        <a:defRPr sz="600">
                          <a:latin typeface="Nexa Book"/>
                        </a:defRPr>
                      </a:pPr>
                      <a:r>
                        <a:rPr sz="600">
                          <a:latin typeface="Nexa Book"/>
                        </a:rPr>
                        <a:t>1'627'791</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633737</a:t>
                      </a:r>
                    </a:p>
                  </a:txBody>
                  <a:tcPr marL="2858" marR="2858" marT="2858" marB="0" anchor="ctr">
                    <a:noFill/>
                  </a:tcPr>
                </a:tc>
                <a:tc>
                  <a:txBody>
                    <a:bodyPr/>
                    <a:lstStyle/>
                    <a:p>
                      <a:pPr algn="ctr">
                        <a:defRPr sz="600">
                          <a:latin typeface="Nexa Book"/>
                        </a:defRPr>
                      </a:pPr>
                      <a:r>
                        <a:rPr sz="600">
                          <a:latin typeface="Nexa Book"/>
                        </a:rPr>
                        <a:t>381%</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6.60</a:t>
                      </a:r>
                    </a:p>
                  </a:txBody>
                  <a:tcPr marL="2858" marR="2858" marT="2858" marB="0" anchor="ctr">
                    <a:noFill/>
                  </a:tcPr>
                </a:tc>
                <a:tc>
                  <a:txBody>
                    <a:bodyPr/>
                    <a:lstStyle/>
                    <a:p>
                      <a:pPr algn="ctr">
                        <a:defRPr sz="600">
                          <a:latin typeface="Nexa Book"/>
                        </a:defRPr>
                      </a:pPr>
                      <a:r>
                        <a:rPr sz="600">
                          <a:latin typeface="Nexa Book"/>
                        </a:rPr>
                        <a:t> 39.74</a:t>
                      </a:r>
                    </a:p>
                  </a:txBody>
                  <a:tcPr marL="2858" marR="2858" marT="2858" marB="0" anchor="ctr">
                    <a:noFill/>
                  </a:tcPr>
                </a:tc>
                <a:tc>
                  <a:txBody>
                    <a:bodyPr/>
                    <a:lstStyle/>
                    <a:p>
                      <a:pPr algn="ctr">
                        <a:defRPr sz="600">
                          <a:latin typeface="Nexa Book"/>
                        </a:defRPr>
                      </a:pPr>
                      <a:r>
                        <a:rPr sz="600">
                          <a:latin typeface="Nexa Book"/>
                        </a:rPr>
                        <a:t>733'592</a:t>
                      </a:r>
                    </a:p>
                  </a:txBody>
                  <a:tcPr marL="2858" marR="2858" marT="2858" marB="0" anchor="ctr">
                    <a:noFill/>
                  </a:tcPr>
                </a:tc>
                <a:tc>
                  <a:txBody>
                    <a:bodyPr/>
                    <a:lstStyle/>
                    <a:p>
                      <a:pPr algn="ctr">
                        <a:defRPr sz="600">
                          <a:latin typeface="Nexa Book"/>
                        </a:defRPr>
                      </a:pPr>
                      <a:r>
                        <a:rPr sz="600">
                          <a:latin typeface="Nexa Book"/>
                        </a:rPr>
                        <a:t>279%</a:t>
                      </a:r>
                    </a:p>
                  </a:txBody>
                  <a:tcPr marL="2858" marR="2858" marT="2858" marB="0" anchor="ctr">
                    <a:noFill/>
                  </a:tcPr>
                </a:tc>
                <a:tc>
                  <a:txBody>
                    <a:bodyPr/>
                    <a:lstStyle/>
                    <a:p>
                      <a:pPr algn="ctr">
                        <a:defRPr sz="600">
                          <a:latin typeface="Nexa Book"/>
                        </a:defRPr>
                      </a:pPr>
                      <a:r>
                        <a:rPr sz="600">
                          <a:latin typeface="Nexa Book"/>
                        </a:rPr>
                        <a:t>322%</a:t>
                      </a:r>
                    </a:p>
                  </a:txBody>
                  <a:tcPr marL="2858" marR="2858" marT="2858" marB="0" anchor="ctr">
                    <a:noFill/>
                  </a:tcPr>
                </a:tc>
                <a:tc>
                  <a:txBody>
                    <a:bodyPr/>
                    <a:lstStyle/>
                    <a:p>
                      <a:pPr algn="ctr">
                        <a:defRPr sz="600">
                          <a:latin typeface="Nexa Book"/>
                        </a:defRPr>
                      </a:pPr>
                      <a:r>
                        <a:rPr sz="600">
                          <a:latin typeface="Nexa Book"/>
                        </a:rPr>
                        <a:t>590640</a:t>
                      </a:r>
                    </a:p>
                  </a:txBody>
                  <a:tcPr marL="2858" marR="2858" marT="2858" marB="0" anchor="ctr">
                    <a:noFill/>
                  </a:tcPr>
                </a:tc>
                <a:tc>
                  <a:txBody>
                    <a:bodyPr/>
                    <a:lstStyle/>
                    <a:p>
                      <a:pPr algn="ctr">
                        <a:defRPr sz="600">
                          <a:latin typeface="Nexa Book"/>
                        </a:defRPr>
                      </a:pPr>
                      <a:r>
                        <a:rPr sz="600">
                          <a:latin typeface="Nexa Book"/>
                        </a:rPr>
                        <a:t>565%</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6.12</a:t>
                      </a:r>
                    </a:p>
                  </a:txBody>
                  <a:tcPr marL="2858" marR="2858" marT="2858" marB="0" anchor="ctr">
                    <a:noFill/>
                  </a:tcPr>
                </a:tc>
                <a:tc>
                  <a:txBody>
                    <a:bodyPr/>
                    <a:lstStyle/>
                    <a:p>
                      <a:pPr algn="ctr">
                        <a:defRPr sz="600">
                          <a:latin typeface="Nexa Book"/>
                        </a:defRPr>
                      </a:pPr>
                      <a:r>
                        <a:rPr sz="600">
                          <a:latin typeface="Nexa Book"/>
                        </a:rPr>
                        <a:t> 28.00</a:t>
                      </a:r>
                    </a:p>
                  </a:txBody>
                  <a:tcPr marL="2858" marR="2858" marT="2858" marB="0" anchor="ctr">
                    <a:noFill/>
                  </a:tcPr>
                </a:tc>
                <a:tc>
                  <a:txBody>
                    <a:bodyPr/>
                    <a:lstStyle/>
                    <a:p>
                      <a:pPr algn="ctr">
                        <a:defRPr sz="600">
                          <a:latin typeface="Nexa Book"/>
                        </a:defRPr>
                      </a:pPr>
                      <a:r>
                        <a:rPr sz="600">
                          <a:latin typeface="Nexa Book"/>
                        </a:rPr>
                        <a:t>627'093</a:t>
                      </a:r>
                    </a:p>
                  </a:txBody>
                  <a:tcPr marL="2858" marR="2858" marT="2858" marB="0" anchor="ctr">
                    <a:noFill/>
                  </a:tcPr>
                </a:tc>
                <a:tc>
                  <a:txBody>
                    <a:bodyPr/>
                    <a:lstStyle/>
                    <a:p>
                      <a:pPr algn="ctr">
                        <a:defRPr sz="600">
                          <a:latin typeface="Nexa Book"/>
                        </a:defRPr>
                      </a:pPr>
                      <a:r>
                        <a:rPr sz="600">
                          <a:latin typeface="Nexa Book"/>
                        </a:rPr>
                        <a:t>465%</a:t>
                      </a:r>
                    </a:p>
                  </a:txBody>
                  <a:tcPr marL="2858" marR="2858" marT="2858" marB="0" anchor="ctr">
                    <a:noFill/>
                  </a:tcPr>
                </a:tc>
                <a:tc>
                  <a:txBody>
                    <a:bodyPr/>
                    <a:lstStyle/>
                    <a:p>
                      <a:pPr algn="ctr">
                        <a:defRPr sz="600">
                          <a:latin typeface="Nexa Book"/>
                        </a:defRPr>
                      </a:pPr>
                      <a:r>
                        <a:rPr sz="600">
                          <a:latin typeface="Nexa Book"/>
                        </a:rPr>
                        <a:t>615%</a:t>
                      </a:r>
                    </a:p>
                  </a:txBody>
                  <a:tcPr marL="2858" marR="2858" marT="2858" marB="0" anchor="ctr">
                    <a:noFill/>
                  </a:tcPr>
                </a:tc>
                <a:tc>
                  <a:txBody>
                    <a:bodyPr/>
                    <a:lstStyle/>
                    <a:p>
                      <a:pPr algn="ctr">
                        <a:defRPr sz="600">
                          <a:latin typeface="Nexa Book"/>
                        </a:defRPr>
                      </a:pPr>
                      <a:r>
                        <a:rPr sz="600">
                          <a:latin typeface="Nexa Book"/>
                        </a:rPr>
                        <a:t>538344</a:t>
                      </a:r>
                    </a:p>
                  </a:txBody>
                  <a:tcPr marL="2858" marR="2858" marT="2858" marB="0" anchor="ctr">
                    <a:noFill/>
                  </a:tcPr>
                </a:tc>
                <a:tc>
                  <a:txBody>
                    <a:bodyPr/>
                    <a:lstStyle/>
                    <a:p>
                      <a:pPr algn="ctr">
                        <a:defRPr sz="600">
                          <a:latin typeface="Nexa Book"/>
                        </a:defRPr>
                      </a:pPr>
                      <a:r>
                        <a:rPr sz="600">
                          <a:latin typeface="Nexa Book"/>
                        </a:rPr>
                        <a:t>295%</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 33.53</a:t>
                      </a:r>
                    </a:p>
                  </a:txBody>
                  <a:tcPr marL="2858" marR="2858" marT="2858" marB="0" anchor="ctr">
                    <a:noFill/>
                  </a:tcPr>
                </a:tc>
                <a:tc>
                  <a:txBody>
                    <a:bodyPr/>
                    <a:lstStyle/>
                    <a:p>
                      <a:pPr algn="ctr">
                        <a:defRPr sz="600">
                          <a:latin typeface="Nexa Book"/>
                        </a:defRPr>
                      </a:pPr>
                      <a:r>
                        <a:rPr sz="600">
                          <a:latin typeface="Nexa Book"/>
                        </a:rPr>
                        <a:t> 29.62</a:t>
                      </a:r>
                    </a:p>
                  </a:txBody>
                  <a:tcPr marL="2858" marR="2858" marT="2858" marB="0" anchor="ctr">
                    <a:noFill/>
                  </a:tcPr>
                </a:tc>
                <a:tc>
                  <a:txBody>
                    <a:bodyPr/>
                    <a:lstStyle/>
                    <a:p>
                      <a:pPr algn="ctr">
                        <a:defRPr sz="600">
                          <a:latin typeface="Nexa Book"/>
                        </a:defRPr>
                      </a:pPr>
                      <a:r>
                        <a:rPr sz="600">
                          <a:latin typeface="Nexa Book"/>
                        </a:rPr>
                        <a:t>998'934</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435652</a:t>
                      </a:r>
                    </a:p>
                  </a:txBody>
                  <a:tcPr marL="2858" marR="2858" marT="2858" marB="0" anchor="ctr">
                    <a:noFill/>
                  </a:tcPr>
                </a:tc>
                <a:tc>
                  <a:txBody>
                    <a:bodyPr/>
                    <a:lstStyle/>
                    <a:p>
                      <a:pPr algn="ctr">
                        <a:defRPr sz="600">
                          <a:latin typeface="Nexa Book"/>
                        </a:defRPr>
                      </a:pPr>
                      <a:r>
                        <a:rPr sz="600">
                          <a:latin typeface="Nexa Book"/>
                        </a:rPr>
                        <a:t>32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49.07</a:t>
                      </a:r>
                    </a:p>
                  </a:txBody>
                  <a:tcPr marL="2858" marR="2858" marT="2858" marB="0" anchor="ctr">
                    <a:noFill/>
                  </a:tcPr>
                </a:tc>
                <a:tc>
                  <a:txBody>
                    <a:bodyPr/>
                    <a:lstStyle/>
                    <a:p>
                      <a:pPr algn="ctr">
                        <a:defRPr sz="600">
                          <a:latin typeface="Nexa Book"/>
                        </a:defRPr>
                      </a:pPr>
                      <a:r>
                        <a:rPr sz="600">
                          <a:latin typeface="Nexa Book"/>
                        </a:rPr>
                        <a:t> 44.09</a:t>
                      </a:r>
                    </a:p>
                  </a:txBody>
                  <a:tcPr marL="2858" marR="2858" marT="2858" marB="0" anchor="ctr">
                    <a:noFill/>
                  </a:tcPr>
                </a:tc>
                <a:tc>
                  <a:txBody>
                    <a:bodyPr/>
                    <a:lstStyle/>
                    <a:p>
                      <a:pPr algn="ctr">
                        <a:defRPr sz="600">
                          <a:latin typeface="Nexa Book"/>
                        </a:defRPr>
                      </a:pPr>
                      <a:r>
                        <a:rPr sz="600">
                          <a:latin typeface="Nexa Book"/>
                        </a:rPr>
                        <a:t>601'980</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182%</a:t>
                      </a:r>
                    </a:p>
                  </a:txBody>
                  <a:tcPr marL="2858" marR="2858" marT="2858" marB="0" anchor="ctr">
                    <a:noFill/>
                  </a:tcPr>
                </a:tc>
                <a:tc>
                  <a:txBody>
                    <a:bodyPr/>
                    <a:lstStyle/>
                    <a:p>
                      <a:pPr algn="ctr">
                        <a:defRPr sz="600">
                          <a:latin typeface="Nexa Book"/>
                        </a:defRPr>
                      </a:pPr>
                      <a:r>
                        <a:rPr sz="600">
                          <a:latin typeface="Nexa Book"/>
                        </a:rPr>
                        <a:t>407739</a:t>
                      </a:r>
                    </a:p>
                  </a:txBody>
                  <a:tcPr marL="2858" marR="2858" marT="2858" marB="0" anchor="ctr">
                    <a:noFill/>
                  </a:tcPr>
                </a:tc>
                <a:tc>
                  <a:txBody>
                    <a:bodyPr/>
                    <a:lstStyle/>
                    <a:p>
                      <a:pPr algn="ctr">
                        <a:defRPr sz="600">
                          <a:latin typeface="Nexa Book"/>
                        </a:defRPr>
                      </a:pPr>
                      <a:r>
                        <a:rPr sz="600">
                          <a:latin typeface="Nexa Book"/>
                        </a:rPr>
                        <a:t>599%</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35.00</a:t>
                      </a:r>
                    </a:p>
                  </a:txBody>
                  <a:tcPr marL="2858" marR="2858" marT="2858" marB="0" anchor="ctr">
                    <a:noFill/>
                  </a:tcPr>
                </a:tc>
                <a:tc>
                  <a:txBody>
                    <a:bodyPr/>
                    <a:lstStyle/>
                    <a:p>
                      <a:pPr algn="ctr">
                        <a:defRPr sz="600">
                          <a:latin typeface="Nexa Book"/>
                        </a:defRPr>
                      </a:pPr>
                      <a:r>
                        <a:rPr sz="600">
                          <a:latin typeface="Nexa Book"/>
                        </a:rPr>
                        <a:t> 29.52</a:t>
                      </a:r>
                    </a:p>
                  </a:txBody>
                  <a:tcPr marL="2858" marR="2858" marT="2858" marB="0" anchor="ctr">
                    <a:noFill/>
                  </a:tcPr>
                </a:tc>
                <a:tc>
                  <a:txBody>
                    <a:bodyPr/>
                    <a:lstStyle/>
                    <a:p>
                      <a:pPr algn="ctr">
                        <a:defRPr sz="600">
                          <a:latin typeface="Nexa Book"/>
                        </a:defRPr>
                      </a:pPr>
                      <a:r>
                        <a:rPr sz="600">
                          <a:latin typeface="Nexa Book"/>
                        </a:rPr>
                        <a:t>593'24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352578</a:t>
                      </a:r>
                    </a:p>
                  </a:txBody>
                  <a:tcPr marL="2858" marR="2858" marT="2858" marB="0" anchor="ctr">
                    <a:noFill/>
                  </a:tcPr>
                </a:tc>
                <a:tc>
                  <a:txBody>
                    <a:bodyPr/>
                    <a:lstStyle/>
                    <a:p>
                      <a:pPr algn="ctr">
                        <a:defRPr sz="600">
                          <a:latin typeface="Nexa Book"/>
                        </a:defRPr>
                      </a:pPr>
                      <a:r>
                        <a:rPr sz="600">
                          <a:latin typeface="Nexa Book"/>
                        </a:rPr>
                        <a:t>31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 39.75</a:t>
                      </a:r>
                    </a:p>
                  </a:txBody>
                  <a:tcPr marL="2858" marR="2858" marT="2858" marB="0" anchor="ctr">
                    <a:noFill/>
                  </a:tcPr>
                </a:tc>
                <a:tc>
                  <a:txBody>
                    <a:bodyPr/>
                    <a:lstStyle/>
                    <a:p>
                      <a:pPr algn="ctr">
                        <a:defRPr sz="600">
                          <a:latin typeface="Nexa Book"/>
                        </a:defRPr>
                      </a:pPr>
                      <a:r>
                        <a:rPr sz="600">
                          <a:latin typeface="Nexa Book"/>
                        </a:rPr>
                        <a:t> 35.01</a:t>
                      </a:r>
                    </a:p>
                  </a:txBody>
                  <a:tcPr marL="2858" marR="2858" marT="2858" marB="0" anchor="ctr">
                    <a:noFill/>
                  </a:tcPr>
                </a:tc>
                <a:tc>
                  <a:txBody>
                    <a:bodyPr/>
                    <a:lstStyle/>
                    <a:p>
                      <a:pPr algn="ctr">
                        <a:defRPr sz="600">
                          <a:latin typeface="Nexa Book"/>
                        </a:defRPr>
                      </a:pPr>
                      <a:r>
                        <a:rPr sz="600">
                          <a:latin typeface="Nexa Book"/>
                        </a:rPr>
                        <a:t>465'086</a:t>
                      </a:r>
                    </a:p>
                  </a:txBody>
                  <a:tcPr marL="2858" marR="2858" marT="2858" marB="0" anchor="ctr">
                    <a:noFill/>
                  </a:tcPr>
                </a:tc>
                <a:tc>
                  <a:txBody>
                    <a:bodyPr/>
                    <a:lstStyle/>
                    <a:p>
                      <a:pPr algn="ctr">
                        <a:defRPr sz="600">
                          <a:latin typeface="Nexa Book"/>
                        </a:defRPr>
                      </a:pPr>
                      <a:r>
                        <a:rPr sz="600">
                          <a:latin typeface="Nexa Book"/>
                        </a:rPr>
                        <a:t>208%</a:t>
                      </a:r>
                    </a:p>
                  </a:txBody>
                  <a:tcPr marL="2858" marR="2858" marT="2858" marB="0" anchor="ctr">
                    <a:noFill/>
                  </a:tcPr>
                </a:tc>
                <a:tc>
                  <a:txBody>
                    <a:bodyPr/>
                    <a:lstStyle/>
                    <a:p>
                      <a:pPr algn="ctr">
                        <a:defRPr sz="600">
                          <a:latin typeface="Nexa Book"/>
                        </a:defRPr>
                      </a:pPr>
                      <a:r>
                        <a:rPr sz="600">
                          <a:latin typeface="Nexa Book"/>
                        </a:rPr>
                        <a:t>243%</a:t>
                      </a:r>
                    </a:p>
                  </a:txBody>
                  <a:tcPr marL="2858" marR="2858" marT="2858" marB="0" anchor="ctr">
                    <a:noFill/>
                  </a:tcPr>
                </a:tc>
                <a:tc>
                  <a:txBody>
                    <a:bodyPr/>
                    <a:lstStyle/>
                    <a:p>
                      <a:pPr algn="ctr">
                        <a:defRPr sz="600">
                          <a:latin typeface="Nexa Book"/>
                        </a:defRPr>
                      </a:pPr>
                      <a:r>
                        <a:rPr sz="600">
                          <a:latin typeface="Nexa Book"/>
                        </a:rPr>
                        <a:t>340968</a:t>
                      </a:r>
                    </a:p>
                  </a:txBody>
                  <a:tcPr marL="2858" marR="2858" marT="2858" marB="0" anchor="ctr">
                    <a:noFill/>
                  </a:tcPr>
                </a:tc>
                <a:tc>
                  <a:txBody>
                    <a:bodyPr/>
                    <a:lstStyle/>
                    <a:p>
                      <a:pPr algn="ctr">
                        <a:defRPr sz="600">
                          <a:latin typeface="Nexa Book"/>
                        </a:defRPr>
                      </a:pPr>
                      <a:r>
                        <a:rPr sz="600">
                          <a:latin typeface="Nexa Book"/>
                        </a:rPr>
                        <a:t>555%</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1.48</a:t>
                      </a:r>
                    </a:p>
                  </a:txBody>
                  <a:tcPr marL="2858" marR="2858" marT="2858" marB="0" anchor="ctr">
                    <a:noFill/>
                  </a:tcPr>
                </a:tc>
                <a:tc>
                  <a:txBody>
                    <a:bodyPr/>
                    <a:lstStyle/>
                    <a:p>
                      <a:pPr algn="ctr">
                        <a:defRPr sz="600">
                          <a:latin typeface="Nexa Book"/>
                        </a:defRPr>
                      </a:pPr>
                      <a:r>
                        <a:rPr sz="600">
                          <a:latin typeface="Nexa Book"/>
                        </a:rPr>
                        <a:t> 55.22</a:t>
                      </a:r>
                    </a:p>
                  </a:txBody>
                  <a:tcPr marL="2858" marR="2858" marT="2858" marB="0" anchor="ctr">
                    <a:noFill/>
                  </a:tcPr>
                </a:tc>
                <a:tc>
                  <a:txBody>
                    <a:bodyPr/>
                    <a:lstStyle/>
                    <a:p>
                      <a:pPr algn="ctr">
                        <a:defRPr sz="600">
                          <a:latin typeface="Nexa Book"/>
                        </a:defRPr>
                      </a:pPr>
                      <a:r>
                        <a:rPr sz="600">
                          <a:latin typeface="Nexa Book"/>
                        </a:rPr>
                        <a:t>452'222</a:t>
                      </a:r>
                    </a:p>
                  </a:txBody>
                  <a:tcPr marL="2858" marR="2858" marT="2858" marB="0" anchor="ctr">
                    <a:noFill/>
                  </a:tcPr>
                </a:tc>
                <a:tc>
                  <a:txBody>
                    <a:bodyPr/>
                    <a:lstStyle/>
                    <a:p>
                      <a:pPr algn="ctr">
                        <a:defRPr sz="600">
                          <a:latin typeface="Nexa Book"/>
                        </a:defRPr>
                      </a:pPr>
                      <a:r>
                        <a:rPr sz="600">
                          <a:latin typeface="Nexa Book"/>
                        </a:rPr>
                        <a:t>138%</a:t>
                      </a:r>
                    </a:p>
                  </a:txBody>
                  <a:tcPr marL="2858" marR="2858" marT="2858" marB="0" anchor="ctr">
                    <a:noFill/>
                  </a:tcPr>
                </a:tc>
                <a:tc>
                  <a:txBody>
                    <a:bodyPr/>
                    <a:lstStyle/>
                    <a:p>
                      <a:pPr algn="ctr">
                        <a:defRPr sz="600">
                          <a:latin typeface="Nexa Book"/>
                        </a:defRPr>
                      </a:pPr>
                      <a:r>
                        <a:rPr sz="600">
                          <a:latin typeface="Nexa Book"/>
                        </a:rPr>
                        <a:t>161%</a:t>
                      </a:r>
                    </a:p>
                  </a:txBody>
                  <a:tcPr marL="2858" marR="2858" marT="2858" marB="0" anchor="ctr">
                    <a:noFill/>
                  </a:tcPr>
                </a:tc>
                <a:tc>
                  <a:txBody>
                    <a:bodyPr/>
                    <a:lstStyle/>
                    <a:p>
                      <a:pPr algn="ctr">
                        <a:defRPr sz="600">
                          <a:latin typeface="Nexa Book"/>
                        </a:defRPr>
                      </a:pPr>
                      <a:r>
                        <a:rPr sz="600">
                          <a:latin typeface="Nexa Book"/>
                        </a:rPr>
                        <a:t>285167</a:t>
                      </a:r>
                    </a:p>
                  </a:txBody>
                  <a:tcPr marL="2858" marR="2858" marT="2858" marB="0" anchor="ctr">
                    <a:noFill/>
                  </a:tcPr>
                </a:tc>
                <a:tc>
                  <a:txBody>
                    <a:bodyPr/>
                    <a:lstStyle/>
                    <a:p>
                      <a:pPr algn="ctr">
                        <a:defRPr sz="600">
                          <a:latin typeface="Nexa Book"/>
                        </a:defRPr>
                      </a:pPr>
                      <a:r>
                        <a:rPr sz="600">
                          <a:latin typeface="Nexa Book"/>
                        </a:rPr>
                        <a:t>565%</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0.89</a:t>
                      </a:r>
                    </a:p>
                  </a:txBody>
                  <a:tcPr marL="2858" marR="2858" marT="2858" marB="0" anchor="ctr">
                    <a:noFill/>
                  </a:tcPr>
                </a:tc>
                <a:tc>
                  <a:txBody>
                    <a:bodyPr/>
                    <a:lstStyle/>
                    <a:p>
                      <a:pPr algn="ctr">
                        <a:defRPr sz="600">
                          <a:latin typeface="Nexa Book"/>
                        </a:defRPr>
                      </a:pPr>
                      <a:r>
                        <a:rPr sz="600">
                          <a:latin typeface="Nexa Book"/>
                        </a:rPr>
                        <a:t> 36.68</a:t>
                      </a:r>
                    </a:p>
                  </a:txBody>
                  <a:tcPr marL="2858" marR="2858" marT="2858" marB="0" anchor="ctr">
                    <a:noFill/>
                  </a:tcPr>
                </a:tc>
                <a:tc>
                  <a:txBody>
                    <a:bodyPr/>
                    <a:lstStyle/>
                    <a:p>
                      <a:pPr algn="ctr">
                        <a:defRPr sz="600">
                          <a:latin typeface="Nexa Book"/>
                        </a:defRPr>
                      </a:pPr>
                      <a:r>
                        <a:rPr sz="600">
                          <a:latin typeface="Nexa Book"/>
                        </a:rPr>
                        <a:t>643'429</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76%</a:t>
                      </a:r>
                    </a:p>
                  </a:txBody>
                  <a:tcPr marL="2858" marR="2858" marT="2858" marB="0" anchor="ctr">
                    <a:noFill/>
                  </a:tcPr>
                </a:tc>
                <a:tc>
                  <a:txBody>
                    <a:bodyPr/>
                    <a:lstStyle/>
                    <a:p>
                      <a:pPr algn="ctr">
                        <a:defRPr sz="600">
                          <a:latin typeface="Nexa Book"/>
                        </a:defRPr>
                      </a:pPr>
                      <a:r>
                        <a:rPr sz="600">
                          <a:latin typeface="Nexa Book"/>
                        </a:rPr>
                        <a:t>261904</a:t>
                      </a:r>
                    </a:p>
                  </a:txBody>
                  <a:tcPr marL="2858" marR="2858" marT="2858" marB="0" anchor="ctr">
                    <a:noFill/>
                  </a:tcPr>
                </a:tc>
                <a:tc>
                  <a:txBody>
                    <a:bodyPr/>
                    <a:lstStyle/>
                    <a:p>
                      <a:pPr algn="ctr">
                        <a:defRPr sz="600">
                          <a:latin typeface="Nexa Book"/>
                        </a:defRPr>
                      </a:pPr>
                      <a:r>
                        <a:rPr sz="600">
                          <a:latin typeface="Nexa Book"/>
                        </a:rPr>
                        <a:t>35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39.66</a:t>
                      </a:r>
                    </a:p>
                  </a:txBody>
                  <a:tcPr marL="2858" marR="2858" marT="2858" marB="0" anchor="ctr">
                    <a:noFill/>
                  </a:tcPr>
                </a:tc>
                <a:tc>
                  <a:txBody>
                    <a:bodyPr/>
                    <a:lstStyle/>
                    <a:p>
                      <a:pPr algn="ctr">
                        <a:defRPr sz="600">
                          <a:latin typeface="Nexa Book"/>
                        </a:defRPr>
                      </a:pPr>
                      <a:r>
                        <a:rPr sz="600">
                          <a:latin typeface="Nexa Book"/>
                        </a:rPr>
                        <a:t> 35.58</a:t>
                      </a:r>
                    </a:p>
                  </a:txBody>
                  <a:tcPr marL="2858" marR="2858" marT="2858" marB="0" anchor="ctr">
                    <a:noFill/>
                  </a:tcPr>
                </a:tc>
                <a:tc>
                  <a:txBody>
                    <a:bodyPr/>
                    <a:lstStyle/>
                    <a:p>
                      <a:pPr algn="ctr">
                        <a:defRPr sz="600">
                          <a:latin typeface="Nexa Book"/>
                        </a:defRPr>
                      </a:pPr>
                      <a:r>
                        <a:rPr sz="600">
                          <a:latin typeface="Nexa Book"/>
                        </a:rPr>
                        <a:t>387'593</a:t>
                      </a:r>
                    </a:p>
                  </a:txBody>
                  <a:tcPr marL="2858" marR="2858" marT="2858" marB="0" anchor="ctr">
                    <a:noFill/>
                  </a:tcPr>
                </a:tc>
                <a:tc>
                  <a:txBody>
                    <a:bodyPr/>
                    <a:lstStyle/>
                    <a:p>
                      <a:pPr algn="ctr">
                        <a:defRPr sz="600">
                          <a:latin typeface="Nexa Book"/>
                        </a:defRPr>
                      </a:pPr>
                      <a:r>
                        <a:rPr sz="600">
                          <a:latin typeface="Nexa Book"/>
                        </a:rPr>
                        <a:t>146%</a:t>
                      </a:r>
                    </a:p>
                  </a:txBody>
                  <a:tcPr marL="2858" marR="2858" marT="2858" marB="0" anchor="ctr">
                    <a:noFill/>
                  </a:tcPr>
                </a:tc>
                <a:tc>
                  <a:txBody>
                    <a:bodyPr/>
                    <a:lstStyle/>
                    <a:p>
                      <a:pPr algn="ctr">
                        <a:defRPr sz="600">
                          <a:latin typeface="Nexa Book"/>
                        </a:defRPr>
                      </a:pPr>
                      <a:r>
                        <a:rPr sz="600">
                          <a:latin typeface="Nexa Book"/>
                        </a:rPr>
                        <a:t>170%</a:t>
                      </a:r>
                    </a:p>
                  </a:txBody>
                  <a:tcPr marL="2858" marR="2858" marT="2858" marB="0" anchor="ctr">
                    <a:noFill/>
                  </a:tcPr>
                </a:tc>
                <a:tc>
                  <a:txBody>
                    <a:bodyPr/>
                    <a:lstStyle/>
                    <a:p>
                      <a:pPr algn="ctr">
                        <a:defRPr sz="600">
                          <a:latin typeface="Nexa Book"/>
                        </a:defRPr>
                      </a:pPr>
                      <a:r>
                        <a:rPr sz="600">
                          <a:latin typeface="Nexa Book"/>
                        </a:rPr>
                        <a:t>254820</a:t>
                      </a:r>
                    </a:p>
                  </a:txBody>
                  <a:tcPr marL="2858" marR="2858" marT="2858" marB="0" anchor="ctr">
                    <a:noFill/>
                  </a:tcPr>
                </a:tc>
                <a:tc>
                  <a:txBody>
                    <a:bodyPr/>
                    <a:lstStyle/>
                    <a:p>
                      <a:pPr algn="ctr">
                        <a:defRPr sz="600">
                          <a:latin typeface="Nexa Book"/>
                        </a:defRPr>
                      </a:pPr>
                      <a:r>
                        <a:rPr sz="600">
                          <a:latin typeface="Nexa Book"/>
                        </a:rPr>
                        <a:t>58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4.92</a:t>
                      </a:r>
                    </a:p>
                  </a:txBody>
                  <a:tcPr marL="2858" marR="2858" marT="2858" marB="0" anchor="ctr">
                    <a:noFill/>
                  </a:tcPr>
                </a:tc>
                <a:tc>
                  <a:txBody>
                    <a:bodyPr/>
                    <a:lstStyle/>
                    <a:p>
                      <a:pPr algn="ctr">
                        <a:defRPr sz="600">
                          <a:latin typeface="Nexa Book"/>
                        </a:defRPr>
                      </a:pPr>
                      <a:r>
                        <a:rPr sz="600">
                          <a:latin typeface="Nexa Book"/>
                        </a:rPr>
                        <a:t> 58.70</a:t>
                      </a:r>
                    </a:p>
                  </a:txBody>
                  <a:tcPr marL="2858" marR="2858" marT="2858" marB="0" anchor="ctr">
                    <a:noFill/>
                  </a:tcPr>
                </a:tc>
                <a:tc>
                  <a:txBody>
                    <a:bodyPr/>
                    <a:lstStyle/>
                    <a:p>
                      <a:pPr algn="ctr">
                        <a:defRPr sz="600">
                          <a:latin typeface="Nexa Book"/>
                        </a:defRPr>
                      </a:pPr>
                      <a:r>
                        <a:rPr sz="600">
                          <a:latin typeface="Nexa Book"/>
                        </a:rPr>
                        <a:t>437'926</a:t>
                      </a:r>
                    </a:p>
                  </a:txBody>
                  <a:tcPr marL="2858" marR="2858" marT="2858" marB="0" anchor="ctr">
                    <a:noFill/>
                  </a:tcPr>
                </a:tc>
                <a:tc>
                  <a:txBody>
                    <a:bodyPr/>
                    <a:lstStyle/>
                    <a:p>
                      <a:pPr algn="ctr">
                        <a:defRPr sz="600">
                          <a:latin typeface="Nexa Book"/>
                        </a:defRPr>
                      </a:pPr>
                      <a:r>
                        <a:rPr sz="600">
                          <a:latin typeface="Nexa Book"/>
                        </a:rPr>
                        <a:t>87%</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225946</a:t>
                      </a:r>
                    </a:p>
                  </a:txBody>
                  <a:tcPr marL="2858" marR="2858" marT="2858" marB="0" anchor="ctr">
                    <a:noFill/>
                  </a:tcPr>
                </a:tc>
                <a:tc>
                  <a:txBody>
                    <a:bodyPr/>
                    <a:lstStyle/>
                    <a:p>
                      <a:pPr algn="ctr">
                        <a:defRPr sz="600">
                          <a:latin typeface="Nexa Book"/>
                        </a:defRPr>
                      </a:pPr>
                      <a:r>
                        <a:rPr sz="600">
                          <a:latin typeface="Nexa Book"/>
                        </a:rPr>
                        <a:t>49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47.05</a:t>
                      </a:r>
                    </a:p>
                  </a:txBody>
                  <a:tcPr marL="2858" marR="2858" marT="2858" marB="0" anchor="ctr">
                    <a:noFill/>
                  </a:tcPr>
                </a:tc>
                <a:tc>
                  <a:txBody>
                    <a:bodyPr/>
                    <a:lstStyle/>
                    <a:p>
                      <a:pPr algn="ctr">
                        <a:defRPr sz="600">
                          <a:latin typeface="Nexa Book"/>
                        </a:defRPr>
                      </a:pPr>
                      <a:r>
                        <a:rPr sz="600">
                          <a:latin typeface="Nexa Book"/>
                        </a:rPr>
                        <a:t> 40.59</a:t>
                      </a:r>
                    </a:p>
                  </a:txBody>
                  <a:tcPr marL="2858" marR="2858" marT="2858" marB="0" anchor="ctr">
                    <a:noFill/>
                  </a:tcPr>
                </a:tc>
                <a:tc>
                  <a:txBody>
                    <a:bodyPr/>
                    <a:lstStyle/>
                    <a:p>
                      <a:pPr algn="ctr">
                        <a:defRPr sz="600">
                          <a:latin typeface="Nexa Book"/>
                        </a:defRPr>
                      </a:pPr>
                      <a:r>
                        <a:rPr sz="600">
                          <a:latin typeface="Nexa Book"/>
                        </a:rPr>
                        <a:t>284'540</a:t>
                      </a:r>
                    </a:p>
                  </a:txBody>
                  <a:tcPr marL="2858" marR="2858" marT="2858" marB="0" anchor="ctr">
                    <a:noFill/>
                  </a:tcPr>
                </a:tc>
                <a:tc>
                  <a:txBody>
                    <a:bodyPr/>
                    <a:lstStyle/>
                    <a:p>
                      <a:pPr algn="ctr">
                        <a:defRPr sz="600">
                          <a:latin typeface="Nexa Book"/>
                        </a:defRPr>
                      </a:pPr>
                      <a:r>
                        <a:rPr sz="600">
                          <a:latin typeface="Nexa Book"/>
                        </a:rPr>
                        <a:t>223%</a:t>
                      </a:r>
                    </a:p>
                  </a:txBody>
                  <a:tcPr marL="2858" marR="2858" marT="2858" marB="0" anchor="ctr">
                    <a:noFill/>
                  </a:tcPr>
                </a:tc>
                <a:tc>
                  <a:txBody>
                    <a:bodyPr/>
                    <a:lstStyle/>
                    <a:p>
                      <a:pPr algn="ctr">
                        <a:defRPr sz="600">
                          <a:latin typeface="Nexa Book"/>
                        </a:defRPr>
                      </a:pPr>
                      <a:r>
                        <a:rPr sz="600">
                          <a:latin typeface="Nexa Book"/>
                        </a:rPr>
                        <a:t>263%</a:t>
                      </a:r>
                    </a:p>
                  </a:txBody>
                  <a:tcPr marL="2858" marR="2858" marT="2858" marB="0" anchor="ctr">
                    <a:noFill/>
                  </a:tcPr>
                </a:tc>
                <a:tc>
                  <a:txBody>
                    <a:bodyPr/>
                    <a:lstStyle/>
                    <a:p>
                      <a:pPr algn="ctr">
                        <a:defRPr sz="600">
                          <a:latin typeface="Nexa Book"/>
                        </a:defRPr>
                      </a:pPr>
                      <a:r>
                        <a:rPr sz="600">
                          <a:latin typeface="Nexa Book"/>
                        </a:rPr>
                        <a:t>216433</a:t>
                      </a:r>
                    </a:p>
                  </a:txBody>
                  <a:tcPr marL="2858" marR="2858" marT="2858" marB="0" anchor="ctr">
                    <a:noFill/>
                  </a:tcPr>
                </a:tc>
                <a:tc>
                  <a:txBody>
                    <a:bodyPr/>
                    <a:lstStyle/>
                    <a:p>
                      <a:pPr algn="ctr">
                        <a:defRPr sz="600">
                          <a:latin typeface="Nexa Book"/>
                        </a:defRPr>
                      </a:pPr>
                      <a:r>
                        <a:rPr sz="600">
                          <a:latin typeface="Nexa Book"/>
                        </a:rPr>
                        <a:t>471%</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Vesselle</a:t>
                      </a:r>
                    </a:p>
                  </a:txBody>
                  <a:tcPr marL="2858" marR="2858" marT="2858" marB="0" anchor="ctr">
                    <a:noFill/>
                  </a:tcPr>
                </a:tc>
                <a:tc>
                  <a:txBody>
                    <a:bodyPr/>
                    <a:lstStyle/>
                    <a:p>
                      <a:pPr algn="l">
                        <a:defRPr sz="600">
                          <a:latin typeface="Nexa Book"/>
                        </a:defRPr>
                      </a:pPr>
                      <a:r>
                        <a:rPr sz="600">
                          <a:latin typeface="Nexa Book"/>
                        </a:rPr>
                        <a:t>GEORGES VESSELLE GRD CR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 33.00</a:t>
                      </a:r>
                    </a:p>
                  </a:txBody>
                  <a:tcPr marL="2858" marR="2858" marT="2858" marB="0" anchor="ctr">
                    <a:noFill/>
                  </a:tcPr>
                </a:tc>
                <a:tc>
                  <a:txBody>
                    <a:bodyPr/>
                    <a:lstStyle/>
                    <a:p>
                      <a:pPr algn="ctr">
                        <a:defRPr sz="600">
                          <a:latin typeface="Nexa Book"/>
                        </a:defRPr>
                      </a:pPr>
                      <a:r>
                        <a:rPr sz="600">
                          <a:latin typeface="Nexa Book"/>
                        </a:rPr>
                        <a:t> 29.70</a:t>
                      </a:r>
                    </a:p>
                  </a:txBody>
                  <a:tcPr marL="2858" marR="2858" marT="2858" marB="0" anchor="ctr">
                    <a:noFill/>
                  </a:tcPr>
                </a:tc>
                <a:tc>
                  <a:txBody>
                    <a:bodyPr/>
                    <a:lstStyle/>
                    <a:p>
                      <a:pPr algn="ctr">
                        <a:defRPr sz="600">
                          <a:latin typeface="Nexa Book"/>
                        </a:defRPr>
                      </a:pPr>
                      <a:r>
                        <a:rPr sz="600">
                          <a:latin typeface="Nexa Book"/>
                        </a:rPr>
                        <a:t>293'047</a:t>
                      </a:r>
                    </a:p>
                  </a:txBody>
                  <a:tcPr marL="2858" marR="2858" marT="2858" marB="0" anchor="ctr">
                    <a:noFill/>
                  </a:tcPr>
                </a:tc>
                <a:tc>
                  <a:txBody>
                    <a:bodyPr/>
                    <a:lstStyle/>
                    <a:p>
                      <a:pPr algn="ctr">
                        <a:defRPr sz="600">
                          <a:latin typeface="Nexa Book"/>
                        </a:defRPr>
                      </a:pPr>
                      <a:r>
                        <a:rPr sz="600">
                          <a:latin typeface="Nexa Book"/>
                        </a:rPr>
                        <a:t>208%</a:t>
                      </a:r>
                    </a:p>
                  </a:txBody>
                  <a:tcPr marL="2858" marR="2858" marT="2858" marB="0" anchor="ctr">
                    <a:noFill/>
                  </a:tcPr>
                </a:tc>
                <a:tc>
                  <a:txBody>
                    <a:bodyPr/>
                    <a:lstStyle/>
                    <a:p>
                      <a:pPr algn="ctr">
                        <a:defRPr sz="600">
                          <a:latin typeface="Nexa Book"/>
                        </a:defRPr>
                      </a:pPr>
                      <a:r>
                        <a:rPr sz="600">
                          <a:latin typeface="Nexa Book"/>
                        </a:rPr>
                        <a:t>238%</a:t>
                      </a:r>
                    </a:p>
                  </a:txBody>
                  <a:tcPr marL="2858" marR="2858" marT="2858" marB="0" anchor="ctr">
                    <a:noFill/>
                  </a:tcPr>
                </a:tc>
                <a:tc>
                  <a:txBody>
                    <a:bodyPr/>
                    <a:lstStyle/>
                    <a:p>
                      <a:pPr algn="ctr">
                        <a:defRPr sz="600">
                          <a:latin typeface="Nexa Book"/>
                        </a:defRPr>
                      </a:pPr>
                      <a:r>
                        <a:rPr sz="600">
                          <a:latin typeface="Nexa Book"/>
                        </a:rPr>
                        <a:t>213739</a:t>
                      </a:r>
                    </a:p>
                  </a:txBody>
                  <a:tcPr marL="2858" marR="2858" marT="2858" marB="0" anchor="ctr">
                    <a:noFill/>
                  </a:tcPr>
                </a:tc>
                <a:tc>
                  <a:txBody>
                    <a:bodyPr/>
                    <a:lstStyle/>
                    <a:p>
                      <a:pPr algn="ctr">
                        <a:defRPr sz="600">
                          <a:latin typeface="Nexa Book"/>
                        </a:defRPr>
                      </a:pPr>
                      <a:r>
                        <a:rPr sz="600">
                          <a:latin typeface="Nexa Book"/>
                        </a:rPr>
                        <a:t>652%</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Campari: All Others</a:t>
                      </a:r>
                    </a:p>
                  </a:txBody>
                  <a:tcPr marL="2858" marR="2858" marT="2858" marB="0" anchor="ctr">
                    <a:noFill/>
                  </a:tcPr>
                </a:tc>
                <a:tc>
                  <a:txBody>
                    <a:bodyPr/>
                    <a:lstStyle/>
                    <a:p>
                      <a:pPr algn="l">
                        <a:defRPr sz="600">
                          <a:latin typeface="Nexa Book"/>
                        </a:defRPr>
                      </a:pPr>
                      <a:r>
                        <a:rPr sz="600">
                          <a:latin typeface="Nexa Book"/>
                        </a:rPr>
                        <a:t>CHAMPAGNE LALLIER SERIE R.021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 39.98</a:t>
                      </a:r>
                    </a:p>
                  </a:txBody>
                  <a:tcPr marL="2858" marR="2858" marT="2858" marB="0" anchor="ctr">
                    <a:noFill/>
                  </a:tcPr>
                </a:tc>
                <a:tc>
                  <a:txBody>
                    <a:bodyPr/>
                    <a:lstStyle/>
                    <a:p>
                      <a:pPr algn="ctr">
                        <a:defRPr sz="600">
                          <a:latin typeface="Nexa Book"/>
                        </a:defRPr>
                      </a:pPr>
                      <a:r>
                        <a:rPr sz="600">
                          <a:latin typeface="Nexa Book"/>
                        </a:rPr>
                        <a:t> 35.95</a:t>
                      </a:r>
                    </a:p>
                  </a:txBody>
                  <a:tcPr marL="2858" marR="2858" marT="2858" marB="0" anchor="ctr">
                    <a:noFill/>
                  </a:tcPr>
                </a:tc>
                <a:tc>
                  <a:txBody>
                    <a:bodyPr/>
                    <a:lstStyle/>
                    <a:p>
                      <a:pPr algn="ctr">
                        <a:defRPr sz="600">
                          <a:latin typeface="Nexa Book"/>
                        </a:defRPr>
                      </a:pPr>
                      <a:r>
                        <a:rPr sz="600">
                          <a:latin typeface="Nexa Book"/>
                        </a:rPr>
                        <a:t>228'375</a:t>
                      </a:r>
                    </a:p>
                  </a:txBody>
                  <a:tcPr marL="2858" marR="2858" marT="2858" marB="0" anchor="ctr">
                    <a:noFill/>
                  </a:tcPr>
                </a:tc>
                <a:tc>
                  <a:txBody>
                    <a:bodyPr/>
                    <a:lstStyle/>
                    <a:p>
                      <a:pPr algn="ctr">
                        <a:defRPr sz="600">
                          <a:latin typeface="Nexa Book"/>
                        </a:defRPr>
                      </a:pPr>
                      <a:r>
                        <a:rPr sz="600">
                          <a:latin typeface="Nexa Book"/>
                        </a:rPr>
                        <a:t>438%</a:t>
                      </a:r>
                    </a:p>
                  </a:txBody>
                  <a:tcPr marL="2858" marR="2858" marT="2858" marB="0" anchor="ctr">
                    <a:noFill/>
                  </a:tcPr>
                </a:tc>
                <a:tc>
                  <a:txBody>
                    <a:bodyPr/>
                    <a:lstStyle/>
                    <a:p>
                      <a:pPr algn="ctr">
                        <a:defRPr sz="600">
                          <a:latin typeface="Nexa Book"/>
                        </a:defRPr>
                      </a:pPr>
                      <a:r>
                        <a:rPr sz="600">
                          <a:latin typeface="Nexa Book"/>
                        </a:rPr>
                        <a:t>480%</a:t>
                      </a:r>
                    </a:p>
                  </a:txBody>
                  <a:tcPr marL="2858" marR="2858" marT="2858" marB="0" anchor="ctr">
                    <a:noFill/>
                  </a:tcPr>
                </a:tc>
                <a:tc>
                  <a:txBody>
                    <a:bodyPr/>
                    <a:lstStyle/>
                    <a:p>
                      <a:pPr algn="ctr">
                        <a:defRPr sz="600">
                          <a:latin typeface="Nexa Book"/>
                        </a:defRPr>
                      </a:pPr>
                      <a:r>
                        <a:rPr sz="600">
                          <a:latin typeface="Nexa Book"/>
                        </a:rPr>
                        <a:t>203377</a:t>
                      </a:r>
                    </a:p>
                  </a:txBody>
                  <a:tcPr marL="2858" marR="2858" marT="2858" marB="0" anchor="ctr">
                    <a:noFill/>
                  </a:tcPr>
                </a:tc>
                <a:tc>
                  <a:txBody>
                    <a:bodyPr/>
                    <a:lstStyle/>
                    <a:p>
                      <a:pPr algn="ctr">
                        <a:defRPr sz="600">
                          <a:latin typeface="Nexa Book"/>
                        </a:defRPr>
                      </a:pPr>
                      <a:r>
                        <a:rPr sz="600">
                          <a:latin typeface="Nexa Book"/>
                        </a:rPr>
                        <a:t>78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 55.50</a:t>
                      </a:r>
                    </a:p>
                  </a:txBody>
                  <a:tcPr marL="2858" marR="2858" marT="2858" marB="0" anchor="ctr">
                    <a:noFill/>
                  </a:tcPr>
                </a:tc>
                <a:tc>
                  <a:txBody>
                    <a:bodyPr/>
                    <a:lstStyle/>
                    <a:p>
                      <a:pPr algn="ctr">
                        <a:defRPr sz="600">
                          <a:latin typeface="Nexa Book"/>
                        </a:defRPr>
                      </a:pPr>
                      <a:r>
                        <a:rPr sz="600">
                          <a:latin typeface="Nexa Book"/>
                        </a:rPr>
                        <a:t> 49.03</a:t>
                      </a:r>
                    </a:p>
                  </a:txBody>
                  <a:tcPr marL="2858" marR="2858" marT="2858" marB="0" anchor="ctr">
                    <a:noFill/>
                  </a:tcPr>
                </a:tc>
                <a:tc>
                  <a:txBody>
                    <a:bodyPr/>
                    <a:lstStyle/>
                    <a:p>
                      <a:pPr algn="ctr">
                        <a:defRPr sz="600">
                          <a:latin typeface="Nexa Book"/>
                        </a:defRPr>
                      </a:pPr>
                      <a:r>
                        <a:rPr sz="600">
                          <a:latin typeface="Nexa Book"/>
                        </a:rPr>
                        <a:t>287'287</a:t>
                      </a:r>
                    </a:p>
                  </a:txBody>
                  <a:tcPr marL="2858" marR="2858" marT="2858" marB="0" anchor="ctr">
                    <a:noFill/>
                  </a:tcPr>
                </a:tc>
                <a:tc>
                  <a:txBody>
                    <a:bodyPr/>
                    <a:lstStyle/>
                    <a:p>
                      <a:pPr algn="ctr">
                        <a:defRPr sz="600">
                          <a:latin typeface="Nexa Book"/>
                        </a:defRPr>
                      </a:pPr>
                      <a:r>
                        <a:rPr sz="600">
                          <a:latin typeface="Nexa Book"/>
                        </a:rPr>
                        <a:t>195%</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195256</a:t>
                      </a:r>
                    </a:p>
                  </a:txBody>
                  <a:tcPr marL="2858" marR="2858" marT="2858" marB="0" anchor="ctr">
                    <a:noFill/>
                  </a:tcPr>
                </a:tc>
                <a:tc>
                  <a:txBody>
                    <a:bodyPr/>
                    <a:lstStyle/>
                    <a:p>
                      <a:pPr algn="ctr">
                        <a:defRPr sz="600">
                          <a:latin typeface="Nexa Book"/>
                        </a:defRPr>
                      </a:pPr>
                      <a:r>
                        <a:rPr sz="600">
                          <a:latin typeface="Nexa Book"/>
                        </a:rPr>
                        <a:t>546%</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DE SAINT GALL LE TRADITION 1ER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 33.99</a:t>
                      </a:r>
                    </a:p>
                  </a:txBody>
                  <a:tcPr marL="2858" marR="2858" marT="2858" marB="0" anchor="ctr">
                    <a:noFill/>
                  </a:tcPr>
                </a:tc>
                <a:tc>
                  <a:txBody>
                    <a:bodyPr/>
                    <a:lstStyle/>
                    <a:p>
                      <a:pPr algn="ctr">
                        <a:defRPr sz="600">
                          <a:latin typeface="Nexa Book"/>
                        </a:defRPr>
                      </a:pPr>
                      <a:r>
                        <a:rPr sz="600">
                          <a:latin typeface="Nexa Book"/>
                        </a:rPr>
                        <a:t> 29.82</a:t>
                      </a:r>
                    </a:p>
                  </a:txBody>
                  <a:tcPr marL="2858" marR="2858" marT="2858" marB="0" anchor="ctr">
                    <a:noFill/>
                  </a:tcPr>
                </a:tc>
                <a:tc>
                  <a:txBody>
                    <a:bodyPr/>
                    <a:lstStyle/>
                    <a:p>
                      <a:pPr algn="ctr">
                        <a:defRPr sz="600">
                          <a:latin typeface="Nexa Book"/>
                        </a:defRPr>
                      </a:pPr>
                      <a:r>
                        <a:rPr sz="600">
                          <a:latin typeface="Nexa Book"/>
                        </a:rPr>
                        <a:t>226'618</a:t>
                      </a:r>
                    </a:p>
                  </a:txBody>
                  <a:tcPr marL="2858" marR="2858" marT="2858" marB="0" anchor="ctr">
                    <a:noFill/>
                  </a:tcPr>
                </a:tc>
                <a:tc>
                  <a:txBody>
                    <a:bodyPr/>
                    <a:lstStyle/>
                    <a:p>
                      <a:pPr algn="ctr">
                        <a:defRPr sz="600">
                          <a:latin typeface="Nexa Book"/>
                        </a:defRPr>
                      </a:pPr>
                      <a:r>
                        <a:rPr sz="600">
                          <a:latin typeface="Nexa Book"/>
                        </a:rPr>
                        <a:t>369%</a:t>
                      </a:r>
                    </a:p>
                  </a:txBody>
                  <a:tcPr marL="2858" marR="2858" marT="2858" marB="0" anchor="ctr">
                    <a:noFill/>
                  </a:tcPr>
                </a:tc>
                <a:tc>
                  <a:txBody>
                    <a:bodyPr/>
                    <a:lstStyle/>
                    <a:p>
                      <a:pPr algn="ctr">
                        <a:defRPr sz="600">
                          <a:latin typeface="Nexa Book"/>
                        </a:defRPr>
                      </a:pPr>
                      <a:r>
                        <a:rPr sz="600">
                          <a:latin typeface="Nexa Book"/>
                        </a:rPr>
                        <a:t>424%</a:t>
                      </a:r>
                    </a:p>
                  </a:txBody>
                  <a:tcPr marL="2858" marR="2858" marT="2858" marB="0" anchor="ctr">
                    <a:noFill/>
                  </a:tcPr>
                </a:tc>
                <a:tc>
                  <a:txBody>
                    <a:bodyPr/>
                    <a:lstStyle/>
                    <a:p>
                      <a:pPr algn="ctr">
                        <a:defRPr sz="600">
                          <a:latin typeface="Nexa Book"/>
                        </a:defRPr>
                      </a:pPr>
                      <a:r>
                        <a:rPr sz="600">
                          <a:latin typeface="Nexa Book"/>
                        </a:rPr>
                        <a:t>190611</a:t>
                      </a:r>
                    </a:p>
                  </a:txBody>
                  <a:tcPr marL="2858" marR="2858" marT="2858" marB="0" anchor="ctr">
                    <a:noFill/>
                  </a:tcPr>
                </a:tc>
                <a:tc>
                  <a:txBody>
                    <a:bodyPr/>
                    <a:lstStyle/>
                    <a:p>
                      <a:pPr algn="ctr">
                        <a:defRPr sz="600">
                          <a:latin typeface="Nexa Book"/>
                        </a:defRPr>
                      </a:pPr>
                      <a:r>
                        <a:rPr sz="600">
                          <a:latin typeface="Nexa Book"/>
                        </a:rPr>
                        <a:t>610%</a:t>
                      </a:r>
                    </a:p>
                  </a:txBody>
                  <a:tcPr marL="2858" marR="2858" marT="2858" marB="0" anchor="ctr">
                    <a:noFill/>
                  </a:tcPr>
                </a:tc>
                <a:tc>
                  <a:txBody>
                    <a:bodyPr/>
                    <a:lstStyle/>
                    <a:p>
                      <a:pPr algn="ctr">
                        <a:defRPr sz="600">
                          <a:latin typeface="Nexa Book"/>
                        </a:defRPr>
                      </a:pPr>
                      <a:r>
                        <a:rPr sz="600">
                          <a:latin typeface="Nexa Book"/>
                        </a:rPr>
                        <a:t>3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Roederer</a:t>
                      </a:r>
                    </a:p>
                  </a:txBody>
                  <a:tcPr marL="2858" marR="2858" marT="2858" marB="0" anchor="ctr">
                    <a:noFill/>
                  </a:tcPr>
                </a:tc>
                <a:tc>
                  <a:txBody>
                    <a:bodyPr/>
                    <a:lstStyle/>
                    <a:p>
                      <a:pPr algn="l">
                        <a:defRPr sz="600">
                          <a:latin typeface="Nexa Book"/>
                        </a:defRPr>
                      </a:pPr>
                      <a:r>
                        <a:rPr sz="600">
                          <a:latin typeface="Nexa Book"/>
                        </a:rPr>
                        <a:t>ROEDERER BRUT COLLECTION 245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 59.65</a:t>
                      </a:r>
                    </a:p>
                  </a:txBody>
                  <a:tcPr marL="2858" marR="2858" marT="2858" marB="0" anchor="ctr">
                    <a:noFill/>
                  </a:tcPr>
                </a:tc>
                <a:tc>
                  <a:txBody>
                    <a:bodyPr/>
                    <a:lstStyle/>
                    <a:p>
                      <a:pPr algn="ctr">
                        <a:defRPr sz="600">
                          <a:latin typeface="Nexa Book"/>
                        </a:defRPr>
                      </a:pPr>
                      <a:r>
                        <a:rPr sz="600">
                          <a:latin typeface="Nexa Book"/>
                        </a:rPr>
                        <a:t> 54.77</a:t>
                      </a:r>
                    </a:p>
                  </a:txBody>
                  <a:tcPr marL="2858" marR="2858" marT="2858" marB="0" anchor="ctr">
                    <a:noFill/>
                  </a:tcPr>
                </a:tc>
                <a:tc>
                  <a:txBody>
                    <a:bodyPr/>
                    <a:lstStyle/>
                    <a:p>
                      <a:pPr algn="ctr">
                        <a:defRPr sz="600">
                          <a:latin typeface="Nexa Book"/>
                        </a:defRPr>
                      </a:pPr>
                      <a:r>
                        <a:rPr sz="600">
                          <a:latin typeface="Nexa Book"/>
                        </a:rPr>
                        <a:t>182'564</a:t>
                      </a:r>
                    </a:p>
                  </a:txBody>
                  <a:tcPr marL="2858" marR="2858" marT="2858" marB="0" anchor="ctr">
                    <a:noFill/>
                  </a:tcPr>
                </a:tc>
                <a:tc>
                  <a:txBody>
                    <a:bodyPr/>
                    <a:lstStyle/>
                    <a:p>
                      <a:pPr algn="ctr">
                        <a:defRPr sz="600">
                          <a:latin typeface="Nexa Book"/>
                        </a:defRPr>
                      </a:pPr>
                      <a:r>
                        <a:rPr sz="600">
                          <a:latin typeface="Nexa Book"/>
                        </a:rPr>
                        <a:t>372%</a:t>
                      </a:r>
                    </a:p>
                  </a:txBody>
                  <a:tcPr marL="2858" marR="2858" marT="2858" marB="0" anchor="ctr">
                    <a:noFill/>
                  </a:tcPr>
                </a:tc>
                <a:tc>
                  <a:txBody>
                    <a:bodyPr/>
                    <a:lstStyle/>
                    <a:p>
                      <a:pPr algn="ctr">
                        <a:defRPr sz="600">
                          <a:latin typeface="Nexa Book"/>
                        </a:defRPr>
                      </a:pPr>
                      <a:r>
                        <a:rPr sz="600">
                          <a:latin typeface="Nexa Book"/>
                        </a:rPr>
                        <a:t>379%</a:t>
                      </a:r>
                    </a:p>
                  </a:txBody>
                  <a:tcPr marL="2858" marR="2858" marT="2858" marB="0" anchor="ctr">
                    <a:noFill/>
                  </a:tcPr>
                </a:tc>
                <a:tc>
                  <a:txBody>
                    <a:bodyPr/>
                    <a:lstStyle/>
                    <a:p>
                      <a:pPr algn="ctr">
                        <a:defRPr sz="600">
                          <a:latin typeface="Nexa Book"/>
                        </a:defRPr>
                      </a:pPr>
                      <a:r>
                        <a:rPr sz="600">
                          <a:latin typeface="Nexa Book"/>
                        </a:rPr>
                        <a:t>168228</a:t>
                      </a:r>
                    </a:p>
                  </a:txBody>
                  <a:tcPr marL="2858" marR="2858" marT="2858" marB="0" anchor="ctr">
                    <a:noFill/>
                  </a:tcPr>
                </a:tc>
                <a:tc>
                  <a:txBody>
                    <a:bodyPr/>
                    <a:lstStyle/>
                    <a:p>
                      <a:pPr algn="ctr">
                        <a:defRPr sz="600">
                          <a:latin typeface="Nexa Book"/>
                        </a:defRPr>
                      </a:pPr>
                      <a:r>
                        <a:rPr sz="600">
                          <a:latin typeface="Nexa Book"/>
                        </a:rPr>
                        <a:t>1380%</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47151080"/>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CA B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Heidsieck &amp; Co Monopol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EIDSIECK MONOPOLE SILVER TOP 1CT X 750ML</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8.3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8.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9'7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4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46.58</a:t>
                      </a:r>
                    </a:p>
                  </a:txBody>
                  <a:tcPr marL="2858" marR="2858" marT="2858" marB="0" anchor="ctr">
                    <a:noFill/>
                  </a:tcPr>
                </a:tc>
                <a:tc>
                  <a:txBody>
                    <a:bodyPr/>
                    <a:lstStyle/>
                    <a:p>
                      <a:pPr algn="ctr">
                        <a:defRPr sz="600">
                          <a:latin typeface="Nexa Book"/>
                        </a:defRPr>
                      </a:pPr>
                      <a:r>
                        <a:rPr sz="600">
                          <a:latin typeface="Nexa Book"/>
                        </a:rPr>
                        <a:t> 39.76</a:t>
                      </a:r>
                    </a:p>
                  </a:txBody>
                  <a:tcPr marL="2858" marR="2858" marT="2858" marB="0" anchor="ctr">
                    <a:noFill/>
                  </a:tcPr>
                </a:tc>
                <a:tc>
                  <a:txBody>
                    <a:bodyPr/>
                    <a:lstStyle/>
                    <a:p>
                      <a:pPr algn="ctr">
                        <a:defRPr sz="600">
                          <a:latin typeface="Nexa Book"/>
                        </a:defRPr>
                      </a:pPr>
                      <a:r>
                        <a:rPr sz="600">
                          <a:latin typeface="Nexa Book"/>
                        </a:rPr>
                        <a:t>179'936</a:t>
                      </a:r>
                    </a:p>
                  </a:txBody>
                  <a:tcPr marL="2858" marR="2858" marT="2858" marB="0" anchor="ctr">
                    <a:noFill/>
                  </a:tcPr>
                </a:tc>
                <a:tc>
                  <a:txBody>
                    <a:bodyPr/>
                    <a:lstStyle/>
                    <a:p>
                      <a:pPr algn="ctr">
                        <a:defRPr sz="600">
                          <a:latin typeface="Nexa Book"/>
                        </a:defRPr>
                      </a:pPr>
                      <a:r>
                        <a:rPr sz="600">
                          <a:latin typeface="Nexa Book"/>
                        </a:rPr>
                        <a:t>413%</a:t>
                      </a:r>
                    </a:p>
                  </a:txBody>
                  <a:tcPr marL="2858" marR="2858" marT="2858" marB="0" anchor="ctr">
                    <a:noFill/>
                  </a:tcPr>
                </a:tc>
                <a:tc>
                  <a:txBody>
                    <a:bodyPr/>
                    <a:lstStyle/>
                    <a:p>
                      <a:pPr algn="ctr">
                        <a:defRPr sz="600">
                          <a:latin typeface="Nexa Book"/>
                        </a:defRPr>
                      </a:pPr>
                      <a:r>
                        <a:rPr sz="600">
                          <a:latin typeface="Nexa Book"/>
                        </a:rPr>
                        <a:t>470%</a:t>
                      </a:r>
                    </a:p>
                  </a:txBody>
                  <a:tcPr marL="2858" marR="2858" marT="2858" marB="0" anchor="ctr">
                    <a:noFill/>
                  </a:tcPr>
                </a:tc>
                <a:tc>
                  <a:txBody>
                    <a:bodyPr/>
                    <a:lstStyle/>
                    <a:p>
                      <a:pPr algn="ctr">
                        <a:defRPr sz="600">
                          <a:latin typeface="Nexa Book"/>
                        </a:defRPr>
                      </a:pPr>
                      <a:r>
                        <a:rPr sz="600">
                          <a:latin typeface="Nexa Book"/>
                        </a:rPr>
                        <a:t>155823</a:t>
                      </a:r>
                    </a:p>
                  </a:txBody>
                  <a:tcPr marL="2858" marR="2858" marT="2858" marB="0" anchor="ctr">
                    <a:noFill/>
                  </a:tcPr>
                </a:tc>
                <a:tc>
                  <a:txBody>
                    <a:bodyPr/>
                    <a:lstStyle/>
                    <a:p>
                      <a:pPr algn="ctr">
                        <a:defRPr sz="600">
                          <a:latin typeface="Nexa Book"/>
                        </a:defRPr>
                      </a:pPr>
                      <a:r>
                        <a:rPr sz="600">
                          <a:latin typeface="Nexa Book"/>
                        </a:rPr>
                        <a:t>639%</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9.98</a:t>
                      </a:r>
                    </a:p>
                  </a:txBody>
                  <a:tcPr marL="2858" marR="2858" marT="2858" marB="0" anchor="ctr">
                    <a:noFill/>
                  </a:tcPr>
                </a:tc>
                <a:tc>
                  <a:txBody>
                    <a:bodyPr/>
                    <a:lstStyle/>
                    <a:p>
                      <a:pPr algn="ctr">
                        <a:defRPr sz="600">
                          <a:latin typeface="Nexa Book"/>
                        </a:defRPr>
                      </a:pPr>
                      <a:r>
                        <a:rPr sz="600">
                          <a:latin typeface="Nexa Book"/>
                        </a:rPr>
                        <a:t> 44.90</a:t>
                      </a:r>
                    </a:p>
                  </a:txBody>
                  <a:tcPr marL="2858" marR="2858" marT="2858" marB="0" anchor="ctr">
                    <a:noFill/>
                  </a:tcPr>
                </a:tc>
                <a:tc>
                  <a:txBody>
                    <a:bodyPr/>
                    <a:lstStyle/>
                    <a:p>
                      <a:pPr algn="ctr">
                        <a:defRPr sz="600">
                          <a:latin typeface="Nexa Book"/>
                        </a:defRPr>
                      </a:pPr>
                      <a:r>
                        <a:rPr sz="600">
                          <a:latin typeface="Nexa Book"/>
                        </a:rPr>
                        <a:t>87'337</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r>
                        <a:rPr sz="600">
                          <a:latin typeface="Nexa Book"/>
                        </a:rPr>
                        <a:t>103%</a:t>
                      </a:r>
                    </a:p>
                  </a:txBody>
                  <a:tcPr marL="2858" marR="2858" marT="2858" marB="0" anchor="ctr">
                    <a:noFill/>
                  </a:tcPr>
                </a:tc>
                <a:tc>
                  <a:txBody>
                    <a:bodyPr/>
                    <a:lstStyle/>
                    <a:p>
                      <a:pPr algn="ctr">
                        <a:defRPr sz="600">
                          <a:latin typeface="Nexa Book"/>
                        </a:defRPr>
                      </a:pPr>
                      <a:r>
                        <a:rPr sz="600">
                          <a:latin typeface="Nexa Book"/>
                        </a:rPr>
                        <a:t>147782</a:t>
                      </a:r>
                    </a:p>
                  </a:txBody>
                  <a:tcPr marL="2858" marR="2858" marT="2858" marB="0" anchor="ctr">
                    <a:noFill/>
                  </a:tcPr>
                </a:tc>
                <a:tc>
                  <a:txBody>
                    <a:bodyPr/>
                    <a:lstStyle/>
                    <a:p>
                      <a:pPr algn="ctr">
                        <a:defRPr sz="600">
                          <a:latin typeface="Nexa Book"/>
                        </a:defRPr>
                      </a:pPr>
                      <a:r>
                        <a:rPr sz="600">
                          <a:latin typeface="Nexa Book"/>
                        </a:rPr>
                        <a:t>1484%</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35.54</a:t>
                      </a:r>
                    </a:p>
                  </a:txBody>
                  <a:tcPr marL="2858" marR="2858" marT="2858" marB="0" anchor="ctr">
                    <a:noFill/>
                  </a:tcPr>
                </a:tc>
                <a:tc>
                  <a:txBody>
                    <a:bodyPr/>
                    <a:lstStyle/>
                    <a:p>
                      <a:pPr algn="ctr">
                        <a:defRPr sz="600">
                          <a:latin typeface="Nexa Book"/>
                        </a:defRPr>
                      </a:pPr>
                      <a:r>
                        <a:rPr sz="600">
                          <a:latin typeface="Nexa Book"/>
                        </a:rPr>
                        <a:t> 29.12</a:t>
                      </a:r>
                    </a:p>
                  </a:txBody>
                  <a:tcPr marL="2858" marR="2858" marT="2858" marB="0" anchor="ctr">
                    <a:noFill/>
                  </a:tcPr>
                </a:tc>
                <a:tc>
                  <a:txBody>
                    <a:bodyPr/>
                    <a:lstStyle/>
                    <a:p>
                      <a:pPr algn="ctr">
                        <a:defRPr sz="600">
                          <a:latin typeface="Nexa Book"/>
                        </a:defRPr>
                      </a:pPr>
                      <a:r>
                        <a:rPr sz="600">
                          <a:latin typeface="Nexa Book"/>
                        </a:rPr>
                        <a:t>165'022</a:t>
                      </a:r>
                    </a:p>
                  </a:txBody>
                  <a:tcPr marL="2858" marR="2858" marT="2858" marB="0" anchor="ctr">
                    <a:noFill/>
                  </a:tcPr>
                </a:tc>
                <a:tc>
                  <a:txBody>
                    <a:bodyPr/>
                    <a:lstStyle/>
                    <a:p>
                      <a:pPr algn="ctr">
                        <a:defRPr sz="600">
                          <a:latin typeface="Nexa Book"/>
                        </a:defRPr>
                      </a:pPr>
                      <a:r>
                        <a:rPr sz="600">
                          <a:latin typeface="Nexa Book"/>
                        </a:rPr>
                        <a:t>287%</a:t>
                      </a:r>
                    </a:p>
                  </a:txBody>
                  <a:tcPr marL="2858" marR="2858" marT="2858" marB="0" anchor="ctr">
                    <a:noFill/>
                  </a:tcPr>
                </a:tc>
                <a:tc>
                  <a:txBody>
                    <a:bodyPr/>
                    <a:lstStyle/>
                    <a:p>
                      <a:pPr algn="ctr">
                        <a:defRPr sz="600">
                          <a:latin typeface="Nexa Book"/>
                        </a:defRPr>
                      </a:pPr>
                      <a:r>
                        <a:rPr sz="600">
                          <a:latin typeface="Nexa Book"/>
                        </a:rPr>
                        <a:t>365%</a:t>
                      </a:r>
                    </a:p>
                  </a:txBody>
                  <a:tcPr marL="2858" marR="2858" marT="2858" marB="0" anchor="ctr">
                    <a:noFill/>
                  </a:tcPr>
                </a:tc>
                <a:tc>
                  <a:txBody>
                    <a:bodyPr/>
                    <a:lstStyle/>
                    <a:p>
                      <a:pPr algn="ctr">
                        <a:defRPr sz="600">
                          <a:latin typeface="Nexa Book"/>
                        </a:defRPr>
                      </a:pPr>
                      <a:r>
                        <a:rPr sz="600">
                          <a:latin typeface="Nexa Book"/>
                        </a:rPr>
                        <a:t>131118</a:t>
                      </a:r>
                    </a:p>
                  </a:txBody>
                  <a:tcPr marL="2858" marR="2858" marT="2858" marB="0" anchor="ctr">
                    <a:noFill/>
                  </a:tcPr>
                </a:tc>
                <a:tc>
                  <a:txBody>
                    <a:bodyPr/>
                    <a:lstStyle/>
                    <a:p>
                      <a:pPr algn="ctr">
                        <a:defRPr sz="600">
                          <a:latin typeface="Nexa Book"/>
                        </a:defRPr>
                      </a:pPr>
                      <a:r>
                        <a:rPr sz="600">
                          <a:latin typeface="Nexa Book"/>
                        </a:rPr>
                        <a:t>358%</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61.02</a:t>
                      </a:r>
                    </a:p>
                  </a:txBody>
                  <a:tcPr marL="2858" marR="2858" marT="2858" marB="0" anchor="ctr">
                    <a:noFill/>
                  </a:tcPr>
                </a:tc>
                <a:tc>
                  <a:txBody>
                    <a:bodyPr/>
                    <a:lstStyle/>
                    <a:p>
                      <a:pPr algn="ctr">
                        <a:defRPr sz="600">
                          <a:latin typeface="Nexa Book"/>
                        </a:defRPr>
                      </a:pPr>
                      <a:r>
                        <a:rPr sz="600">
                          <a:latin typeface="Nexa Book"/>
                        </a:rPr>
                        <a:t> 55.22</a:t>
                      </a:r>
                    </a:p>
                  </a:txBody>
                  <a:tcPr marL="2858" marR="2858" marT="2858" marB="0" anchor="ctr">
                    <a:noFill/>
                  </a:tcPr>
                </a:tc>
                <a:tc>
                  <a:txBody>
                    <a:bodyPr/>
                    <a:lstStyle/>
                    <a:p>
                      <a:pPr algn="ctr">
                        <a:defRPr sz="600">
                          <a:latin typeface="Nexa Book"/>
                        </a:defRPr>
                      </a:pPr>
                      <a:r>
                        <a:rPr sz="600">
                          <a:latin typeface="Nexa Book"/>
                        </a:rPr>
                        <a:t>344'265</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127709</a:t>
                      </a:r>
                    </a:p>
                  </a:txBody>
                  <a:tcPr marL="2858" marR="2858" marT="2858" marB="0" anchor="ctr">
                    <a:noFill/>
                  </a:tcPr>
                </a:tc>
                <a:tc>
                  <a:txBody>
                    <a:bodyPr/>
                    <a:lstStyle/>
                    <a:p>
                      <a:pPr algn="ctr">
                        <a:defRPr sz="600">
                          <a:latin typeface="Nexa Book"/>
                        </a:defRPr>
                      </a:pPr>
                      <a:r>
                        <a:rPr sz="600">
                          <a:latin typeface="Nexa Book"/>
                        </a:rPr>
                        <a:t>390%</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 36.16</a:t>
                      </a:r>
                    </a:p>
                  </a:txBody>
                  <a:tcPr marL="2858" marR="2858" marT="2858" marB="0" anchor="ctr">
                    <a:noFill/>
                  </a:tcPr>
                </a:tc>
                <a:tc>
                  <a:txBody>
                    <a:bodyPr/>
                    <a:lstStyle/>
                    <a:p>
                      <a:pPr algn="ctr">
                        <a:defRPr sz="600">
                          <a:latin typeface="Nexa Book"/>
                        </a:defRPr>
                      </a:pPr>
                      <a:r>
                        <a:rPr sz="600">
                          <a:latin typeface="Nexa Book"/>
                        </a:rPr>
                        <a:t> 28.03</a:t>
                      </a:r>
                    </a:p>
                  </a:txBody>
                  <a:tcPr marL="2858" marR="2858" marT="2858" marB="0" anchor="ctr">
                    <a:noFill/>
                  </a:tcPr>
                </a:tc>
                <a:tc>
                  <a:txBody>
                    <a:bodyPr/>
                    <a:lstStyle/>
                    <a:p>
                      <a:pPr algn="ctr">
                        <a:defRPr sz="600">
                          <a:latin typeface="Nexa Book"/>
                        </a:defRPr>
                      </a:pPr>
                      <a:r>
                        <a:rPr sz="600">
                          <a:latin typeface="Nexa Book"/>
                        </a:rPr>
                        <a:t>140'701</a:t>
                      </a:r>
                    </a:p>
                  </a:txBody>
                  <a:tcPr marL="2858" marR="2858" marT="2858" marB="0" anchor="ctr">
                    <a:noFill/>
                  </a:tcPr>
                </a:tc>
                <a:tc>
                  <a:txBody>
                    <a:bodyPr/>
                    <a:lstStyle/>
                    <a:p>
                      <a:pPr algn="ctr">
                        <a:defRPr sz="600">
                          <a:latin typeface="Nexa Book"/>
                        </a:defRPr>
                      </a:pPr>
                      <a:r>
                        <a:rPr sz="600">
                          <a:latin typeface="Nexa Book"/>
                        </a:rPr>
                        <a:t>463%</a:t>
                      </a:r>
                    </a:p>
                  </a:txBody>
                  <a:tcPr marL="2858" marR="2858" marT="2858" marB="0" anchor="ctr">
                    <a:noFill/>
                  </a:tcPr>
                </a:tc>
                <a:tc>
                  <a:txBody>
                    <a:bodyPr/>
                    <a:lstStyle/>
                    <a:p>
                      <a:pPr algn="ctr">
                        <a:defRPr sz="600">
                          <a:latin typeface="Nexa Book"/>
                        </a:defRPr>
                      </a:pPr>
                      <a:r>
                        <a:rPr sz="600">
                          <a:latin typeface="Nexa Book"/>
                        </a:rPr>
                        <a:t>607%</a:t>
                      </a:r>
                    </a:p>
                  </a:txBody>
                  <a:tcPr marL="2858" marR="2858" marT="2858" marB="0" anchor="ctr">
                    <a:noFill/>
                  </a:tcPr>
                </a:tc>
                <a:tc>
                  <a:txBody>
                    <a:bodyPr/>
                    <a:lstStyle/>
                    <a:p>
                      <a:pPr algn="ctr">
                        <a:defRPr sz="600">
                          <a:latin typeface="Nexa Book"/>
                        </a:defRPr>
                      </a:pPr>
                      <a:r>
                        <a:rPr sz="600">
                          <a:latin typeface="Nexa Book"/>
                        </a:rPr>
                        <a:t>122380</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33.48</a:t>
                      </a:r>
                    </a:p>
                  </a:txBody>
                  <a:tcPr marL="2858" marR="2858" marT="2858" marB="0" anchor="ctr">
                    <a:noFill/>
                  </a:tcPr>
                </a:tc>
                <a:tc>
                  <a:txBody>
                    <a:bodyPr/>
                    <a:lstStyle/>
                    <a:p>
                      <a:pPr algn="ctr">
                        <a:defRPr sz="600">
                          <a:latin typeface="Nexa Book"/>
                        </a:defRPr>
                      </a:pPr>
                      <a:r>
                        <a:rPr sz="600">
                          <a:latin typeface="Nexa Book"/>
                        </a:rPr>
                        <a:t> 29.59</a:t>
                      </a:r>
                    </a:p>
                  </a:txBody>
                  <a:tcPr marL="2858" marR="2858" marT="2858" marB="0" anchor="ctr">
                    <a:noFill/>
                  </a:tcPr>
                </a:tc>
                <a:tc>
                  <a:txBody>
                    <a:bodyPr/>
                    <a:lstStyle/>
                    <a:p>
                      <a:pPr algn="ctr">
                        <a:defRPr sz="600">
                          <a:latin typeface="Nexa Book"/>
                        </a:defRPr>
                      </a:pPr>
                      <a:r>
                        <a:rPr sz="600">
                          <a:latin typeface="Nexa Book"/>
                        </a:rPr>
                        <a:t>207'471</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104%</a:t>
                      </a:r>
                    </a:p>
                  </a:txBody>
                  <a:tcPr marL="2858" marR="2858" marT="2858" marB="0" anchor="ctr">
                    <a:noFill/>
                  </a:tcPr>
                </a:tc>
                <a:tc>
                  <a:txBody>
                    <a:bodyPr/>
                    <a:lstStyle/>
                    <a:p>
                      <a:pPr algn="ctr">
                        <a:defRPr sz="600">
                          <a:latin typeface="Nexa Book"/>
                        </a:defRPr>
                      </a:pPr>
                      <a:r>
                        <a:rPr sz="600">
                          <a:latin typeface="Nexa Book"/>
                        </a:rPr>
                        <a:t>112032</a:t>
                      </a:r>
                    </a:p>
                  </a:txBody>
                  <a:tcPr marL="2858" marR="2858" marT="2858" marB="0" anchor="ctr">
                    <a:noFill/>
                  </a:tcPr>
                </a:tc>
                <a:tc>
                  <a:txBody>
                    <a:bodyPr/>
                    <a:lstStyle/>
                    <a:p>
                      <a:pPr algn="ctr">
                        <a:defRPr sz="600">
                          <a:latin typeface="Nexa Book"/>
                        </a:defRPr>
                      </a:pPr>
                      <a:r>
                        <a:rPr sz="600">
                          <a:latin typeface="Nexa Book"/>
                        </a:rPr>
                        <a:t>410%</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 39.79</a:t>
                      </a:r>
                    </a:p>
                  </a:txBody>
                  <a:tcPr marL="2858" marR="2858" marT="2858" marB="0" anchor="ctr">
                    <a:noFill/>
                  </a:tcPr>
                </a:tc>
                <a:tc>
                  <a:txBody>
                    <a:bodyPr/>
                    <a:lstStyle/>
                    <a:p>
                      <a:pPr algn="ctr">
                        <a:defRPr sz="600">
                          <a:latin typeface="Nexa Book"/>
                        </a:defRPr>
                      </a:pPr>
                      <a:r>
                        <a:rPr sz="600">
                          <a:latin typeface="Nexa Book"/>
                        </a:rPr>
                        <a:t> 34.99</a:t>
                      </a:r>
                    </a:p>
                  </a:txBody>
                  <a:tcPr marL="2858" marR="2858" marT="2858" marB="0" anchor="ctr">
                    <a:noFill/>
                  </a:tcPr>
                </a:tc>
                <a:tc>
                  <a:txBody>
                    <a:bodyPr/>
                    <a:lstStyle/>
                    <a:p>
                      <a:pPr algn="ctr">
                        <a:defRPr sz="600">
                          <a:latin typeface="Nexa Book"/>
                        </a:defRPr>
                      </a:pPr>
                      <a:r>
                        <a:rPr sz="600">
                          <a:latin typeface="Nexa Book"/>
                        </a:rPr>
                        <a:t>99'409</a:t>
                      </a:r>
                    </a:p>
                  </a:txBody>
                  <a:tcPr marL="2858" marR="2858" marT="2858" marB="0" anchor="ctr">
                    <a:noFill/>
                  </a:tcPr>
                </a:tc>
                <a:tc>
                  <a:txBody>
                    <a:bodyPr/>
                    <a:lstStyle/>
                    <a:p>
                      <a:pPr algn="ctr">
                        <a:defRPr sz="600">
                          <a:latin typeface="Nexa Book"/>
                        </a:defRPr>
                      </a:pPr>
                      <a:r>
                        <a:rPr sz="600">
                          <a:latin typeface="Nexa Book"/>
                        </a:rPr>
                        <a:t>220%</a:t>
                      </a:r>
                    </a:p>
                  </a:txBody>
                  <a:tcPr marL="2858" marR="2858" marT="2858" marB="0" anchor="ctr">
                    <a:noFill/>
                  </a:tcPr>
                </a:tc>
                <a:tc>
                  <a:txBody>
                    <a:bodyPr/>
                    <a:lstStyle/>
                    <a:p>
                      <a:pPr algn="ctr">
                        <a:defRPr sz="600">
                          <a:latin typeface="Nexa Book"/>
                        </a:defRPr>
                      </a:pPr>
                      <a:r>
                        <a:rPr sz="600">
                          <a:latin typeface="Nexa Book"/>
                        </a:rPr>
                        <a:t>256%</a:t>
                      </a:r>
                    </a:p>
                  </a:txBody>
                  <a:tcPr marL="2858" marR="2858" marT="2858" marB="0" anchor="ctr">
                    <a:noFill/>
                  </a:tcPr>
                </a:tc>
                <a:tc>
                  <a:txBody>
                    <a:bodyPr/>
                    <a:lstStyle/>
                    <a:p>
                      <a:pPr algn="ctr">
                        <a:defRPr sz="600">
                          <a:latin typeface="Nexa Book"/>
                        </a:defRPr>
                      </a:pPr>
                      <a:r>
                        <a:rPr sz="600">
                          <a:latin typeface="Nexa Book"/>
                        </a:rPr>
                        <a:t>74544</a:t>
                      </a:r>
                    </a:p>
                  </a:txBody>
                  <a:tcPr marL="2858" marR="2858" marT="2858" marB="0" anchor="ctr">
                    <a:noFill/>
                  </a:tcPr>
                </a:tc>
                <a:tc>
                  <a:txBody>
                    <a:bodyPr/>
                    <a:lstStyle/>
                    <a:p>
                      <a:pPr algn="ctr">
                        <a:defRPr sz="600">
                          <a:latin typeface="Nexa Book"/>
                        </a:defRPr>
                      </a:pPr>
                      <a:r>
                        <a:rPr sz="600">
                          <a:latin typeface="Nexa Book"/>
                        </a:rPr>
                        <a:t>564%</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49.10</a:t>
                      </a:r>
                    </a:p>
                  </a:txBody>
                  <a:tcPr marL="2858" marR="2858" marT="2858" marB="0" anchor="ctr">
                    <a:noFill/>
                  </a:tcPr>
                </a:tc>
                <a:tc>
                  <a:txBody>
                    <a:bodyPr/>
                    <a:lstStyle/>
                    <a:p>
                      <a:pPr algn="ctr">
                        <a:defRPr sz="600">
                          <a:latin typeface="Nexa Book"/>
                        </a:defRPr>
                      </a:pPr>
                      <a:r>
                        <a:rPr sz="600">
                          <a:latin typeface="Nexa Book"/>
                        </a:rPr>
                        <a:t> 44.08</a:t>
                      </a:r>
                    </a:p>
                  </a:txBody>
                  <a:tcPr marL="2858" marR="2858" marT="2858" marB="0" anchor="ctr">
                    <a:noFill/>
                  </a:tcPr>
                </a:tc>
                <a:tc>
                  <a:txBody>
                    <a:bodyPr/>
                    <a:lstStyle/>
                    <a:p>
                      <a:pPr algn="ctr">
                        <a:defRPr sz="600">
                          <a:latin typeface="Nexa Book"/>
                        </a:defRPr>
                      </a:pPr>
                      <a:r>
                        <a:rPr sz="600">
                          <a:latin typeface="Nexa Book"/>
                        </a:rPr>
                        <a:t>111'264</a:t>
                      </a:r>
                    </a:p>
                  </a:txBody>
                  <a:tcPr marL="2858" marR="2858" marT="2858" marB="0" anchor="ctr">
                    <a:noFill/>
                  </a:tcPr>
                </a:tc>
                <a:tc>
                  <a:txBody>
                    <a:bodyPr/>
                    <a:lstStyle/>
                    <a:p>
                      <a:pPr algn="ctr">
                        <a:defRPr sz="600">
                          <a:latin typeface="Nexa Book"/>
                        </a:defRPr>
                      </a:pPr>
                      <a:r>
                        <a:rPr sz="600">
                          <a:latin typeface="Nexa Book"/>
                        </a:rPr>
                        <a:t>155%</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72269</a:t>
                      </a:r>
                    </a:p>
                  </a:txBody>
                  <a:tcPr marL="2858" marR="2858" marT="2858" marB="0" anchor="ctr">
                    <a:noFill/>
                  </a:tcPr>
                </a:tc>
                <a:tc>
                  <a:txBody>
                    <a:bodyPr/>
                    <a:lstStyle/>
                    <a:p>
                      <a:pPr algn="ctr">
                        <a:defRPr sz="600">
                          <a:latin typeface="Nexa Book"/>
                        </a:defRPr>
                      </a:pPr>
                      <a:r>
                        <a:rPr sz="600">
                          <a:latin typeface="Nexa Book"/>
                        </a:rPr>
                        <a:t>584%</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4.99</a:t>
                      </a:r>
                    </a:p>
                  </a:txBody>
                  <a:tcPr marL="2858" marR="2858" marT="2858" marB="0" anchor="ctr">
                    <a:noFill/>
                  </a:tcPr>
                </a:tc>
                <a:tc>
                  <a:txBody>
                    <a:bodyPr/>
                    <a:lstStyle/>
                    <a:p>
                      <a:pPr algn="ctr">
                        <a:defRPr sz="600">
                          <a:latin typeface="Nexa Book"/>
                        </a:defRPr>
                      </a:pPr>
                      <a:r>
                        <a:rPr sz="600">
                          <a:latin typeface="Nexa Book"/>
                        </a:rPr>
                        <a:t> 58.74</a:t>
                      </a:r>
                    </a:p>
                  </a:txBody>
                  <a:tcPr marL="2858" marR="2858" marT="2858" marB="0" anchor="ctr">
                    <a:noFill/>
                  </a:tcPr>
                </a:tc>
                <a:tc>
                  <a:txBody>
                    <a:bodyPr/>
                    <a:lstStyle/>
                    <a:p>
                      <a:pPr algn="ctr">
                        <a:defRPr sz="600">
                          <a:latin typeface="Nexa Book"/>
                        </a:defRPr>
                      </a:pPr>
                      <a:r>
                        <a:rPr sz="600">
                          <a:latin typeface="Nexa Book"/>
                        </a:rPr>
                        <a:t>113'431</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125%</a:t>
                      </a:r>
                    </a:p>
                  </a:txBody>
                  <a:tcPr marL="2858" marR="2858" marT="2858" marB="0" anchor="ctr">
                    <a:noFill/>
                  </a:tcPr>
                </a:tc>
                <a:tc>
                  <a:txBody>
                    <a:bodyPr/>
                    <a:lstStyle/>
                    <a:p>
                      <a:pPr algn="ctr">
                        <a:defRPr sz="600">
                          <a:latin typeface="Nexa Book"/>
                        </a:defRPr>
                      </a:pPr>
                      <a:r>
                        <a:rPr sz="600">
                          <a:latin typeface="Nexa Book"/>
                        </a:rPr>
                        <a:t>68458</a:t>
                      </a:r>
                    </a:p>
                  </a:txBody>
                  <a:tcPr marL="2858" marR="2858" marT="2858" marB="0" anchor="ctr">
                    <a:noFill/>
                  </a:tcPr>
                </a:tc>
                <a:tc>
                  <a:txBody>
                    <a:bodyPr/>
                    <a:lstStyle/>
                    <a:p>
                      <a:pPr algn="ctr">
                        <a:defRPr sz="600">
                          <a:latin typeface="Nexa Book"/>
                        </a:defRPr>
                      </a:pPr>
                      <a:r>
                        <a:rPr sz="600">
                          <a:latin typeface="Nexa Book"/>
                        </a:rPr>
                        <a:t>56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40.89</a:t>
                      </a:r>
                    </a:p>
                  </a:txBody>
                  <a:tcPr marL="2858" marR="2858" marT="2858" marB="0" anchor="ctr">
                    <a:noFill/>
                  </a:tcPr>
                </a:tc>
                <a:tc>
                  <a:txBody>
                    <a:bodyPr/>
                    <a:lstStyle/>
                    <a:p>
                      <a:pPr algn="ctr">
                        <a:defRPr sz="600">
                          <a:latin typeface="Nexa Book"/>
                        </a:defRPr>
                      </a:pPr>
                      <a:r>
                        <a:rPr sz="600">
                          <a:latin typeface="Nexa Book"/>
                        </a:rPr>
                        <a:t> 36.64</a:t>
                      </a:r>
                    </a:p>
                  </a:txBody>
                  <a:tcPr marL="2858" marR="2858" marT="2858" marB="0" anchor="ctr">
                    <a:noFill/>
                  </a:tcPr>
                </a:tc>
                <a:tc>
                  <a:txBody>
                    <a:bodyPr/>
                    <a:lstStyle/>
                    <a:p>
                      <a:pPr algn="ctr">
                        <a:defRPr sz="600">
                          <a:latin typeface="Nexa Book"/>
                        </a:defRPr>
                      </a:pPr>
                      <a:r>
                        <a:rPr sz="600">
                          <a:latin typeface="Nexa Book"/>
                        </a:rPr>
                        <a:t>134'684</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93%</a:t>
                      </a:r>
                    </a:p>
                  </a:txBody>
                  <a:tcPr marL="2858" marR="2858" marT="2858" marB="0" anchor="ctr">
                    <a:noFill/>
                  </a:tcPr>
                </a:tc>
                <a:tc>
                  <a:txBody>
                    <a:bodyPr/>
                    <a:lstStyle/>
                    <a:p>
                      <a:pPr algn="ctr">
                        <a:defRPr sz="600">
                          <a:latin typeface="Nexa Book"/>
                        </a:defRPr>
                      </a:pPr>
                      <a:r>
                        <a:rPr sz="600">
                          <a:latin typeface="Nexa Book"/>
                        </a:rPr>
                        <a:t>62308</a:t>
                      </a:r>
                    </a:p>
                  </a:txBody>
                  <a:tcPr marL="2858" marR="2858" marT="2858" marB="0" anchor="ctr">
                    <a:noFill/>
                  </a:tcPr>
                </a:tc>
                <a:tc>
                  <a:txBody>
                    <a:bodyPr/>
                    <a:lstStyle/>
                    <a:p>
                      <a:pPr algn="ctr">
                        <a:defRPr sz="600">
                          <a:latin typeface="Nexa Book"/>
                        </a:defRPr>
                      </a:pPr>
                      <a:r>
                        <a:rPr sz="600">
                          <a:latin typeface="Nexa Book"/>
                        </a:rPr>
                        <a:t>405%</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Campari: All Others</a:t>
                      </a:r>
                    </a:p>
                  </a:txBody>
                  <a:tcPr marL="2858" marR="2858" marT="2858" marB="0" anchor="ctr">
                    <a:noFill/>
                  </a:tcPr>
                </a:tc>
                <a:tc>
                  <a:txBody>
                    <a:bodyPr/>
                    <a:lstStyle/>
                    <a:p>
                      <a:pPr algn="l">
                        <a:defRPr sz="600">
                          <a:latin typeface="Nexa Book"/>
                        </a:defRPr>
                      </a:pPr>
                      <a:r>
                        <a:rPr sz="600">
                          <a:latin typeface="Nexa Book"/>
                        </a:rPr>
                        <a:t>CHAMPAGNE LALLIER SERIE R.021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5.91</a:t>
                      </a:r>
                    </a:p>
                  </a:txBody>
                  <a:tcPr marL="2858" marR="2858" marT="2858" marB="0" anchor="ctr">
                    <a:noFill/>
                  </a:tcPr>
                </a:tc>
                <a:tc>
                  <a:txBody>
                    <a:bodyPr/>
                    <a:lstStyle/>
                    <a:p>
                      <a:pPr algn="ctr">
                        <a:defRPr sz="600">
                          <a:latin typeface="Nexa Book"/>
                        </a:defRPr>
                      </a:pPr>
                      <a:r>
                        <a:rPr sz="600">
                          <a:latin typeface="Nexa Book"/>
                        </a:rPr>
                        <a:t>71'826</a:t>
                      </a:r>
                    </a:p>
                  </a:txBody>
                  <a:tcPr marL="2858" marR="2858" marT="2858" marB="0" anchor="ctr">
                    <a:noFill/>
                  </a:tcPr>
                </a:tc>
                <a:tc>
                  <a:txBody>
                    <a:bodyPr/>
                    <a:lstStyle/>
                    <a:p>
                      <a:pPr algn="ctr">
                        <a:defRPr sz="600">
                          <a:latin typeface="Nexa Book"/>
                        </a:defRPr>
                      </a:pPr>
                      <a:r>
                        <a:rPr sz="600">
                          <a:latin typeface="Nexa Book"/>
                        </a:rPr>
                        <a:t>515%</a:t>
                      </a:r>
                    </a:p>
                  </a:txBody>
                  <a:tcPr marL="2858" marR="2858" marT="2858" marB="0" anchor="ctr">
                    <a:noFill/>
                  </a:tcPr>
                </a:tc>
                <a:tc>
                  <a:txBody>
                    <a:bodyPr/>
                    <a:lstStyle/>
                    <a:p>
                      <a:pPr algn="ctr">
                        <a:defRPr sz="600">
                          <a:latin typeface="Nexa Book"/>
                        </a:defRPr>
                      </a:pPr>
                      <a:r>
                        <a:rPr sz="600">
                          <a:latin typeface="Nexa Book"/>
                        </a:rPr>
                        <a:t>575%</a:t>
                      </a:r>
                    </a:p>
                  </a:txBody>
                  <a:tcPr marL="2858" marR="2858" marT="2858" marB="0" anchor="ctr">
                    <a:noFill/>
                  </a:tcPr>
                </a:tc>
                <a:tc>
                  <a:txBody>
                    <a:bodyPr/>
                    <a:lstStyle/>
                    <a:p>
                      <a:pPr algn="ctr">
                        <a:defRPr sz="600">
                          <a:latin typeface="Nexa Book"/>
                        </a:defRPr>
                      </a:pPr>
                      <a:r>
                        <a:rPr sz="600">
                          <a:latin typeface="Nexa Book"/>
                        </a:rPr>
                        <a:t>61354</a:t>
                      </a:r>
                    </a:p>
                  </a:txBody>
                  <a:tcPr marL="2858" marR="2858" marT="2858" marB="0" anchor="ctr">
                    <a:noFill/>
                  </a:tcPr>
                </a:tc>
                <a:tc>
                  <a:txBody>
                    <a:bodyPr/>
                    <a:lstStyle/>
                    <a:p>
                      <a:pPr algn="ctr">
                        <a:defRPr sz="600">
                          <a:latin typeface="Nexa Book"/>
                        </a:defRPr>
                      </a:pPr>
                      <a:r>
                        <a:rPr sz="600">
                          <a:latin typeface="Nexa Book"/>
                        </a:rPr>
                        <a:t>851%</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35.02</a:t>
                      </a:r>
                    </a:p>
                  </a:txBody>
                  <a:tcPr marL="2858" marR="2858" marT="2858" marB="0" anchor="ctr">
                    <a:noFill/>
                  </a:tcPr>
                </a:tc>
                <a:tc>
                  <a:txBody>
                    <a:bodyPr/>
                    <a:lstStyle/>
                    <a:p>
                      <a:pPr algn="ctr">
                        <a:defRPr sz="600">
                          <a:latin typeface="Nexa Book"/>
                        </a:defRPr>
                      </a:pPr>
                      <a:r>
                        <a:rPr sz="600">
                          <a:latin typeface="Nexa Book"/>
                        </a:rPr>
                        <a:t> 29.46</a:t>
                      </a:r>
                    </a:p>
                  </a:txBody>
                  <a:tcPr marL="2858" marR="2858" marT="2858" marB="0" anchor="ctr">
                    <a:noFill/>
                  </a:tcPr>
                </a:tc>
                <a:tc>
                  <a:txBody>
                    <a:bodyPr/>
                    <a:lstStyle/>
                    <a:p>
                      <a:pPr algn="ctr">
                        <a:defRPr sz="600">
                          <a:latin typeface="Nexa Book"/>
                        </a:defRPr>
                      </a:pPr>
                      <a:r>
                        <a:rPr sz="600">
                          <a:latin typeface="Nexa Book"/>
                        </a:rPr>
                        <a:t>111'505</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58215</a:t>
                      </a:r>
                    </a:p>
                  </a:txBody>
                  <a:tcPr marL="2858" marR="2858" marT="2858" marB="0" anchor="ctr">
                    <a:noFill/>
                  </a:tcPr>
                </a:tc>
                <a:tc>
                  <a:txBody>
                    <a:bodyPr/>
                    <a:lstStyle/>
                    <a:p>
                      <a:pPr algn="ctr">
                        <a:defRPr sz="600">
                          <a:latin typeface="Nexa Book"/>
                        </a:defRPr>
                      </a:pPr>
                      <a:r>
                        <a:rPr sz="600">
                          <a:latin typeface="Nexa Book"/>
                        </a:rPr>
                        <a:t>27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1.44</a:t>
                      </a:r>
                    </a:p>
                  </a:txBody>
                  <a:tcPr marL="2858" marR="2858" marT="2858" marB="0" anchor="ctr">
                    <a:noFill/>
                  </a:tcPr>
                </a:tc>
                <a:tc>
                  <a:txBody>
                    <a:bodyPr/>
                    <a:lstStyle/>
                    <a:p>
                      <a:pPr algn="ctr">
                        <a:defRPr sz="600">
                          <a:latin typeface="Nexa Book"/>
                        </a:defRPr>
                      </a:pPr>
                      <a:r>
                        <a:rPr sz="600">
                          <a:latin typeface="Nexa Book"/>
                        </a:rPr>
                        <a:t> 55.15</a:t>
                      </a:r>
                    </a:p>
                  </a:txBody>
                  <a:tcPr marL="2858" marR="2858" marT="2858" marB="0" anchor="ctr">
                    <a:noFill/>
                  </a:tcPr>
                </a:tc>
                <a:tc>
                  <a:txBody>
                    <a:bodyPr/>
                    <a:lstStyle/>
                    <a:p>
                      <a:pPr algn="ctr">
                        <a:defRPr sz="600">
                          <a:latin typeface="Nexa Book"/>
                        </a:defRPr>
                      </a:pPr>
                      <a:r>
                        <a:rPr sz="600">
                          <a:latin typeface="Nexa Book"/>
                        </a:rPr>
                        <a:t>88'789</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187%</a:t>
                      </a:r>
                    </a:p>
                  </a:txBody>
                  <a:tcPr marL="2858" marR="2858" marT="2858" marB="0" anchor="ctr">
                    <a:noFill/>
                  </a:tcPr>
                </a:tc>
                <a:tc>
                  <a:txBody>
                    <a:bodyPr/>
                    <a:lstStyle/>
                    <a:p>
                      <a:pPr algn="ctr">
                        <a:defRPr sz="600">
                          <a:latin typeface="Nexa Book"/>
                        </a:defRPr>
                      </a:pPr>
                      <a:r>
                        <a:rPr sz="600">
                          <a:latin typeface="Nexa Book"/>
                        </a:rPr>
                        <a:t>56788</a:t>
                      </a:r>
                    </a:p>
                  </a:txBody>
                  <a:tcPr marL="2858" marR="2858" marT="2858" marB="0" anchor="ctr">
                    <a:noFill/>
                  </a:tcPr>
                </a:tc>
                <a:tc>
                  <a:txBody>
                    <a:bodyPr/>
                    <a:lstStyle/>
                    <a:p>
                      <a:pPr algn="ctr">
                        <a:defRPr sz="600">
                          <a:latin typeface="Nexa Book"/>
                        </a:defRPr>
                      </a:pPr>
                      <a:r>
                        <a:rPr sz="600">
                          <a:latin typeface="Nexa Book"/>
                        </a:rPr>
                        <a:t>55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2%</a:t>
                      </a:r>
                    </a:p>
                  </a:txBody>
                  <a:tcPr marL="2858" marR="2858" marT="2858" marB="0" anchor="ctr">
                    <a:noFill/>
                  </a:tcPr>
                </a:tc>
                <a:tc>
                  <a:txBody>
                    <a:bodyPr/>
                    <a:lstStyle/>
                    <a:p>
                      <a:pPr algn="ctr">
                        <a:defRPr sz="600">
                          <a:latin typeface="Nexa Book"/>
                        </a:defRPr>
                      </a:pPr>
                      <a:r>
                        <a:rPr sz="600">
                          <a:latin typeface="Nexa Book"/>
                        </a:rPr>
                        <a:t> 47.13</a:t>
                      </a:r>
                    </a:p>
                  </a:txBody>
                  <a:tcPr marL="2858" marR="2858" marT="2858" marB="0" anchor="ctr">
                    <a:noFill/>
                  </a:tcPr>
                </a:tc>
                <a:tc>
                  <a:txBody>
                    <a:bodyPr/>
                    <a:lstStyle/>
                    <a:p>
                      <a:pPr algn="ctr">
                        <a:defRPr sz="600">
                          <a:latin typeface="Nexa Book"/>
                        </a:defRPr>
                      </a:pPr>
                      <a:r>
                        <a:rPr sz="600">
                          <a:latin typeface="Nexa Book"/>
                        </a:rPr>
                        <a:t> 40.49</a:t>
                      </a:r>
                    </a:p>
                  </a:txBody>
                  <a:tcPr marL="2858" marR="2858" marT="2858" marB="0" anchor="ctr">
                    <a:noFill/>
                  </a:tcPr>
                </a:tc>
                <a:tc>
                  <a:txBody>
                    <a:bodyPr/>
                    <a:lstStyle/>
                    <a:p>
                      <a:pPr algn="ctr">
                        <a:defRPr sz="600">
                          <a:latin typeface="Nexa Book"/>
                        </a:defRPr>
                      </a:pPr>
                      <a:r>
                        <a:rPr sz="600">
                          <a:latin typeface="Nexa Book"/>
                        </a:rPr>
                        <a:t>68'474</a:t>
                      </a:r>
                    </a:p>
                  </a:txBody>
                  <a:tcPr marL="2858" marR="2858" marT="2858" marB="0" anchor="ctr">
                    <a:noFill/>
                  </a:tcPr>
                </a:tc>
                <a:tc>
                  <a:txBody>
                    <a:bodyPr/>
                    <a:lstStyle/>
                    <a:p>
                      <a:pPr algn="ctr">
                        <a:defRPr sz="600">
                          <a:latin typeface="Nexa Book"/>
                        </a:defRPr>
                      </a:pPr>
                      <a:r>
                        <a:rPr sz="600">
                          <a:latin typeface="Nexa Book"/>
                        </a:rPr>
                        <a:t>224%</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51018</a:t>
                      </a:r>
                    </a:p>
                  </a:txBody>
                  <a:tcPr marL="2858" marR="2858" marT="2858" marB="0" anchor="ctr">
                    <a:noFill/>
                  </a:tcPr>
                </a:tc>
                <a:tc>
                  <a:txBody>
                    <a:bodyPr/>
                    <a:lstStyle/>
                    <a:p>
                      <a:pPr algn="ctr">
                        <a:defRPr sz="600">
                          <a:latin typeface="Nexa Book"/>
                        </a:defRPr>
                      </a:pPr>
                      <a:r>
                        <a:rPr sz="600">
                          <a:latin typeface="Nexa Book"/>
                        </a:rPr>
                        <a:t>434%</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9.66</a:t>
                      </a:r>
                    </a:p>
                  </a:txBody>
                  <a:tcPr marL="2858" marR="2858" marT="2858" marB="0" anchor="ctr">
                    <a:noFill/>
                  </a:tcPr>
                </a:tc>
                <a:tc>
                  <a:txBody>
                    <a:bodyPr/>
                    <a:lstStyle/>
                    <a:p>
                      <a:pPr algn="ctr">
                        <a:defRPr sz="600">
                          <a:latin typeface="Nexa Book"/>
                        </a:defRPr>
                      </a:pPr>
                      <a:r>
                        <a:rPr sz="600">
                          <a:latin typeface="Nexa Book"/>
                        </a:rPr>
                        <a:t> 35.56</a:t>
                      </a:r>
                    </a:p>
                  </a:txBody>
                  <a:tcPr marL="2858" marR="2858" marT="2858" marB="0" anchor="ctr">
                    <a:noFill/>
                  </a:tcPr>
                </a:tc>
                <a:tc>
                  <a:txBody>
                    <a:bodyPr/>
                    <a:lstStyle/>
                    <a:p>
                      <a:pPr algn="ctr">
                        <a:defRPr sz="600">
                          <a:latin typeface="Nexa Book"/>
                        </a:defRPr>
                      </a:pPr>
                      <a:r>
                        <a:rPr sz="600">
                          <a:latin typeface="Nexa Book"/>
                        </a:rPr>
                        <a:t>77'052</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r>
                        <a:rPr sz="600">
                          <a:latin typeface="Nexa Book"/>
                        </a:rPr>
                        <a:t>156%</a:t>
                      </a:r>
                    </a:p>
                  </a:txBody>
                  <a:tcPr marL="2858" marR="2858" marT="2858" marB="0" anchor="ctr">
                    <a:noFill/>
                  </a:tcPr>
                </a:tc>
                <a:tc>
                  <a:txBody>
                    <a:bodyPr/>
                    <a:lstStyle/>
                    <a:p>
                      <a:pPr algn="ctr">
                        <a:defRPr sz="600">
                          <a:latin typeface="Nexa Book"/>
                        </a:defRPr>
                      </a:pPr>
                      <a:r>
                        <a:rPr sz="600">
                          <a:latin typeface="Nexa Book"/>
                        </a:rPr>
                        <a:t>48034</a:t>
                      </a:r>
                    </a:p>
                  </a:txBody>
                  <a:tcPr marL="2858" marR="2858" marT="2858" marB="0" anchor="ctr">
                    <a:noFill/>
                  </a:tcPr>
                </a:tc>
                <a:tc>
                  <a:txBody>
                    <a:bodyPr/>
                    <a:lstStyle/>
                    <a:p>
                      <a:pPr algn="ctr">
                        <a:defRPr sz="600">
                          <a:latin typeface="Nexa Book"/>
                        </a:defRPr>
                      </a:pPr>
                      <a:r>
                        <a:rPr sz="600">
                          <a:latin typeface="Nexa Book"/>
                        </a:rPr>
                        <a:t>552%</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Vesselle</a:t>
                      </a:r>
                    </a:p>
                  </a:txBody>
                  <a:tcPr marL="2858" marR="2858" marT="2858" marB="0" anchor="ctr">
                    <a:noFill/>
                  </a:tcPr>
                </a:tc>
                <a:tc>
                  <a:txBody>
                    <a:bodyPr/>
                    <a:lstStyle/>
                    <a:p>
                      <a:pPr algn="l">
                        <a:defRPr sz="600">
                          <a:latin typeface="Nexa Book"/>
                        </a:defRPr>
                      </a:pPr>
                      <a:r>
                        <a:rPr sz="600">
                          <a:latin typeface="Nexa Book"/>
                        </a:rPr>
                        <a:t>GEORGES VESSELLE GRD CRU BRUT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33.02</a:t>
                      </a:r>
                    </a:p>
                  </a:txBody>
                  <a:tcPr marL="2858" marR="2858" marT="2858" marB="0" anchor="ctr">
                    <a:noFill/>
                  </a:tcPr>
                </a:tc>
                <a:tc>
                  <a:txBody>
                    <a:bodyPr/>
                    <a:lstStyle/>
                    <a:p>
                      <a:pPr algn="ctr">
                        <a:defRPr sz="600">
                          <a:latin typeface="Nexa Book"/>
                        </a:defRPr>
                      </a:pPr>
                      <a:r>
                        <a:rPr sz="600">
                          <a:latin typeface="Nexa Book"/>
                        </a:rPr>
                        <a:t> 29.69</a:t>
                      </a:r>
                    </a:p>
                  </a:txBody>
                  <a:tcPr marL="2858" marR="2858" marT="2858" marB="0" anchor="ctr">
                    <a:noFill/>
                  </a:tcPr>
                </a:tc>
                <a:tc>
                  <a:txBody>
                    <a:bodyPr/>
                    <a:lstStyle/>
                    <a:p>
                      <a:pPr algn="ctr">
                        <a:defRPr sz="600">
                          <a:latin typeface="Nexa Book"/>
                        </a:defRPr>
                      </a:pPr>
                      <a:r>
                        <a:rPr sz="600">
                          <a:latin typeface="Nexa Book"/>
                        </a:rPr>
                        <a:t>62'283</a:t>
                      </a:r>
                    </a:p>
                  </a:txBody>
                  <a:tcPr marL="2858" marR="2858" marT="2858" marB="0" anchor="ctr">
                    <a:noFill/>
                  </a:tcPr>
                </a:tc>
                <a:tc>
                  <a:txBody>
                    <a:bodyPr/>
                    <a:lstStyle/>
                    <a:p>
                      <a:pPr algn="ctr">
                        <a:defRPr sz="600">
                          <a:latin typeface="Nexa Book"/>
                        </a:defRPr>
                      </a:pPr>
                      <a:r>
                        <a:rPr sz="600">
                          <a:latin typeface="Nexa Book"/>
                        </a:rPr>
                        <a:t>237%</a:t>
                      </a:r>
                    </a:p>
                  </a:txBody>
                  <a:tcPr marL="2858" marR="2858" marT="2858" marB="0" anchor="ctr">
                    <a:noFill/>
                  </a:tcPr>
                </a:tc>
                <a:tc>
                  <a:txBody>
                    <a:bodyPr/>
                    <a:lstStyle/>
                    <a:p>
                      <a:pPr algn="ctr">
                        <a:defRPr sz="600">
                          <a:latin typeface="Nexa Book"/>
                        </a:defRPr>
                      </a:pPr>
                      <a:r>
                        <a:rPr sz="600">
                          <a:latin typeface="Nexa Book"/>
                        </a:rPr>
                        <a:t>265%</a:t>
                      </a:r>
                    </a:p>
                  </a:txBody>
                  <a:tcPr marL="2858" marR="2858" marT="2858" marB="0" anchor="ctr">
                    <a:noFill/>
                  </a:tcPr>
                </a:tc>
                <a:tc>
                  <a:txBody>
                    <a:bodyPr/>
                    <a:lstStyle/>
                    <a:p>
                      <a:pPr algn="ctr">
                        <a:defRPr sz="600">
                          <a:latin typeface="Nexa Book"/>
                        </a:defRPr>
                      </a:pPr>
                      <a:r>
                        <a:rPr sz="600">
                          <a:latin typeface="Nexa Book"/>
                        </a:rPr>
                        <a:t>47532</a:t>
                      </a:r>
                    </a:p>
                  </a:txBody>
                  <a:tcPr marL="2858" marR="2858" marT="2858" marB="0" anchor="ctr">
                    <a:noFill/>
                  </a:tcPr>
                </a:tc>
                <a:tc>
                  <a:txBody>
                    <a:bodyPr/>
                    <a:lstStyle/>
                    <a:p>
                      <a:pPr algn="ctr">
                        <a:defRPr sz="600">
                          <a:latin typeface="Nexa Book"/>
                        </a:defRPr>
                      </a:pPr>
                      <a:r>
                        <a:rPr sz="600">
                          <a:latin typeface="Nexa Book"/>
                        </a:rPr>
                        <a:t>724%</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55.33</a:t>
                      </a:r>
                    </a:p>
                  </a:txBody>
                  <a:tcPr marL="2858" marR="2858" marT="2858" marB="0" anchor="ctr">
                    <a:noFill/>
                  </a:tcPr>
                </a:tc>
                <a:tc>
                  <a:txBody>
                    <a:bodyPr/>
                    <a:lstStyle/>
                    <a:p>
                      <a:pPr algn="ctr">
                        <a:defRPr sz="600">
                          <a:latin typeface="Nexa Book"/>
                        </a:defRPr>
                      </a:pPr>
                      <a:r>
                        <a:rPr sz="600">
                          <a:latin typeface="Nexa Book"/>
                        </a:rPr>
                        <a:t> 48.82</a:t>
                      </a:r>
                    </a:p>
                  </a:txBody>
                  <a:tcPr marL="2858" marR="2858" marT="2858" marB="0" anchor="ctr">
                    <a:noFill/>
                  </a:tcPr>
                </a:tc>
                <a:tc>
                  <a:txBody>
                    <a:bodyPr/>
                    <a:lstStyle/>
                    <a:p>
                      <a:pPr algn="ctr">
                        <a:defRPr sz="600">
                          <a:latin typeface="Nexa Book"/>
                        </a:defRPr>
                      </a:pPr>
                      <a:r>
                        <a:rPr sz="600">
                          <a:latin typeface="Nexa Book"/>
                        </a:rPr>
                        <a:t>56'975</a:t>
                      </a:r>
                    </a:p>
                  </a:txBody>
                  <a:tcPr marL="2858" marR="2858" marT="2858" marB="0" anchor="ctr">
                    <a:noFill/>
                  </a:tcPr>
                </a:tc>
                <a:tc>
                  <a:txBody>
                    <a:bodyPr/>
                    <a:lstStyle/>
                    <a:p>
                      <a:pPr algn="ctr">
                        <a:defRPr sz="600">
                          <a:latin typeface="Nexa Book"/>
                        </a:defRPr>
                      </a:pPr>
                      <a:r>
                        <a:rPr sz="600">
                          <a:latin typeface="Nexa Book"/>
                        </a:rPr>
                        <a:t>282%</a:t>
                      </a:r>
                    </a:p>
                  </a:txBody>
                  <a:tcPr marL="2858" marR="2858" marT="2858" marB="0" anchor="ctr">
                    <a:noFill/>
                  </a:tcPr>
                </a:tc>
                <a:tc>
                  <a:txBody>
                    <a:bodyPr/>
                    <a:lstStyle/>
                    <a:p>
                      <a:pPr algn="ctr">
                        <a:defRPr sz="600">
                          <a:latin typeface="Nexa Book"/>
                        </a:defRPr>
                      </a:pPr>
                      <a:r>
                        <a:rPr sz="600">
                          <a:latin typeface="Nexa Book"/>
                        </a:rPr>
                        <a:t>321%</a:t>
                      </a:r>
                    </a:p>
                  </a:txBody>
                  <a:tcPr marL="2858" marR="2858" marT="2858" marB="0" anchor="ctr">
                    <a:noFill/>
                  </a:tcPr>
                </a:tc>
                <a:tc>
                  <a:txBody>
                    <a:bodyPr/>
                    <a:lstStyle/>
                    <a:p>
                      <a:pPr algn="ctr">
                        <a:defRPr sz="600">
                          <a:latin typeface="Nexa Book"/>
                        </a:defRPr>
                      </a:pPr>
                      <a:r>
                        <a:rPr sz="600">
                          <a:latin typeface="Nexa Book"/>
                        </a:rPr>
                        <a:t>44615</a:t>
                      </a:r>
                    </a:p>
                  </a:txBody>
                  <a:tcPr marL="2858" marR="2858" marT="2858" marB="0" anchor="ctr">
                    <a:noFill/>
                  </a:tcPr>
                </a:tc>
                <a:tc>
                  <a:txBody>
                    <a:bodyPr/>
                    <a:lstStyle/>
                    <a:p>
                      <a:pPr algn="ctr">
                        <a:defRPr sz="600">
                          <a:latin typeface="Nexa Book"/>
                        </a:defRPr>
                      </a:pPr>
                      <a:r>
                        <a:rPr sz="600">
                          <a:latin typeface="Nexa Book"/>
                        </a:rPr>
                        <a:t>661%</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DE SAINT GALL LE TRADITION 1ER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 34.00</a:t>
                      </a:r>
                    </a:p>
                  </a:txBody>
                  <a:tcPr marL="2858" marR="2858" marT="2858" marB="0" anchor="ctr">
                    <a:noFill/>
                  </a:tcPr>
                </a:tc>
                <a:tc>
                  <a:txBody>
                    <a:bodyPr/>
                    <a:lstStyle/>
                    <a:p>
                      <a:pPr algn="ctr">
                        <a:defRPr sz="600">
                          <a:latin typeface="Nexa Book"/>
                        </a:defRPr>
                      </a:pPr>
                      <a:r>
                        <a:rPr sz="600">
                          <a:latin typeface="Nexa Book"/>
                        </a:rPr>
                        <a:t> 29.81</a:t>
                      </a:r>
                    </a:p>
                  </a:txBody>
                  <a:tcPr marL="2858" marR="2858" marT="2858" marB="0" anchor="ctr">
                    <a:noFill/>
                  </a:tcPr>
                </a:tc>
                <a:tc>
                  <a:txBody>
                    <a:bodyPr/>
                    <a:lstStyle/>
                    <a:p>
                      <a:pPr algn="ctr">
                        <a:defRPr sz="600">
                          <a:latin typeface="Nexa Book"/>
                        </a:defRPr>
                      </a:pPr>
                      <a:r>
                        <a:rPr sz="600">
                          <a:latin typeface="Nexa Book"/>
                        </a:rPr>
                        <a:t>52'171</a:t>
                      </a:r>
                    </a:p>
                  </a:txBody>
                  <a:tcPr marL="2858" marR="2858" marT="2858" marB="0" anchor="ctr">
                    <a:noFill/>
                  </a:tcPr>
                </a:tc>
                <a:tc>
                  <a:txBody>
                    <a:bodyPr/>
                    <a:lstStyle/>
                    <a:p>
                      <a:pPr algn="ctr">
                        <a:defRPr sz="600">
                          <a:latin typeface="Nexa Book"/>
                        </a:defRPr>
                      </a:pPr>
                      <a:r>
                        <a:rPr sz="600">
                          <a:latin typeface="Nexa Book"/>
                        </a:rPr>
                        <a:t>302%</a:t>
                      </a:r>
                    </a:p>
                  </a:txBody>
                  <a:tcPr marL="2858" marR="2858" marT="2858" marB="0" anchor="ctr">
                    <a:noFill/>
                  </a:tcPr>
                </a:tc>
                <a:tc>
                  <a:txBody>
                    <a:bodyPr/>
                    <a:lstStyle/>
                    <a:p>
                      <a:pPr algn="ctr">
                        <a:defRPr sz="600">
                          <a:latin typeface="Nexa Book"/>
                        </a:defRPr>
                      </a:pPr>
                      <a:r>
                        <a:rPr sz="600">
                          <a:latin typeface="Nexa Book"/>
                        </a:rPr>
                        <a:t>352%</a:t>
                      </a:r>
                    </a:p>
                  </a:txBody>
                  <a:tcPr marL="2858" marR="2858" marT="2858" marB="0" anchor="ctr">
                    <a:noFill/>
                  </a:tcPr>
                </a:tc>
                <a:tc>
                  <a:txBody>
                    <a:bodyPr/>
                    <a:lstStyle/>
                    <a:p>
                      <a:pPr algn="ctr">
                        <a:defRPr sz="600">
                          <a:latin typeface="Nexa Book"/>
                        </a:defRPr>
                      </a:pPr>
                      <a:r>
                        <a:rPr sz="600">
                          <a:latin typeface="Nexa Book"/>
                        </a:rPr>
                        <a:t>41930</a:t>
                      </a:r>
                    </a:p>
                  </a:txBody>
                  <a:tcPr marL="2858" marR="2858" marT="2858" marB="0" anchor="ctr">
                    <a:noFill/>
                  </a:tcPr>
                </a:tc>
                <a:tc>
                  <a:txBody>
                    <a:bodyPr/>
                    <a:lstStyle/>
                    <a:p>
                      <a:pPr algn="ctr">
                        <a:defRPr sz="600">
                          <a:latin typeface="Nexa Book"/>
                        </a:defRPr>
                      </a:pPr>
                      <a:r>
                        <a:rPr sz="600">
                          <a:latin typeface="Nexa Book"/>
                        </a:rPr>
                        <a:t>559%</a:t>
                      </a:r>
                    </a:p>
                  </a:txBody>
                  <a:tcPr marL="2858" marR="2858" marT="2858" marB="0" anchor="ctr">
                    <a:noFill/>
                  </a:tcPr>
                </a:tc>
                <a:tc>
                  <a:txBody>
                    <a:bodyPr/>
                    <a:lstStyle/>
                    <a:p>
                      <a:pPr algn="ctr">
                        <a:defRPr sz="600">
                          <a:latin typeface="Nexa Book"/>
                        </a:defRPr>
                      </a:pPr>
                      <a:r>
                        <a:rPr sz="600">
                          <a:latin typeface="Nexa Book"/>
                        </a:rPr>
                        <a:t>3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RUT SOUVERAIN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46.25</a:t>
                      </a:r>
                    </a:p>
                  </a:txBody>
                  <a:tcPr marL="2858" marR="2858" marT="2858" marB="0" anchor="ctr">
                    <a:noFill/>
                  </a:tcPr>
                </a:tc>
                <a:tc>
                  <a:txBody>
                    <a:bodyPr/>
                    <a:lstStyle/>
                    <a:p>
                      <a:pPr algn="ctr">
                        <a:defRPr sz="600">
                          <a:latin typeface="Nexa Book"/>
                        </a:defRPr>
                      </a:pPr>
                      <a:r>
                        <a:rPr sz="600">
                          <a:latin typeface="Nexa Book"/>
                        </a:rPr>
                        <a:t> 39.34</a:t>
                      </a:r>
                    </a:p>
                  </a:txBody>
                  <a:tcPr marL="2858" marR="2858" marT="2858" marB="0" anchor="ctr">
                    <a:noFill/>
                  </a:tcPr>
                </a:tc>
                <a:tc>
                  <a:txBody>
                    <a:bodyPr/>
                    <a:lstStyle/>
                    <a:p>
                      <a:pPr algn="ctr">
                        <a:defRPr sz="600">
                          <a:latin typeface="Nexa Book"/>
                        </a:defRPr>
                      </a:pPr>
                      <a:r>
                        <a:rPr sz="600">
                          <a:latin typeface="Nexa Book"/>
                        </a:rPr>
                        <a:t>45'669</a:t>
                      </a:r>
                    </a:p>
                  </a:txBody>
                  <a:tcPr marL="2858" marR="2858" marT="2858" marB="0" anchor="ctr">
                    <a:noFill/>
                  </a:tcPr>
                </a:tc>
                <a:tc>
                  <a:txBody>
                    <a:bodyPr/>
                    <a:lstStyle/>
                    <a:p>
                      <a:pPr algn="ctr">
                        <a:defRPr sz="600">
                          <a:latin typeface="Nexa Book"/>
                        </a:defRPr>
                      </a:pPr>
                      <a:r>
                        <a:rPr sz="600">
                          <a:latin typeface="Nexa Book"/>
                        </a:rPr>
                        <a:t>420%</a:t>
                      </a:r>
                    </a:p>
                  </a:txBody>
                  <a:tcPr marL="2858" marR="2858" marT="2858" marB="0" anchor="ctr">
                    <a:noFill/>
                  </a:tcPr>
                </a:tc>
                <a:tc>
                  <a:txBody>
                    <a:bodyPr/>
                    <a:lstStyle/>
                    <a:p>
                      <a:pPr algn="ctr">
                        <a:defRPr sz="600">
                          <a:latin typeface="Nexa Book"/>
                        </a:defRPr>
                      </a:pPr>
                      <a:r>
                        <a:rPr sz="600">
                          <a:latin typeface="Nexa Book"/>
                        </a:rPr>
                        <a:t>482%</a:t>
                      </a:r>
                    </a:p>
                  </a:txBody>
                  <a:tcPr marL="2858" marR="2858" marT="2858" marB="0" anchor="ctr">
                    <a:noFill/>
                  </a:tcPr>
                </a:tc>
                <a:tc>
                  <a:txBody>
                    <a:bodyPr/>
                    <a:lstStyle/>
                    <a:p>
                      <a:pPr algn="ctr">
                        <a:defRPr sz="600">
                          <a:latin typeface="Nexa Book"/>
                        </a:defRPr>
                      </a:pPr>
                      <a:r>
                        <a:rPr sz="600">
                          <a:latin typeface="Nexa Book"/>
                        </a:rPr>
                        <a:t>40117</a:t>
                      </a:r>
                    </a:p>
                  </a:txBody>
                  <a:tcPr marL="2858" marR="2858" marT="2858" marB="0" anchor="ctr">
                    <a:noFill/>
                  </a:tcPr>
                </a:tc>
                <a:tc>
                  <a:txBody>
                    <a:bodyPr/>
                    <a:lstStyle/>
                    <a:p>
                      <a:pPr algn="ctr">
                        <a:defRPr sz="600">
                          <a:latin typeface="Nexa Book"/>
                        </a:defRPr>
                      </a:pPr>
                      <a:r>
                        <a:rPr sz="600">
                          <a:latin typeface="Nexa Book"/>
                        </a:rPr>
                        <a:t>577%</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89349751"/>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CA D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Heidsieck &amp; Co Monopol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EIDSIECK MONOPOLE SILVER TOP 1CT X 750ML</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8.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58'88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0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88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 49.97</a:t>
                      </a:r>
                    </a:p>
                  </a:txBody>
                  <a:tcPr marL="2858" marR="2858" marT="2858" marB="0" anchor="ctr">
                    <a:noFill/>
                  </a:tcPr>
                </a:tc>
                <a:tc>
                  <a:txBody>
                    <a:bodyPr/>
                    <a:lstStyle/>
                    <a:p>
                      <a:pPr algn="ctr">
                        <a:defRPr sz="600">
                          <a:latin typeface="Nexa Book"/>
                        </a:defRPr>
                      </a:pPr>
                      <a:r>
                        <a:rPr sz="600">
                          <a:latin typeface="Nexa Book"/>
                        </a:rPr>
                        <a:t> 44.89</a:t>
                      </a:r>
                    </a:p>
                  </a:txBody>
                  <a:tcPr marL="2858" marR="2858" marT="2858" marB="0" anchor="ctr">
                    <a:noFill/>
                  </a:tcPr>
                </a:tc>
                <a:tc>
                  <a:txBody>
                    <a:bodyPr/>
                    <a:lstStyle/>
                    <a:p>
                      <a:pPr algn="ctr">
                        <a:defRPr sz="600">
                          <a:latin typeface="Nexa Book"/>
                        </a:defRPr>
                      </a:pPr>
                      <a:r>
                        <a:rPr sz="600">
                          <a:latin typeface="Nexa Book"/>
                        </a:rPr>
                        <a:t>123'846</a:t>
                      </a:r>
                    </a:p>
                  </a:txBody>
                  <a:tcPr marL="2858" marR="2858" marT="2858" marB="0" anchor="ctr">
                    <a:noFill/>
                  </a:tcPr>
                </a:tc>
                <a:tc>
                  <a:txBody>
                    <a:bodyPr/>
                    <a:lstStyle/>
                    <a:p>
                      <a:pPr algn="ctr">
                        <a:defRPr sz="600">
                          <a:latin typeface="Nexa Book"/>
                        </a:defRPr>
                      </a:pPr>
                      <a:r>
                        <a:rPr sz="600">
                          <a:latin typeface="Nexa Book"/>
                        </a:rPr>
                        <a:t>134%</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r>
                        <a:rPr sz="600">
                          <a:latin typeface="Nexa Book"/>
                        </a:rPr>
                        <a:t>226142</a:t>
                      </a:r>
                    </a:p>
                  </a:txBody>
                  <a:tcPr marL="2858" marR="2858" marT="2858" marB="0" anchor="ctr">
                    <a:noFill/>
                  </a:tcPr>
                </a:tc>
                <a:tc>
                  <a:txBody>
                    <a:bodyPr/>
                    <a:lstStyle/>
                    <a:p>
                      <a:pPr algn="ctr">
                        <a:defRPr sz="600">
                          <a:latin typeface="Nexa Book"/>
                        </a:defRPr>
                      </a:pPr>
                      <a:r>
                        <a:rPr sz="600">
                          <a:latin typeface="Nexa Book"/>
                        </a:rPr>
                        <a:t>1595%</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61.17</a:t>
                      </a:r>
                    </a:p>
                  </a:txBody>
                  <a:tcPr marL="2858" marR="2858" marT="2858" marB="0" anchor="ctr">
                    <a:noFill/>
                  </a:tcPr>
                </a:tc>
                <a:tc>
                  <a:txBody>
                    <a:bodyPr/>
                    <a:lstStyle/>
                    <a:p>
                      <a:pPr algn="ctr">
                        <a:defRPr sz="600">
                          <a:latin typeface="Nexa Book"/>
                        </a:defRPr>
                      </a:pPr>
                      <a:r>
                        <a:rPr sz="600">
                          <a:latin typeface="Nexa Book"/>
                        </a:rPr>
                        <a:t> 55.25</a:t>
                      </a:r>
                    </a:p>
                  </a:txBody>
                  <a:tcPr marL="2858" marR="2858" marT="2858" marB="0" anchor="ctr">
                    <a:noFill/>
                  </a:tcPr>
                </a:tc>
                <a:tc>
                  <a:txBody>
                    <a:bodyPr/>
                    <a:lstStyle/>
                    <a:p>
                      <a:pPr algn="ctr">
                        <a:defRPr sz="600">
                          <a:latin typeface="Nexa Book"/>
                        </a:defRPr>
                      </a:pPr>
                      <a:r>
                        <a:rPr sz="600">
                          <a:latin typeface="Nexa Book"/>
                        </a:rPr>
                        <a:t>441'750</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184147</a:t>
                      </a:r>
                    </a:p>
                  </a:txBody>
                  <a:tcPr marL="2858" marR="2858" marT="2858" marB="0" anchor="ctr">
                    <a:noFill/>
                  </a:tcPr>
                </a:tc>
                <a:tc>
                  <a:txBody>
                    <a:bodyPr/>
                    <a:lstStyle/>
                    <a:p>
                      <a:pPr algn="ctr">
                        <a:defRPr sz="600">
                          <a:latin typeface="Nexa Book"/>
                        </a:defRPr>
                      </a:pPr>
                      <a:r>
                        <a:rPr sz="600">
                          <a:latin typeface="Nexa Book"/>
                        </a:rPr>
                        <a:t>417%</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5.57</a:t>
                      </a:r>
                    </a:p>
                  </a:txBody>
                  <a:tcPr marL="2858" marR="2858" marT="2858" marB="0" anchor="ctr">
                    <a:noFill/>
                  </a:tcPr>
                </a:tc>
                <a:tc>
                  <a:txBody>
                    <a:bodyPr/>
                    <a:lstStyle/>
                    <a:p>
                      <a:pPr algn="ctr">
                        <a:defRPr sz="600">
                          <a:latin typeface="Nexa Book"/>
                        </a:defRPr>
                      </a:pPr>
                      <a:r>
                        <a:rPr sz="600">
                          <a:latin typeface="Nexa Book"/>
                        </a:rPr>
                        <a:t> 29.12</a:t>
                      </a:r>
                    </a:p>
                  </a:txBody>
                  <a:tcPr marL="2858" marR="2858" marT="2858" marB="0" anchor="ctr">
                    <a:noFill/>
                  </a:tcPr>
                </a:tc>
                <a:tc>
                  <a:txBody>
                    <a:bodyPr/>
                    <a:lstStyle/>
                    <a:p>
                      <a:pPr algn="ctr">
                        <a:defRPr sz="600">
                          <a:latin typeface="Nexa Book"/>
                        </a:defRPr>
                      </a:pPr>
                      <a:r>
                        <a:rPr sz="600">
                          <a:latin typeface="Nexa Book"/>
                        </a:rPr>
                        <a:t>224'212</a:t>
                      </a:r>
                    </a:p>
                  </a:txBody>
                  <a:tcPr marL="2858" marR="2858" marT="2858" marB="0" anchor="ctr">
                    <a:noFill/>
                  </a:tcPr>
                </a:tc>
                <a:tc>
                  <a:txBody>
                    <a:bodyPr/>
                    <a:lstStyle/>
                    <a:p>
                      <a:pPr algn="ctr">
                        <a:defRPr sz="600">
                          <a:latin typeface="Nexa Book"/>
                        </a:defRPr>
                      </a:pPr>
                      <a:r>
                        <a:rPr sz="600">
                          <a:latin typeface="Nexa Book"/>
                        </a:rPr>
                        <a:t>254%</a:t>
                      </a:r>
                    </a:p>
                  </a:txBody>
                  <a:tcPr marL="2858" marR="2858" marT="2858" marB="0" anchor="ctr">
                    <a:noFill/>
                  </a:tcPr>
                </a:tc>
                <a:tc>
                  <a:txBody>
                    <a:bodyPr/>
                    <a:lstStyle/>
                    <a:p>
                      <a:pPr algn="ctr">
                        <a:defRPr sz="600">
                          <a:latin typeface="Nexa Book"/>
                        </a:defRPr>
                      </a:pPr>
                      <a:r>
                        <a:rPr sz="600">
                          <a:latin typeface="Nexa Book"/>
                        </a:rPr>
                        <a:t>328%</a:t>
                      </a:r>
                    </a:p>
                  </a:txBody>
                  <a:tcPr marL="2858" marR="2858" marT="2858" marB="0" anchor="ctr">
                    <a:noFill/>
                  </a:tcPr>
                </a:tc>
                <a:tc>
                  <a:txBody>
                    <a:bodyPr/>
                    <a:lstStyle/>
                    <a:p>
                      <a:pPr algn="ctr">
                        <a:defRPr sz="600">
                          <a:latin typeface="Nexa Book"/>
                        </a:defRPr>
                      </a:pPr>
                      <a:r>
                        <a:rPr sz="600">
                          <a:latin typeface="Nexa Book"/>
                        </a:rPr>
                        <a:t>168252</a:t>
                      </a:r>
                    </a:p>
                  </a:txBody>
                  <a:tcPr marL="2858" marR="2858" marT="2858" marB="0" anchor="ctr">
                    <a:noFill/>
                  </a:tcPr>
                </a:tc>
                <a:tc>
                  <a:txBody>
                    <a:bodyPr/>
                    <a:lstStyle/>
                    <a:p>
                      <a:pPr algn="ctr">
                        <a:defRPr sz="600">
                          <a:latin typeface="Nexa Book"/>
                        </a:defRPr>
                      </a:pPr>
                      <a:r>
                        <a:rPr sz="600">
                          <a:latin typeface="Nexa Book"/>
                        </a:rPr>
                        <a:t>34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6%</a:t>
                      </a:r>
                    </a:p>
                  </a:txBody>
                  <a:tcPr marL="2858" marR="2858" marT="2858" marB="0" anchor="ctr">
                    <a:noFill/>
                  </a:tcPr>
                </a:tc>
                <a:tc>
                  <a:txBody>
                    <a:bodyPr/>
                    <a:lstStyle/>
                    <a:p>
                      <a:pPr algn="ctr">
                        <a:defRPr sz="600">
                          <a:latin typeface="Nexa Book"/>
                        </a:defRPr>
                      </a:pPr>
                      <a:r>
                        <a:rPr sz="600">
                          <a:latin typeface="Nexa Book"/>
                        </a:rPr>
                        <a:t> 36.14</a:t>
                      </a:r>
                    </a:p>
                  </a:txBody>
                  <a:tcPr marL="2858" marR="2858" marT="2858" marB="0" anchor="ctr">
                    <a:noFill/>
                  </a:tcPr>
                </a:tc>
                <a:tc>
                  <a:txBody>
                    <a:bodyPr/>
                    <a:lstStyle/>
                    <a:p>
                      <a:pPr algn="ctr">
                        <a:defRPr sz="600">
                          <a:latin typeface="Nexa Book"/>
                        </a:defRPr>
                      </a:pPr>
                      <a:r>
                        <a:rPr sz="600">
                          <a:latin typeface="Nexa Book"/>
                        </a:rPr>
                        <a:t> 28.20</a:t>
                      </a:r>
                    </a:p>
                  </a:txBody>
                  <a:tcPr marL="2858" marR="2858" marT="2858" marB="0" anchor="ctr">
                    <a:noFill/>
                  </a:tcPr>
                </a:tc>
                <a:tc>
                  <a:txBody>
                    <a:bodyPr/>
                    <a:lstStyle/>
                    <a:p>
                      <a:pPr algn="ctr">
                        <a:defRPr sz="600">
                          <a:latin typeface="Nexa Book"/>
                        </a:defRPr>
                      </a:pPr>
                      <a:r>
                        <a:rPr sz="600">
                          <a:latin typeface="Nexa Book"/>
                        </a:rPr>
                        <a:t>163'411</a:t>
                      </a:r>
                    </a:p>
                  </a:txBody>
                  <a:tcPr marL="2858" marR="2858" marT="2858" marB="0" anchor="ctr">
                    <a:noFill/>
                  </a:tcPr>
                </a:tc>
                <a:tc>
                  <a:txBody>
                    <a:bodyPr/>
                    <a:lstStyle/>
                    <a:p>
                      <a:pPr algn="ctr">
                        <a:defRPr sz="600">
                          <a:latin typeface="Nexa Book"/>
                        </a:defRPr>
                      </a:pPr>
                      <a:r>
                        <a:rPr sz="600">
                          <a:latin typeface="Nexa Book"/>
                        </a:rPr>
                        <a:t>460%</a:t>
                      </a:r>
                    </a:p>
                  </a:txBody>
                  <a:tcPr marL="2858" marR="2858" marT="2858" marB="0" anchor="ctr">
                    <a:noFill/>
                  </a:tcPr>
                </a:tc>
                <a:tc>
                  <a:txBody>
                    <a:bodyPr/>
                    <a:lstStyle/>
                    <a:p>
                      <a:pPr algn="ctr">
                        <a:defRPr sz="600">
                          <a:latin typeface="Nexa Book"/>
                        </a:defRPr>
                      </a:pPr>
                      <a:r>
                        <a:rPr sz="600">
                          <a:latin typeface="Nexa Book"/>
                        </a:rPr>
                        <a:t>574%</a:t>
                      </a:r>
                    </a:p>
                  </a:txBody>
                  <a:tcPr marL="2858" marR="2858" marT="2858" marB="0" anchor="ctr">
                    <a:noFill/>
                  </a:tcPr>
                </a:tc>
                <a:tc>
                  <a:txBody>
                    <a:bodyPr/>
                    <a:lstStyle/>
                    <a:p>
                      <a:pPr algn="ctr">
                        <a:defRPr sz="600">
                          <a:latin typeface="Nexa Book"/>
                        </a:defRPr>
                      </a:pPr>
                      <a:r>
                        <a:rPr sz="600">
                          <a:latin typeface="Nexa Book"/>
                        </a:rPr>
                        <a:t>154975</a:t>
                      </a:r>
                    </a:p>
                  </a:txBody>
                  <a:tcPr marL="2858" marR="2858" marT="2858" marB="0" anchor="ctr">
                    <a:noFill/>
                  </a:tcPr>
                </a:tc>
                <a:tc>
                  <a:txBody>
                    <a:bodyPr/>
                    <a:lstStyle/>
                    <a:p>
                      <a:pPr algn="ctr">
                        <a:defRPr sz="600">
                          <a:latin typeface="Nexa Book"/>
                        </a:defRPr>
                      </a:pPr>
                      <a:r>
                        <a:rPr sz="600">
                          <a:latin typeface="Nexa Book"/>
                        </a:rPr>
                        <a:t>342%</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46.67</a:t>
                      </a:r>
                    </a:p>
                  </a:txBody>
                  <a:tcPr marL="2858" marR="2858" marT="2858" marB="0" anchor="ctr">
                    <a:noFill/>
                  </a:tcPr>
                </a:tc>
                <a:tc>
                  <a:txBody>
                    <a:bodyPr/>
                    <a:lstStyle/>
                    <a:p>
                      <a:pPr algn="ctr">
                        <a:defRPr sz="600">
                          <a:latin typeface="Nexa Book"/>
                        </a:defRPr>
                      </a:pPr>
                      <a:r>
                        <a:rPr sz="600">
                          <a:latin typeface="Nexa Book"/>
                        </a:rPr>
                        <a:t> 39.75</a:t>
                      </a:r>
                    </a:p>
                  </a:txBody>
                  <a:tcPr marL="2858" marR="2858" marT="2858" marB="0" anchor="ctr">
                    <a:noFill/>
                  </a:tcPr>
                </a:tc>
                <a:tc>
                  <a:txBody>
                    <a:bodyPr/>
                    <a:lstStyle/>
                    <a:p>
                      <a:pPr algn="ctr">
                        <a:defRPr sz="600">
                          <a:latin typeface="Nexa Book"/>
                        </a:defRPr>
                      </a:pPr>
                      <a:r>
                        <a:rPr sz="600">
                          <a:latin typeface="Nexa Book"/>
                        </a:rPr>
                        <a:t>157'243</a:t>
                      </a:r>
                    </a:p>
                  </a:txBody>
                  <a:tcPr marL="2858" marR="2858" marT="2858" marB="0" anchor="ctr">
                    <a:noFill/>
                  </a:tcPr>
                </a:tc>
                <a:tc>
                  <a:txBody>
                    <a:bodyPr/>
                    <a:lstStyle/>
                    <a:p>
                      <a:pPr algn="ctr">
                        <a:defRPr sz="600">
                          <a:latin typeface="Nexa Book"/>
                        </a:defRPr>
                      </a:pPr>
                      <a:r>
                        <a:rPr sz="600">
                          <a:latin typeface="Nexa Book"/>
                        </a:rPr>
                        <a:t>283%</a:t>
                      </a:r>
                    </a:p>
                  </a:txBody>
                  <a:tcPr marL="2858" marR="2858" marT="2858" marB="0" anchor="ctr">
                    <a:noFill/>
                  </a:tcPr>
                </a:tc>
                <a:tc>
                  <a:txBody>
                    <a:bodyPr/>
                    <a:lstStyle/>
                    <a:p>
                      <a:pPr algn="ctr">
                        <a:defRPr sz="600">
                          <a:latin typeface="Nexa Book"/>
                        </a:defRPr>
                      </a:pPr>
                      <a:r>
                        <a:rPr sz="600">
                          <a:latin typeface="Nexa Book"/>
                        </a:rPr>
                        <a:t>332%</a:t>
                      </a:r>
                    </a:p>
                  </a:txBody>
                  <a:tcPr marL="2858" marR="2858" marT="2858" marB="0" anchor="ctr">
                    <a:noFill/>
                  </a:tcPr>
                </a:tc>
                <a:tc>
                  <a:txBody>
                    <a:bodyPr/>
                    <a:lstStyle/>
                    <a:p>
                      <a:pPr algn="ctr">
                        <a:defRPr sz="600">
                          <a:latin typeface="Nexa Book"/>
                        </a:defRPr>
                      </a:pPr>
                      <a:r>
                        <a:rPr sz="600">
                          <a:latin typeface="Nexa Book"/>
                        </a:rPr>
                        <a:t>124635</a:t>
                      </a:r>
                    </a:p>
                  </a:txBody>
                  <a:tcPr marL="2858" marR="2858" marT="2858" marB="0" anchor="ctr">
                    <a:noFill/>
                  </a:tcPr>
                </a:tc>
                <a:tc>
                  <a:txBody>
                    <a:bodyPr/>
                    <a:lstStyle/>
                    <a:p>
                      <a:pPr algn="ctr">
                        <a:defRPr sz="600">
                          <a:latin typeface="Nexa Book"/>
                        </a:defRPr>
                      </a:pPr>
                      <a:r>
                        <a:rPr sz="600">
                          <a:latin typeface="Nexa Book"/>
                        </a:rPr>
                        <a:t>562%</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r>
                        <a:rPr sz="600">
                          <a:latin typeface="Nexa Book"/>
                        </a:rPr>
                        <a:t> 33.52</a:t>
                      </a:r>
                    </a:p>
                  </a:txBody>
                  <a:tcPr marL="2858" marR="2858" marT="2858" marB="0" anchor="ctr">
                    <a:noFill/>
                  </a:tcPr>
                </a:tc>
                <a:tc>
                  <a:txBody>
                    <a:bodyPr/>
                    <a:lstStyle/>
                    <a:p>
                      <a:pPr algn="ctr">
                        <a:defRPr sz="600">
                          <a:latin typeface="Nexa Book"/>
                        </a:defRPr>
                      </a:pPr>
                      <a:r>
                        <a:rPr sz="600">
                          <a:latin typeface="Nexa Book"/>
                        </a:rPr>
                        <a:t> 29.60</a:t>
                      </a:r>
                    </a:p>
                  </a:txBody>
                  <a:tcPr marL="2858" marR="2858" marT="2858" marB="0" anchor="ctr">
                    <a:noFill/>
                  </a:tcPr>
                </a:tc>
                <a:tc>
                  <a:txBody>
                    <a:bodyPr/>
                    <a:lstStyle/>
                    <a:p>
                      <a:pPr algn="ctr">
                        <a:defRPr sz="600">
                          <a:latin typeface="Nexa Book"/>
                        </a:defRPr>
                      </a:pPr>
                      <a:r>
                        <a:rPr sz="600">
                          <a:latin typeface="Nexa Book"/>
                        </a:rPr>
                        <a:t>261'076</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117325</a:t>
                      </a:r>
                    </a:p>
                  </a:txBody>
                  <a:tcPr marL="2858" marR="2858" marT="2858" marB="0" anchor="ctr">
                    <a:noFill/>
                  </a:tcPr>
                </a:tc>
                <a:tc>
                  <a:txBody>
                    <a:bodyPr/>
                    <a:lstStyle/>
                    <a:p>
                      <a:pPr algn="ctr">
                        <a:defRPr sz="600">
                          <a:latin typeface="Nexa Book"/>
                        </a:defRPr>
                      </a:pPr>
                      <a:r>
                        <a:rPr sz="600">
                          <a:latin typeface="Nexa Book"/>
                        </a:rPr>
                        <a:t>338%</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 39.71</a:t>
                      </a:r>
                    </a:p>
                  </a:txBody>
                  <a:tcPr marL="2858" marR="2858" marT="2858" marB="0" anchor="ctr">
                    <a:noFill/>
                  </a:tcPr>
                </a:tc>
                <a:tc>
                  <a:txBody>
                    <a:bodyPr/>
                    <a:lstStyle/>
                    <a:p>
                      <a:pPr algn="ctr">
                        <a:defRPr sz="600">
                          <a:latin typeface="Nexa Book"/>
                        </a:defRPr>
                      </a:pPr>
                      <a:r>
                        <a:rPr sz="600">
                          <a:latin typeface="Nexa Book"/>
                        </a:rPr>
                        <a:t> 35.03</a:t>
                      </a:r>
                    </a:p>
                  </a:txBody>
                  <a:tcPr marL="2858" marR="2858" marT="2858" marB="0" anchor="ctr">
                    <a:noFill/>
                  </a:tcPr>
                </a:tc>
                <a:tc>
                  <a:txBody>
                    <a:bodyPr/>
                    <a:lstStyle/>
                    <a:p>
                      <a:pPr algn="ctr">
                        <a:defRPr sz="600">
                          <a:latin typeface="Nexa Book"/>
                        </a:defRPr>
                      </a:pPr>
                      <a:r>
                        <a:rPr sz="600">
                          <a:latin typeface="Nexa Book"/>
                        </a:rPr>
                        <a:t>133'177</a:t>
                      </a:r>
                    </a:p>
                  </a:txBody>
                  <a:tcPr marL="2858" marR="2858" marT="2858" marB="0" anchor="ctr">
                    <a:noFill/>
                  </a:tcPr>
                </a:tc>
                <a:tc>
                  <a:txBody>
                    <a:bodyPr/>
                    <a:lstStyle/>
                    <a:p>
                      <a:pPr algn="ctr">
                        <a:defRPr sz="600">
                          <a:latin typeface="Nexa Book"/>
                        </a:defRPr>
                      </a:pPr>
                      <a:r>
                        <a:rPr sz="600">
                          <a:latin typeface="Nexa Book"/>
                        </a:rPr>
                        <a:t>191%</a:t>
                      </a:r>
                    </a:p>
                  </a:txBody>
                  <a:tcPr marL="2858" marR="2858" marT="2858" marB="0" anchor="ctr">
                    <a:noFill/>
                  </a:tcPr>
                </a:tc>
                <a:tc>
                  <a:txBody>
                    <a:bodyPr/>
                    <a:lstStyle/>
                    <a:p>
                      <a:pPr algn="ctr">
                        <a:defRPr sz="600">
                          <a:latin typeface="Nexa Book"/>
                        </a:defRPr>
                      </a:pPr>
                      <a:r>
                        <a:rPr sz="600">
                          <a:latin typeface="Nexa Book"/>
                        </a:rPr>
                        <a:t>221%</a:t>
                      </a:r>
                    </a:p>
                  </a:txBody>
                  <a:tcPr marL="2858" marR="2858" marT="2858" marB="0" anchor="ctr">
                    <a:noFill/>
                  </a:tcPr>
                </a:tc>
                <a:tc>
                  <a:txBody>
                    <a:bodyPr/>
                    <a:lstStyle/>
                    <a:p>
                      <a:pPr algn="ctr">
                        <a:defRPr sz="600">
                          <a:latin typeface="Nexa Book"/>
                        </a:defRPr>
                      </a:pPr>
                      <a:r>
                        <a:rPr sz="600">
                          <a:latin typeface="Nexa Book"/>
                        </a:rPr>
                        <a:t>96707</a:t>
                      </a:r>
                    </a:p>
                  </a:txBody>
                  <a:tcPr marL="2858" marR="2858" marT="2858" marB="0" anchor="ctr">
                    <a:noFill/>
                  </a:tcPr>
                </a:tc>
                <a:tc>
                  <a:txBody>
                    <a:bodyPr/>
                    <a:lstStyle/>
                    <a:p>
                      <a:pPr algn="ctr">
                        <a:defRPr sz="600">
                          <a:latin typeface="Nexa Book"/>
                        </a:defRPr>
                      </a:pPr>
                      <a:r>
                        <a:rPr sz="600">
                          <a:latin typeface="Nexa Book"/>
                        </a:rPr>
                        <a:t>565%</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35.00</a:t>
                      </a:r>
                    </a:p>
                  </a:txBody>
                  <a:tcPr marL="2858" marR="2858" marT="2858" marB="0" anchor="ctr">
                    <a:noFill/>
                  </a:tcPr>
                </a:tc>
                <a:tc>
                  <a:txBody>
                    <a:bodyPr/>
                    <a:lstStyle/>
                    <a:p>
                      <a:pPr algn="ctr">
                        <a:defRPr sz="600">
                          <a:latin typeface="Nexa Book"/>
                        </a:defRPr>
                      </a:pPr>
                      <a:r>
                        <a:rPr sz="600">
                          <a:latin typeface="Nexa Book"/>
                        </a:rPr>
                        <a:t> 29.50</a:t>
                      </a:r>
                    </a:p>
                  </a:txBody>
                  <a:tcPr marL="2858" marR="2858" marT="2858" marB="0" anchor="ctr">
                    <a:noFill/>
                  </a:tcPr>
                </a:tc>
                <a:tc>
                  <a:txBody>
                    <a:bodyPr/>
                    <a:lstStyle/>
                    <a:p>
                      <a:pPr algn="ctr">
                        <a:defRPr sz="600">
                          <a:latin typeface="Nexa Book"/>
                        </a:defRPr>
                      </a:pPr>
                      <a:r>
                        <a:rPr sz="600">
                          <a:latin typeface="Nexa Book"/>
                        </a:rPr>
                        <a:t>190'805</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116%</a:t>
                      </a:r>
                    </a:p>
                  </a:txBody>
                  <a:tcPr marL="2858" marR="2858" marT="2858" marB="0" anchor="ctr">
                    <a:noFill/>
                  </a:tcPr>
                </a:tc>
                <a:tc>
                  <a:txBody>
                    <a:bodyPr/>
                    <a:lstStyle/>
                    <a:p>
                      <a:pPr algn="ctr">
                        <a:defRPr sz="600">
                          <a:latin typeface="Nexa Book"/>
                        </a:defRPr>
                      </a:pPr>
                      <a:r>
                        <a:rPr sz="600">
                          <a:latin typeface="Nexa Book"/>
                        </a:rPr>
                        <a:t>90557</a:t>
                      </a:r>
                    </a:p>
                  </a:txBody>
                  <a:tcPr marL="2858" marR="2858" marT="2858" marB="0" anchor="ctr">
                    <a:noFill/>
                  </a:tcPr>
                </a:tc>
                <a:tc>
                  <a:txBody>
                    <a:bodyPr/>
                    <a:lstStyle/>
                    <a:p>
                      <a:pPr algn="ctr">
                        <a:defRPr sz="600">
                          <a:latin typeface="Nexa Book"/>
                        </a:defRPr>
                      </a:pPr>
                      <a:r>
                        <a:rPr sz="600">
                          <a:latin typeface="Nexa Book"/>
                        </a:rPr>
                        <a:t>25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49.09</a:t>
                      </a:r>
                    </a:p>
                  </a:txBody>
                  <a:tcPr marL="2858" marR="2858" marT="2858" marB="0" anchor="ctr">
                    <a:noFill/>
                  </a:tcPr>
                </a:tc>
                <a:tc>
                  <a:txBody>
                    <a:bodyPr/>
                    <a:lstStyle/>
                    <a:p>
                      <a:pPr algn="ctr">
                        <a:defRPr sz="600">
                          <a:latin typeface="Nexa Book"/>
                        </a:defRPr>
                      </a:pPr>
                      <a:r>
                        <a:rPr sz="600">
                          <a:latin typeface="Nexa Book"/>
                        </a:rPr>
                        <a:t> 44.07</a:t>
                      </a:r>
                    </a:p>
                  </a:txBody>
                  <a:tcPr marL="2858" marR="2858" marT="2858" marB="0" anchor="ctr">
                    <a:noFill/>
                  </a:tcPr>
                </a:tc>
                <a:tc>
                  <a:txBody>
                    <a:bodyPr/>
                    <a:lstStyle/>
                    <a:p>
                      <a:pPr algn="ctr">
                        <a:defRPr sz="600">
                          <a:latin typeface="Nexa Book"/>
                        </a:defRPr>
                      </a:pPr>
                      <a:r>
                        <a:rPr sz="600">
                          <a:latin typeface="Nexa Book"/>
                        </a:rPr>
                        <a:t>141'986</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83248</a:t>
                      </a:r>
                    </a:p>
                  </a:txBody>
                  <a:tcPr marL="2858" marR="2858" marT="2858" marB="0" anchor="ctr">
                    <a:noFill/>
                  </a:tcPr>
                </a:tc>
                <a:tc>
                  <a:txBody>
                    <a:bodyPr/>
                    <a:lstStyle/>
                    <a:p>
                      <a:pPr algn="ctr">
                        <a:defRPr sz="600">
                          <a:latin typeface="Nexa Book"/>
                        </a:defRPr>
                      </a:pPr>
                      <a:r>
                        <a:rPr sz="600">
                          <a:latin typeface="Nexa Book"/>
                        </a:rPr>
                        <a:t>503%</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9.69</a:t>
                      </a:r>
                    </a:p>
                  </a:txBody>
                  <a:tcPr marL="2858" marR="2858" marT="2858" marB="0" anchor="ctr">
                    <a:noFill/>
                  </a:tcPr>
                </a:tc>
                <a:tc>
                  <a:txBody>
                    <a:bodyPr/>
                    <a:lstStyle/>
                    <a:p>
                      <a:pPr algn="ctr">
                        <a:defRPr sz="600">
                          <a:latin typeface="Nexa Book"/>
                        </a:defRPr>
                      </a:pPr>
                      <a:r>
                        <a:rPr sz="600">
                          <a:latin typeface="Nexa Book"/>
                        </a:rPr>
                        <a:t> 35.59</a:t>
                      </a:r>
                    </a:p>
                  </a:txBody>
                  <a:tcPr marL="2858" marR="2858" marT="2858" marB="0" anchor="ctr">
                    <a:noFill/>
                  </a:tcPr>
                </a:tc>
                <a:tc>
                  <a:txBody>
                    <a:bodyPr/>
                    <a:lstStyle/>
                    <a:p>
                      <a:pPr algn="ctr">
                        <a:defRPr sz="600">
                          <a:latin typeface="Nexa Book"/>
                        </a:defRPr>
                      </a:pPr>
                      <a:r>
                        <a:rPr sz="600">
                          <a:latin typeface="Nexa Book"/>
                        </a:rPr>
                        <a:t>120'339</a:t>
                      </a:r>
                    </a:p>
                  </a:txBody>
                  <a:tcPr marL="2858" marR="2858" marT="2858" marB="0" anchor="ctr">
                    <a:noFill/>
                  </a:tcPr>
                </a:tc>
                <a:tc>
                  <a:txBody>
                    <a:bodyPr/>
                    <a:lstStyle/>
                    <a:p>
                      <a:pPr algn="ctr">
                        <a:defRPr sz="600">
                          <a:latin typeface="Nexa Book"/>
                        </a:defRPr>
                      </a:pPr>
                      <a:r>
                        <a:rPr sz="600">
                          <a:latin typeface="Nexa Book"/>
                        </a:rPr>
                        <a:t>148%</a:t>
                      </a:r>
                    </a:p>
                  </a:txBody>
                  <a:tcPr marL="2858" marR="2858" marT="2858" marB="0" anchor="ctr">
                    <a:noFill/>
                  </a:tcPr>
                </a:tc>
                <a:tc>
                  <a:txBody>
                    <a:bodyPr/>
                    <a:lstStyle/>
                    <a:p>
                      <a:pPr algn="ctr">
                        <a:defRPr sz="600">
                          <a:latin typeface="Nexa Book"/>
                        </a:defRPr>
                      </a:pPr>
                      <a:r>
                        <a:rPr sz="600">
                          <a:latin typeface="Nexa Book"/>
                        </a:rPr>
                        <a:t>173%</a:t>
                      </a:r>
                    </a:p>
                  </a:txBody>
                  <a:tcPr marL="2858" marR="2858" marT="2858" marB="0" anchor="ctr">
                    <a:noFill/>
                  </a:tcPr>
                </a:tc>
                <a:tc>
                  <a:txBody>
                    <a:bodyPr/>
                    <a:lstStyle/>
                    <a:p>
                      <a:pPr algn="ctr">
                        <a:defRPr sz="600">
                          <a:latin typeface="Nexa Book"/>
                        </a:defRPr>
                      </a:pPr>
                      <a:r>
                        <a:rPr sz="600">
                          <a:latin typeface="Nexa Book"/>
                        </a:rPr>
                        <a:t>75931</a:t>
                      </a:r>
                    </a:p>
                  </a:txBody>
                  <a:tcPr marL="2858" marR="2858" marT="2858" marB="0" anchor="ctr">
                    <a:noFill/>
                  </a:tcPr>
                </a:tc>
                <a:tc>
                  <a:txBody>
                    <a:bodyPr/>
                    <a:lstStyle/>
                    <a:p>
                      <a:pPr algn="ctr">
                        <a:defRPr sz="600">
                          <a:latin typeface="Nexa Book"/>
                        </a:defRPr>
                      </a:pPr>
                      <a:r>
                        <a:rPr sz="600">
                          <a:latin typeface="Nexa Book"/>
                        </a:rPr>
                        <a:t>575%</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0.91</a:t>
                      </a:r>
                    </a:p>
                  </a:txBody>
                  <a:tcPr marL="2858" marR="2858" marT="2858" marB="0" anchor="ctr">
                    <a:noFill/>
                  </a:tcPr>
                </a:tc>
                <a:tc>
                  <a:txBody>
                    <a:bodyPr/>
                    <a:lstStyle/>
                    <a:p>
                      <a:pPr algn="ctr">
                        <a:defRPr sz="600">
                          <a:latin typeface="Nexa Book"/>
                        </a:defRPr>
                      </a:pPr>
                      <a:r>
                        <a:rPr sz="600">
                          <a:latin typeface="Nexa Book"/>
                        </a:rPr>
                        <a:t> 36.68</a:t>
                      </a:r>
                    </a:p>
                  </a:txBody>
                  <a:tcPr marL="2858" marR="2858" marT="2858" marB="0" anchor="ctr">
                    <a:noFill/>
                  </a:tcPr>
                </a:tc>
                <a:tc>
                  <a:txBody>
                    <a:bodyPr/>
                    <a:lstStyle/>
                    <a:p>
                      <a:pPr algn="ctr">
                        <a:defRPr sz="600">
                          <a:latin typeface="Nexa Book"/>
                        </a:defRPr>
                      </a:pPr>
                      <a:r>
                        <a:rPr sz="600">
                          <a:latin typeface="Nexa Book"/>
                        </a:rPr>
                        <a:t>158'478</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82%</a:t>
                      </a:r>
                    </a:p>
                  </a:txBody>
                  <a:tcPr marL="2858" marR="2858" marT="2858" marB="0" anchor="ctr">
                    <a:noFill/>
                  </a:tcPr>
                </a:tc>
                <a:tc>
                  <a:txBody>
                    <a:bodyPr/>
                    <a:lstStyle/>
                    <a:p>
                      <a:pPr algn="ctr">
                        <a:defRPr sz="600">
                          <a:latin typeface="Nexa Book"/>
                        </a:defRPr>
                      </a:pPr>
                      <a:r>
                        <a:rPr sz="600">
                          <a:latin typeface="Nexa Book"/>
                        </a:rPr>
                        <a:t>66860</a:t>
                      </a:r>
                    </a:p>
                  </a:txBody>
                  <a:tcPr marL="2858" marR="2858" marT="2858" marB="0" anchor="ctr">
                    <a:noFill/>
                  </a:tcPr>
                </a:tc>
                <a:tc>
                  <a:txBody>
                    <a:bodyPr/>
                    <a:lstStyle/>
                    <a:p>
                      <a:pPr algn="ctr">
                        <a:defRPr sz="600">
                          <a:latin typeface="Nexa Book"/>
                        </a:defRPr>
                      </a:pPr>
                      <a:r>
                        <a:rPr sz="600">
                          <a:latin typeface="Nexa Book"/>
                        </a:rPr>
                        <a:t>372%</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1.52</a:t>
                      </a:r>
                    </a:p>
                  </a:txBody>
                  <a:tcPr marL="2858" marR="2858" marT="2858" marB="0" anchor="ctr">
                    <a:noFill/>
                  </a:tcPr>
                </a:tc>
                <a:tc>
                  <a:txBody>
                    <a:bodyPr/>
                    <a:lstStyle/>
                    <a:p>
                      <a:pPr algn="ctr">
                        <a:defRPr sz="600">
                          <a:latin typeface="Nexa Book"/>
                        </a:defRPr>
                      </a:pPr>
                      <a:r>
                        <a:rPr sz="600">
                          <a:latin typeface="Nexa Book"/>
                        </a:rPr>
                        <a:t> 55.26</a:t>
                      </a:r>
                    </a:p>
                  </a:txBody>
                  <a:tcPr marL="2858" marR="2858" marT="2858" marB="0" anchor="ctr">
                    <a:noFill/>
                  </a:tcPr>
                </a:tc>
                <a:tc>
                  <a:txBody>
                    <a:bodyPr/>
                    <a:lstStyle/>
                    <a:p>
                      <a:pPr algn="ctr">
                        <a:defRPr sz="600">
                          <a:latin typeface="Nexa Book"/>
                        </a:defRPr>
                      </a:pPr>
                      <a:r>
                        <a:rPr sz="600">
                          <a:latin typeface="Nexa Book"/>
                        </a:rPr>
                        <a:t>103'774</a:t>
                      </a:r>
                    </a:p>
                  </a:txBody>
                  <a:tcPr marL="2858" marR="2858" marT="2858" marB="0" anchor="ctr">
                    <a:noFill/>
                  </a:tcPr>
                </a:tc>
                <a:tc>
                  <a:txBody>
                    <a:bodyPr/>
                    <a:lstStyle/>
                    <a:p>
                      <a:pPr algn="ctr">
                        <a:defRPr sz="600">
                          <a:latin typeface="Nexa Book"/>
                        </a:defRPr>
                      </a:pPr>
                      <a:r>
                        <a:rPr sz="600">
                          <a:latin typeface="Nexa Book"/>
                        </a:rPr>
                        <a:t>122%</a:t>
                      </a:r>
                    </a:p>
                  </a:txBody>
                  <a:tcPr marL="2858" marR="2858" marT="2858" marB="0" anchor="ctr">
                    <a:noFill/>
                  </a:tcPr>
                </a:tc>
                <a:tc>
                  <a:txBody>
                    <a:bodyPr/>
                    <a:lstStyle/>
                    <a:p>
                      <a:pPr algn="ctr">
                        <a:defRPr sz="600">
                          <a:latin typeface="Nexa Book"/>
                        </a:defRPr>
                      </a:pPr>
                      <a:r>
                        <a:rPr sz="600">
                          <a:latin typeface="Nexa Book"/>
                        </a:rPr>
                        <a:t>144%</a:t>
                      </a:r>
                    </a:p>
                  </a:txBody>
                  <a:tcPr marL="2858" marR="2858" marT="2858" marB="0" anchor="ctr">
                    <a:noFill/>
                  </a:tcPr>
                </a:tc>
                <a:tc>
                  <a:txBody>
                    <a:bodyPr/>
                    <a:lstStyle/>
                    <a:p>
                      <a:pPr algn="ctr">
                        <a:defRPr sz="600">
                          <a:latin typeface="Nexa Book"/>
                        </a:defRPr>
                      </a:pPr>
                      <a:r>
                        <a:rPr sz="600">
                          <a:latin typeface="Nexa Book"/>
                        </a:rPr>
                        <a:t>62048</a:t>
                      </a:r>
                    </a:p>
                  </a:txBody>
                  <a:tcPr marL="2858" marR="2858" marT="2858" marB="0" anchor="ctr">
                    <a:noFill/>
                  </a:tcPr>
                </a:tc>
                <a:tc>
                  <a:txBody>
                    <a:bodyPr/>
                    <a:lstStyle/>
                    <a:p>
                      <a:pPr algn="ctr">
                        <a:defRPr sz="600">
                          <a:latin typeface="Nexa Book"/>
                        </a:defRPr>
                      </a:pPr>
                      <a:r>
                        <a:rPr sz="600">
                          <a:latin typeface="Nexa Book"/>
                        </a:rPr>
                        <a:t>533%</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 65.01</a:t>
                      </a:r>
                    </a:p>
                  </a:txBody>
                  <a:tcPr marL="2858" marR="2858" marT="2858" marB="0" anchor="ctr">
                    <a:noFill/>
                  </a:tcPr>
                </a:tc>
                <a:tc>
                  <a:txBody>
                    <a:bodyPr/>
                    <a:lstStyle/>
                    <a:p>
                      <a:pPr algn="ctr">
                        <a:defRPr sz="600">
                          <a:latin typeface="Nexa Book"/>
                        </a:defRPr>
                      </a:pPr>
                      <a:r>
                        <a:rPr sz="600">
                          <a:latin typeface="Nexa Book"/>
                        </a:rPr>
                        <a:t> 58.71</a:t>
                      </a:r>
                    </a:p>
                  </a:txBody>
                  <a:tcPr marL="2858" marR="2858" marT="2858" marB="0" anchor="ctr">
                    <a:noFill/>
                  </a:tcPr>
                </a:tc>
                <a:tc>
                  <a:txBody>
                    <a:bodyPr/>
                    <a:lstStyle/>
                    <a:p>
                      <a:pPr algn="ctr">
                        <a:defRPr sz="600">
                          <a:latin typeface="Nexa Book"/>
                        </a:defRPr>
                      </a:pPr>
                      <a:r>
                        <a:rPr sz="600">
                          <a:latin typeface="Nexa Book"/>
                        </a:rPr>
                        <a:t>113'895</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8%</a:t>
                      </a:r>
                    </a:p>
                  </a:txBody>
                  <a:tcPr marL="2858" marR="2858" marT="2858" marB="0" anchor="ctr">
                    <a:noFill/>
                  </a:tcPr>
                </a:tc>
                <a:tc>
                  <a:txBody>
                    <a:bodyPr/>
                    <a:lstStyle/>
                    <a:p>
                      <a:pPr algn="ctr">
                        <a:defRPr sz="600">
                          <a:latin typeface="Nexa Book"/>
                        </a:defRPr>
                      </a:pPr>
                      <a:r>
                        <a:rPr sz="600">
                          <a:latin typeface="Nexa Book"/>
                        </a:rPr>
                        <a:t>58188</a:t>
                      </a:r>
                    </a:p>
                  </a:txBody>
                  <a:tcPr marL="2858" marR="2858" marT="2858" marB="0" anchor="ctr">
                    <a:noFill/>
                  </a:tcPr>
                </a:tc>
                <a:tc>
                  <a:txBody>
                    <a:bodyPr/>
                    <a:lstStyle/>
                    <a:p>
                      <a:pPr algn="ctr">
                        <a:defRPr sz="600">
                          <a:latin typeface="Nexa Book"/>
                        </a:defRPr>
                      </a:pPr>
                      <a:r>
                        <a:rPr sz="600">
                          <a:latin typeface="Nexa Book"/>
                        </a:rPr>
                        <a:t>477%</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47.11</a:t>
                      </a:r>
                    </a:p>
                  </a:txBody>
                  <a:tcPr marL="2858" marR="2858" marT="2858" marB="0" anchor="ctr">
                    <a:noFill/>
                  </a:tcPr>
                </a:tc>
                <a:tc>
                  <a:txBody>
                    <a:bodyPr/>
                    <a:lstStyle/>
                    <a:p>
                      <a:pPr algn="ctr">
                        <a:defRPr sz="600">
                          <a:latin typeface="Nexa Book"/>
                        </a:defRPr>
                      </a:pPr>
                      <a:r>
                        <a:rPr sz="600">
                          <a:latin typeface="Nexa Book"/>
                        </a:rPr>
                        <a:t> 40.35</a:t>
                      </a:r>
                    </a:p>
                  </a:txBody>
                  <a:tcPr marL="2858" marR="2858" marT="2858" marB="0" anchor="ctr">
                    <a:noFill/>
                  </a:tcPr>
                </a:tc>
                <a:tc>
                  <a:txBody>
                    <a:bodyPr/>
                    <a:lstStyle/>
                    <a:p>
                      <a:pPr algn="ctr">
                        <a:defRPr sz="600">
                          <a:latin typeface="Nexa Book"/>
                        </a:defRPr>
                      </a:pPr>
                      <a:r>
                        <a:rPr sz="600">
                          <a:latin typeface="Nexa Book"/>
                        </a:rPr>
                        <a:t>72'268</a:t>
                      </a:r>
                    </a:p>
                  </a:txBody>
                  <a:tcPr marL="2858" marR="2858" marT="2858" marB="0" anchor="ctr">
                    <a:noFill/>
                  </a:tcPr>
                </a:tc>
                <a:tc>
                  <a:txBody>
                    <a:bodyPr/>
                    <a:lstStyle/>
                    <a:p>
                      <a:pPr algn="ctr">
                        <a:defRPr sz="600">
                          <a:latin typeface="Nexa Book"/>
                        </a:defRPr>
                      </a:pPr>
                      <a:r>
                        <a:rPr sz="600">
                          <a:latin typeface="Nexa Book"/>
                        </a:rPr>
                        <a:t>179%</a:t>
                      </a:r>
                    </a:p>
                  </a:txBody>
                  <a:tcPr marL="2858" marR="2858" marT="2858" marB="0" anchor="ctr">
                    <a:noFill/>
                  </a:tcPr>
                </a:tc>
                <a:tc>
                  <a:txBody>
                    <a:bodyPr/>
                    <a:lstStyle/>
                    <a:p>
                      <a:pPr algn="ctr">
                        <a:defRPr sz="600">
                          <a:latin typeface="Nexa Book"/>
                        </a:defRPr>
                      </a:pPr>
                      <a:r>
                        <a:rPr sz="600">
                          <a:latin typeface="Nexa Book"/>
                        </a:rPr>
                        <a:t>210%</a:t>
                      </a:r>
                    </a:p>
                  </a:txBody>
                  <a:tcPr marL="2858" marR="2858" marT="2858" marB="0" anchor="ctr">
                    <a:noFill/>
                  </a:tcPr>
                </a:tc>
                <a:tc>
                  <a:txBody>
                    <a:bodyPr/>
                    <a:lstStyle/>
                    <a:p>
                      <a:pPr algn="ctr">
                        <a:defRPr sz="600">
                          <a:latin typeface="Nexa Book"/>
                        </a:defRPr>
                      </a:pPr>
                      <a:r>
                        <a:rPr sz="600">
                          <a:latin typeface="Nexa Book"/>
                        </a:rPr>
                        <a:t>53365</a:t>
                      </a:r>
                    </a:p>
                  </a:txBody>
                  <a:tcPr marL="2858" marR="2858" marT="2858" marB="0" anchor="ctr">
                    <a:noFill/>
                  </a:tcPr>
                </a:tc>
                <a:tc>
                  <a:txBody>
                    <a:bodyPr/>
                    <a:lstStyle/>
                    <a:p>
                      <a:pPr algn="ctr">
                        <a:defRPr sz="600">
                          <a:latin typeface="Nexa Book"/>
                        </a:defRPr>
                      </a:pPr>
                      <a:r>
                        <a:rPr sz="600">
                          <a:latin typeface="Nexa Book"/>
                        </a:rPr>
                        <a:t>45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Vesselle</a:t>
                      </a:r>
                    </a:p>
                  </a:txBody>
                  <a:tcPr marL="2858" marR="2858" marT="2858" marB="0" anchor="ctr">
                    <a:noFill/>
                  </a:tcPr>
                </a:tc>
                <a:tc>
                  <a:txBody>
                    <a:bodyPr/>
                    <a:lstStyle/>
                    <a:p>
                      <a:pPr algn="l">
                        <a:defRPr sz="600">
                          <a:latin typeface="Nexa Book"/>
                        </a:defRPr>
                      </a:pPr>
                      <a:r>
                        <a:rPr sz="600">
                          <a:latin typeface="Nexa Book"/>
                        </a:rPr>
                        <a:t>GEORGES VESSELLE GRD CR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 33.02</a:t>
                      </a:r>
                    </a:p>
                  </a:txBody>
                  <a:tcPr marL="2858" marR="2858" marT="2858" marB="0" anchor="ctr">
                    <a:noFill/>
                  </a:tcPr>
                </a:tc>
                <a:tc>
                  <a:txBody>
                    <a:bodyPr/>
                    <a:lstStyle/>
                    <a:p>
                      <a:pPr algn="ctr">
                        <a:defRPr sz="600">
                          <a:latin typeface="Nexa Book"/>
                        </a:defRPr>
                      </a:pPr>
                      <a:r>
                        <a:rPr sz="600">
                          <a:latin typeface="Nexa Book"/>
                        </a:rPr>
                        <a:t> 29.70</a:t>
                      </a:r>
                    </a:p>
                  </a:txBody>
                  <a:tcPr marL="2858" marR="2858" marT="2858" marB="0" anchor="ctr">
                    <a:noFill/>
                  </a:tcPr>
                </a:tc>
                <a:tc>
                  <a:txBody>
                    <a:bodyPr/>
                    <a:lstStyle/>
                    <a:p>
                      <a:pPr algn="ctr">
                        <a:defRPr sz="600">
                          <a:latin typeface="Nexa Book"/>
                        </a:defRPr>
                      </a:pPr>
                      <a:r>
                        <a:rPr sz="600">
                          <a:latin typeface="Nexa Book"/>
                        </a:rPr>
                        <a:t>76'803</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182%</a:t>
                      </a:r>
                    </a:p>
                  </a:txBody>
                  <a:tcPr marL="2858" marR="2858" marT="2858" marB="0" anchor="ctr">
                    <a:noFill/>
                  </a:tcPr>
                </a:tc>
                <a:tc>
                  <a:txBody>
                    <a:bodyPr/>
                    <a:lstStyle/>
                    <a:p>
                      <a:pPr algn="ctr">
                        <a:defRPr sz="600">
                          <a:latin typeface="Nexa Book"/>
                        </a:defRPr>
                      </a:pPr>
                      <a:r>
                        <a:rPr sz="600">
                          <a:latin typeface="Nexa Book"/>
                        </a:rPr>
                        <a:t>51614</a:t>
                      </a:r>
                    </a:p>
                  </a:txBody>
                  <a:tcPr marL="2858" marR="2858" marT="2858" marB="0" anchor="ctr">
                    <a:noFill/>
                  </a:tcPr>
                </a:tc>
                <a:tc>
                  <a:txBody>
                    <a:bodyPr/>
                    <a:lstStyle/>
                    <a:p>
                      <a:pPr algn="ctr">
                        <a:defRPr sz="600">
                          <a:latin typeface="Nexa Book"/>
                        </a:defRPr>
                      </a:pPr>
                      <a:r>
                        <a:rPr sz="600">
                          <a:latin typeface="Nexa Book"/>
                        </a:rPr>
                        <a:t>611%</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93.12</a:t>
                      </a:r>
                    </a:p>
                  </a:txBody>
                  <a:tcPr marL="2858" marR="2858" marT="2858" marB="0" anchor="ctr">
                    <a:noFill/>
                  </a:tcPr>
                </a:tc>
                <a:tc>
                  <a:txBody>
                    <a:bodyPr/>
                    <a:lstStyle/>
                    <a:p>
                      <a:pPr algn="ctr">
                        <a:defRPr sz="600">
                          <a:latin typeface="Nexa Book"/>
                        </a:defRPr>
                      </a:pPr>
                      <a:r>
                        <a:rPr sz="600">
                          <a:latin typeface="Nexa Book"/>
                        </a:rPr>
                        <a:t> 84.37</a:t>
                      </a:r>
                    </a:p>
                  </a:txBody>
                  <a:tcPr marL="2858" marR="2858" marT="2858" marB="0" anchor="ctr">
                    <a:noFill/>
                  </a:tcPr>
                </a:tc>
                <a:tc>
                  <a:txBody>
                    <a:bodyPr/>
                    <a:lstStyle/>
                    <a:p>
                      <a:pPr algn="ctr">
                        <a:defRPr sz="600">
                          <a:latin typeface="Nexa Book"/>
                        </a:defRPr>
                      </a:pPr>
                      <a:r>
                        <a:rPr sz="600">
                          <a:latin typeface="Nexa Book"/>
                        </a:rPr>
                        <a:t>65'806</a:t>
                      </a:r>
                    </a:p>
                  </a:txBody>
                  <a:tcPr marL="2858" marR="2858" marT="2858" marB="0" anchor="ctr">
                    <a:noFill/>
                  </a:tcPr>
                </a:tc>
                <a:tc>
                  <a:txBody>
                    <a:bodyPr/>
                    <a:lstStyle/>
                    <a:p>
                      <a:pPr algn="ctr">
                        <a:defRPr sz="600">
                          <a:latin typeface="Nexa Book"/>
                        </a:defRPr>
                      </a:pPr>
                      <a:r>
                        <a:rPr sz="600">
                          <a:latin typeface="Nexa Book"/>
                        </a:rPr>
                        <a:t>248%</a:t>
                      </a:r>
                    </a:p>
                  </a:txBody>
                  <a:tcPr marL="2858" marR="2858" marT="2858" marB="0" anchor="ctr">
                    <a:noFill/>
                  </a:tcPr>
                </a:tc>
                <a:tc>
                  <a:txBody>
                    <a:bodyPr/>
                    <a:lstStyle/>
                    <a:p>
                      <a:pPr algn="ctr">
                        <a:defRPr sz="600">
                          <a:latin typeface="Nexa Book"/>
                        </a:defRPr>
                      </a:pPr>
                      <a:r>
                        <a:rPr sz="600">
                          <a:latin typeface="Nexa Book"/>
                        </a:rPr>
                        <a:t>279%</a:t>
                      </a:r>
                    </a:p>
                  </a:txBody>
                  <a:tcPr marL="2858" marR="2858" marT="2858" marB="0" anchor="ctr">
                    <a:noFill/>
                  </a:tcPr>
                </a:tc>
                <a:tc>
                  <a:txBody>
                    <a:bodyPr/>
                    <a:lstStyle/>
                    <a:p>
                      <a:pPr algn="ctr">
                        <a:defRPr sz="600">
                          <a:latin typeface="Nexa Book"/>
                        </a:defRPr>
                      </a:pPr>
                      <a:r>
                        <a:rPr sz="600">
                          <a:latin typeface="Nexa Book"/>
                        </a:rPr>
                        <a:t>50565</a:t>
                      </a:r>
                    </a:p>
                  </a:txBody>
                  <a:tcPr marL="2858" marR="2858" marT="2858" marB="0" anchor="ctr">
                    <a:noFill/>
                  </a:tcPr>
                </a:tc>
                <a:tc>
                  <a:txBody>
                    <a:bodyPr/>
                    <a:lstStyle/>
                    <a:p>
                      <a:pPr algn="ctr">
                        <a:defRPr sz="600">
                          <a:latin typeface="Nexa Book"/>
                        </a:defRPr>
                      </a:pPr>
                      <a:r>
                        <a:rPr sz="600">
                          <a:latin typeface="Nexa Book"/>
                        </a:rPr>
                        <a:t>76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55.47</a:t>
                      </a:r>
                    </a:p>
                  </a:txBody>
                  <a:tcPr marL="2858" marR="2858" marT="2858" marB="0" anchor="ctr">
                    <a:noFill/>
                  </a:tcPr>
                </a:tc>
                <a:tc>
                  <a:txBody>
                    <a:bodyPr/>
                    <a:lstStyle/>
                    <a:p>
                      <a:pPr algn="ctr">
                        <a:defRPr sz="600">
                          <a:latin typeface="Nexa Book"/>
                        </a:defRPr>
                      </a:pPr>
                      <a:r>
                        <a:rPr sz="600">
                          <a:latin typeface="Nexa Book"/>
                        </a:rPr>
                        <a:t> 49.21</a:t>
                      </a:r>
                    </a:p>
                  </a:txBody>
                  <a:tcPr marL="2858" marR="2858" marT="2858" marB="0" anchor="ctr">
                    <a:noFill/>
                  </a:tcPr>
                </a:tc>
                <a:tc>
                  <a:txBody>
                    <a:bodyPr/>
                    <a:lstStyle/>
                    <a:p>
                      <a:pPr algn="ctr">
                        <a:defRPr sz="600">
                          <a:latin typeface="Nexa Book"/>
                        </a:defRPr>
                      </a:pPr>
                      <a:r>
                        <a:rPr sz="600">
                          <a:latin typeface="Nexa Book"/>
                        </a:rPr>
                        <a:t>67'514</a:t>
                      </a:r>
                    </a:p>
                  </a:txBody>
                  <a:tcPr marL="2858" marR="2858" marT="2858" marB="0" anchor="ctr">
                    <a:noFill/>
                  </a:tcPr>
                </a:tc>
                <a:tc>
                  <a:txBody>
                    <a:bodyPr/>
                    <a:lstStyle/>
                    <a:p>
                      <a:pPr algn="ctr">
                        <a:defRPr sz="600">
                          <a:latin typeface="Nexa Book"/>
                        </a:defRPr>
                      </a:pPr>
                      <a:r>
                        <a:rPr sz="600">
                          <a:latin typeface="Nexa Book"/>
                        </a:rPr>
                        <a:t>246%</a:t>
                      </a:r>
                    </a:p>
                  </a:txBody>
                  <a:tcPr marL="2858" marR="2858" marT="2858" marB="0" anchor="ctr">
                    <a:noFill/>
                  </a:tcPr>
                </a:tc>
                <a:tc>
                  <a:txBody>
                    <a:bodyPr/>
                    <a:lstStyle/>
                    <a:p>
                      <a:pPr algn="ctr">
                        <a:defRPr sz="600">
                          <a:latin typeface="Nexa Book"/>
                        </a:defRPr>
                      </a:pPr>
                      <a:r>
                        <a:rPr sz="600">
                          <a:latin typeface="Nexa Book"/>
                        </a:rPr>
                        <a:t>286%</a:t>
                      </a:r>
                    </a:p>
                  </a:txBody>
                  <a:tcPr marL="2858" marR="2858" marT="2858" marB="0" anchor="ctr">
                    <a:noFill/>
                  </a:tcPr>
                </a:tc>
                <a:tc>
                  <a:txBody>
                    <a:bodyPr/>
                    <a:lstStyle/>
                    <a:p>
                      <a:pPr algn="ctr">
                        <a:defRPr sz="600">
                          <a:latin typeface="Nexa Book"/>
                        </a:defRPr>
                      </a:pPr>
                      <a:r>
                        <a:rPr sz="600">
                          <a:latin typeface="Nexa Book"/>
                        </a:rPr>
                        <a:t>48667</a:t>
                      </a:r>
                    </a:p>
                  </a:txBody>
                  <a:tcPr marL="2858" marR="2858" marT="2858" marB="0" anchor="ctr">
                    <a:noFill/>
                  </a:tcPr>
                </a:tc>
                <a:tc>
                  <a:txBody>
                    <a:bodyPr/>
                    <a:lstStyle/>
                    <a:p>
                      <a:pPr algn="ctr">
                        <a:defRPr sz="600">
                          <a:latin typeface="Nexa Book"/>
                        </a:defRPr>
                      </a:pPr>
                      <a:r>
                        <a:rPr sz="600">
                          <a:latin typeface="Nexa Book"/>
                        </a:rPr>
                        <a:t>574%</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MG RUINART BRUT SECOND SKIN 1CT X 150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 146.28</a:t>
                      </a:r>
                    </a:p>
                  </a:txBody>
                  <a:tcPr marL="2858" marR="2858" marT="2858" marB="0" anchor="ctr">
                    <a:noFill/>
                  </a:tcPr>
                </a:tc>
                <a:tc>
                  <a:txBody>
                    <a:bodyPr/>
                    <a:lstStyle/>
                    <a:p>
                      <a:pPr algn="ctr">
                        <a:defRPr sz="600">
                          <a:latin typeface="Nexa Book"/>
                        </a:defRPr>
                      </a:pPr>
                      <a:r>
                        <a:rPr sz="600">
                          <a:latin typeface="Nexa Book"/>
                        </a:rPr>
                        <a:t> 132.67</a:t>
                      </a:r>
                    </a:p>
                  </a:txBody>
                  <a:tcPr marL="2858" marR="2858" marT="2858" marB="0" anchor="ctr">
                    <a:noFill/>
                  </a:tcPr>
                </a:tc>
                <a:tc>
                  <a:txBody>
                    <a:bodyPr/>
                    <a:lstStyle/>
                    <a:p>
                      <a:pPr algn="ctr">
                        <a:defRPr sz="600">
                          <a:latin typeface="Nexa Book"/>
                        </a:defRPr>
                      </a:pPr>
                      <a:r>
                        <a:rPr sz="600">
                          <a:latin typeface="Nexa Book"/>
                        </a:rPr>
                        <a:t>74'029</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151%</a:t>
                      </a:r>
                    </a:p>
                  </a:txBody>
                  <a:tcPr marL="2858" marR="2858" marT="2858" marB="0" anchor="ctr">
                    <a:noFill/>
                  </a:tcPr>
                </a:tc>
                <a:tc>
                  <a:txBody>
                    <a:bodyPr/>
                    <a:lstStyle/>
                    <a:p>
                      <a:pPr algn="ctr">
                        <a:defRPr sz="600">
                          <a:latin typeface="Nexa Book"/>
                        </a:defRPr>
                      </a:pPr>
                      <a:r>
                        <a:rPr sz="600">
                          <a:latin typeface="Nexa Book"/>
                        </a:rPr>
                        <a:t>42692</a:t>
                      </a:r>
                    </a:p>
                  </a:txBody>
                  <a:tcPr marL="2858" marR="2858" marT="2858" marB="0" anchor="ctr">
                    <a:noFill/>
                  </a:tcPr>
                </a:tc>
                <a:tc>
                  <a:txBody>
                    <a:bodyPr/>
                    <a:lstStyle/>
                    <a:p>
                      <a:pPr algn="ctr">
                        <a:defRPr sz="600">
                          <a:latin typeface="Nexa Book"/>
                        </a:defRPr>
                      </a:pPr>
                      <a:r>
                        <a:rPr sz="600">
                          <a:latin typeface="Nexa Book"/>
                        </a:rPr>
                        <a:t>526%</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De Venoge</a:t>
                      </a:r>
                    </a:p>
                  </a:txBody>
                  <a:tcPr marL="2858" marR="2858" marT="2858" marB="0" anchor="ctr">
                    <a:noFill/>
                  </a:tcPr>
                </a:tc>
                <a:tc>
                  <a:txBody>
                    <a:bodyPr/>
                    <a:lstStyle/>
                    <a:p>
                      <a:pPr algn="l">
                        <a:defRPr sz="600">
                          <a:latin typeface="Nexa Book"/>
                        </a:defRPr>
                      </a:pPr>
                      <a:r>
                        <a:rPr sz="600">
                          <a:latin typeface="Nexa Book"/>
                        </a:rPr>
                        <a:t>DE VENOGE CORDON BLEU BRUT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5.32</a:t>
                      </a:r>
                    </a:p>
                  </a:txBody>
                  <a:tcPr marL="2858" marR="2858" marT="2858" marB="0" anchor="ctr">
                    <a:noFill/>
                  </a:tcPr>
                </a:tc>
                <a:tc>
                  <a:txBody>
                    <a:bodyPr/>
                    <a:lstStyle/>
                    <a:p>
                      <a:pPr algn="ctr">
                        <a:defRPr sz="600">
                          <a:latin typeface="Nexa Book"/>
                        </a:defRPr>
                      </a:pPr>
                      <a:r>
                        <a:rPr sz="600">
                          <a:latin typeface="Nexa Book"/>
                        </a:rPr>
                        <a:t>50'160</a:t>
                      </a:r>
                    </a:p>
                  </a:txBody>
                  <a:tcPr marL="2858" marR="2858" marT="2858" marB="0" anchor="ctr">
                    <a:noFill/>
                  </a:tcPr>
                </a:tc>
                <a:tc>
                  <a:txBody>
                    <a:bodyPr/>
                    <a:lstStyle/>
                    <a:p>
                      <a:pPr algn="ctr">
                        <a:defRPr sz="600">
                          <a:latin typeface="Nexa Book"/>
                        </a:defRPr>
                      </a:pPr>
                      <a:r>
                        <a:rPr sz="600">
                          <a:latin typeface="Nexa Book"/>
                        </a:rPr>
                        <a:t>284%</a:t>
                      </a:r>
                    </a:p>
                  </a:txBody>
                  <a:tcPr marL="2858" marR="2858" marT="2858" marB="0" anchor="ctr">
                    <a:noFill/>
                  </a:tcPr>
                </a:tc>
                <a:tc>
                  <a:txBody>
                    <a:bodyPr/>
                    <a:lstStyle/>
                    <a:p>
                      <a:pPr algn="ctr">
                        <a:defRPr sz="600">
                          <a:latin typeface="Nexa Book"/>
                        </a:defRPr>
                      </a:pPr>
                      <a:r>
                        <a:rPr sz="600">
                          <a:latin typeface="Nexa Book"/>
                        </a:rPr>
                        <a:t>361%</a:t>
                      </a:r>
                    </a:p>
                  </a:txBody>
                  <a:tcPr marL="2858" marR="2858" marT="2858" marB="0" anchor="ctr">
                    <a:noFill/>
                  </a:tcPr>
                </a:tc>
                <a:tc>
                  <a:txBody>
                    <a:bodyPr/>
                    <a:lstStyle/>
                    <a:p>
                      <a:pPr algn="ctr">
                        <a:defRPr sz="600">
                          <a:latin typeface="Nexa Book"/>
                        </a:defRPr>
                      </a:pPr>
                      <a:r>
                        <a:rPr sz="600">
                          <a:latin typeface="Nexa Book"/>
                        </a:rPr>
                        <a:t>39114</a:t>
                      </a:r>
                    </a:p>
                  </a:txBody>
                  <a:tcPr marL="2858" marR="2858" marT="2858" marB="0" anchor="ctr">
                    <a:noFill/>
                  </a:tcPr>
                </a:tc>
                <a:tc>
                  <a:txBody>
                    <a:bodyPr/>
                    <a:lstStyle/>
                    <a:p>
                      <a:pPr algn="ctr">
                        <a:defRPr sz="600">
                          <a:latin typeface="Nexa Book"/>
                        </a:defRPr>
                      </a:pPr>
                      <a:r>
                        <a:rPr sz="600">
                          <a:latin typeface="Nexa Book"/>
                        </a:rPr>
                        <a:t>38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604224115"/>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NICOLAS V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Heidsieck &amp; Co Monopol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EIDSIECK MONOPOLE SILVER TOP 1CT X 750ML</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8.6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29'5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500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61.38</a:t>
                      </a:r>
                    </a:p>
                  </a:txBody>
                  <a:tcPr marL="2858" marR="2858" marT="2858" marB="0" anchor="ctr">
                    <a:noFill/>
                  </a:tcPr>
                </a:tc>
                <a:tc>
                  <a:txBody>
                    <a:bodyPr/>
                    <a:lstStyle/>
                    <a:p>
                      <a:pPr algn="ctr">
                        <a:defRPr sz="600">
                          <a:latin typeface="Nexa Book"/>
                        </a:defRPr>
                      </a:pPr>
                      <a:r>
                        <a:rPr sz="600">
                          <a:latin typeface="Nexa Book"/>
                        </a:rPr>
                        <a:t> 55.23</a:t>
                      </a:r>
                    </a:p>
                  </a:txBody>
                  <a:tcPr marL="2858" marR="2858" marT="2858" marB="0" anchor="ctr">
                    <a:noFill/>
                  </a:tcPr>
                </a:tc>
                <a:tc>
                  <a:txBody>
                    <a:bodyPr/>
                    <a:lstStyle/>
                    <a:p>
                      <a:pPr algn="ctr">
                        <a:defRPr sz="600">
                          <a:latin typeface="Nexa Book"/>
                        </a:defRPr>
                      </a:pPr>
                      <a:r>
                        <a:rPr sz="600">
                          <a:latin typeface="Nexa Book"/>
                        </a:rPr>
                        <a:t>498'317</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213521</a:t>
                      </a:r>
                    </a:p>
                  </a:txBody>
                  <a:tcPr marL="2858" marR="2858" marT="2858" marB="0" anchor="ctr">
                    <a:noFill/>
                  </a:tcPr>
                </a:tc>
                <a:tc>
                  <a:txBody>
                    <a:bodyPr/>
                    <a:lstStyle/>
                    <a:p>
                      <a:pPr algn="ctr">
                        <a:defRPr sz="600">
                          <a:latin typeface="Nexa Book"/>
                        </a:defRPr>
                      </a:pPr>
                      <a:r>
                        <a:rPr sz="600">
                          <a:latin typeface="Nexa Book"/>
                        </a:rPr>
                        <a:t>387%</a:t>
                      </a:r>
                    </a:p>
                  </a:txBody>
                  <a:tcPr marL="2858" marR="2858" marT="2858" marB="0" anchor="ctr">
                    <a:noFill/>
                  </a:tcPr>
                </a:tc>
                <a:tc>
                  <a:txBody>
                    <a:bodyPr/>
                    <a:lstStyle/>
                    <a:p>
                      <a:pPr algn="ctr">
                        <a:defRPr sz="600">
                          <a:latin typeface="Nexa Book"/>
                        </a:defRPr>
                      </a:pPr>
                      <a:r>
                        <a:rPr sz="600">
                          <a:latin typeface="Nexa Book"/>
                        </a:rPr>
                        <a:t>3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 36.11</a:t>
                      </a:r>
                    </a:p>
                  </a:txBody>
                  <a:tcPr marL="2858" marR="2858" marT="2858" marB="0" anchor="ctr">
                    <a:noFill/>
                  </a:tcPr>
                </a:tc>
                <a:tc>
                  <a:txBody>
                    <a:bodyPr/>
                    <a:lstStyle/>
                    <a:p>
                      <a:pPr algn="ctr">
                        <a:defRPr sz="600">
                          <a:latin typeface="Nexa Book"/>
                        </a:defRPr>
                      </a:pPr>
                      <a:r>
                        <a:rPr sz="600">
                          <a:latin typeface="Nexa Book"/>
                        </a:rPr>
                        <a:t> 27.76</a:t>
                      </a:r>
                    </a:p>
                  </a:txBody>
                  <a:tcPr marL="2858" marR="2858" marT="2858" marB="0" anchor="ctr">
                    <a:noFill/>
                  </a:tcPr>
                </a:tc>
                <a:tc>
                  <a:txBody>
                    <a:bodyPr/>
                    <a:lstStyle/>
                    <a:p>
                      <a:pPr algn="ctr">
                        <a:defRPr sz="600">
                          <a:latin typeface="Nexa Book"/>
                        </a:defRPr>
                      </a:pPr>
                      <a:r>
                        <a:rPr sz="600">
                          <a:latin typeface="Nexa Book"/>
                        </a:rPr>
                        <a:t>220'266</a:t>
                      </a:r>
                    </a:p>
                  </a:txBody>
                  <a:tcPr marL="2858" marR="2858" marT="2858" marB="0" anchor="ctr">
                    <a:noFill/>
                  </a:tcPr>
                </a:tc>
                <a:tc>
                  <a:txBody>
                    <a:bodyPr/>
                    <a:lstStyle/>
                    <a:p>
                      <a:pPr algn="ctr">
                        <a:defRPr sz="600">
                          <a:latin typeface="Nexa Book"/>
                        </a:defRPr>
                      </a:pPr>
                      <a:r>
                        <a:rPr sz="600">
                          <a:latin typeface="Nexa Book"/>
                        </a:rPr>
                        <a:t>541%</a:t>
                      </a:r>
                    </a:p>
                  </a:txBody>
                  <a:tcPr marL="2858" marR="2858" marT="2858" marB="0" anchor="ctr">
                    <a:noFill/>
                  </a:tcPr>
                </a:tc>
                <a:tc>
                  <a:txBody>
                    <a:bodyPr/>
                    <a:lstStyle/>
                    <a:p>
                      <a:pPr algn="ctr">
                        <a:defRPr sz="600">
                          <a:latin typeface="Nexa Book"/>
                        </a:defRPr>
                      </a:pPr>
                      <a:r>
                        <a:rPr sz="600">
                          <a:latin typeface="Nexa Book"/>
                        </a:rPr>
                        <a:t>732%</a:t>
                      </a:r>
                    </a:p>
                  </a:txBody>
                  <a:tcPr marL="2858" marR="2858" marT="2858" marB="0" anchor="ctr">
                    <a:noFill/>
                  </a:tcPr>
                </a:tc>
                <a:tc>
                  <a:txBody>
                    <a:bodyPr/>
                    <a:lstStyle/>
                    <a:p>
                      <a:pPr algn="ctr">
                        <a:defRPr sz="600">
                          <a:latin typeface="Nexa Book"/>
                        </a:defRPr>
                      </a:pPr>
                      <a:r>
                        <a:rPr sz="600">
                          <a:latin typeface="Nexa Book"/>
                        </a:rPr>
                        <a:t>187020</a:t>
                      </a:r>
                    </a:p>
                  </a:txBody>
                  <a:tcPr marL="2858" marR="2858" marT="2858" marB="0" anchor="ctr">
                    <a:noFill/>
                  </a:tcPr>
                </a:tc>
                <a:tc>
                  <a:txBody>
                    <a:bodyPr/>
                    <a:lstStyle/>
                    <a:p>
                      <a:pPr algn="ctr">
                        <a:defRPr sz="600">
                          <a:latin typeface="Nexa Book"/>
                        </a:defRPr>
                      </a:pPr>
                      <a:r>
                        <a:rPr sz="600">
                          <a:latin typeface="Nexa Book"/>
                        </a:rPr>
                        <a:t>28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35.52</a:t>
                      </a:r>
                    </a:p>
                  </a:txBody>
                  <a:tcPr marL="2858" marR="2858" marT="2858" marB="0" anchor="ctr">
                    <a:noFill/>
                  </a:tcPr>
                </a:tc>
                <a:tc>
                  <a:txBody>
                    <a:bodyPr/>
                    <a:lstStyle/>
                    <a:p>
                      <a:pPr algn="ctr">
                        <a:defRPr sz="600">
                          <a:latin typeface="Nexa Book"/>
                        </a:defRPr>
                      </a:pPr>
                      <a:r>
                        <a:rPr sz="600">
                          <a:latin typeface="Nexa Book"/>
                        </a:rPr>
                        <a:t> 29.06</a:t>
                      </a:r>
                    </a:p>
                  </a:txBody>
                  <a:tcPr marL="2858" marR="2858" marT="2858" marB="0" anchor="ctr">
                    <a:noFill/>
                  </a:tcPr>
                </a:tc>
                <a:tc>
                  <a:txBody>
                    <a:bodyPr/>
                    <a:lstStyle/>
                    <a:p>
                      <a:pPr algn="ctr">
                        <a:defRPr sz="600">
                          <a:latin typeface="Nexa Book"/>
                        </a:defRPr>
                      </a:pPr>
                      <a:r>
                        <a:rPr sz="600">
                          <a:latin typeface="Nexa Book"/>
                        </a:rPr>
                        <a:t>213'846</a:t>
                      </a:r>
                    </a:p>
                  </a:txBody>
                  <a:tcPr marL="2858" marR="2858" marT="2858" marB="0" anchor="ctr">
                    <a:noFill/>
                  </a:tcPr>
                </a:tc>
                <a:tc>
                  <a:txBody>
                    <a:bodyPr/>
                    <a:lstStyle/>
                    <a:p>
                      <a:pPr algn="ctr">
                        <a:defRPr sz="600">
                          <a:latin typeface="Nexa Book"/>
                        </a:defRPr>
                      </a:pPr>
                      <a:r>
                        <a:rPr sz="600">
                          <a:latin typeface="Nexa Book"/>
                        </a:rPr>
                        <a:t>290%</a:t>
                      </a:r>
                    </a:p>
                  </a:txBody>
                  <a:tcPr marL="2858" marR="2858" marT="2858" marB="0" anchor="ctr">
                    <a:noFill/>
                  </a:tcPr>
                </a:tc>
                <a:tc>
                  <a:txBody>
                    <a:bodyPr/>
                    <a:lstStyle/>
                    <a:p>
                      <a:pPr algn="ctr">
                        <a:defRPr sz="600">
                          <a:latin typeface="Nexa Book"/>
                        </a:defRPr>
                      </a:pPr>
                      <a:r>
                        <a:rPr sz="600">
                          <a:latin typeface="Nexa Book"/>
                        </a:rPr>
                        <a:t>369%</a:t>
                      </a:r>
                    </a:p>
                  </a:txBody>
                  <a:tcPr marL="2858" marR="2858" marT="2858" marB="0" anchor="ctr">
                    <a:noFill/>
                  </a:tcPr>
                </a:tc>
                <a:tc>
                  <a:txBody>
                    <a:bodyPr/>
                    <a:lstStyle/>
                    <a:p>
                      <a:pPr algn="ctr">
                        <a:defRPr sz="600">
                          <a:latin typeface="Nexa Book"/>
                        </a:defRPr>
                      </a:pPr>
                      <a:r>
                        <a:rPr sz="600">
                          <a:latin typeface="Nexa Book"/>
                        </a:rPr>
                        <a:t>169036</a:t>
                      </a:r>
                    </a:p>
                  </a:txBody>
                  <a:tcPr marL="2858" marR="2858" marT="2858" marB="0" anchor="ctr">
                    <a:noFill/>
                  </a:tcPr>
                </a:tc>
                <a:tc>
                  <a:txBody>
                    <a:bodyPr/>
                    <a:lstStyle/>
                    <a:p>
                      <a:pPr algn="ctr">
                        <a:defRPr sz="600">
                          <a:latin typeface="Nexa Book"/>
                        </a:defRPr>
                      </a:pPr>
                      <a:r>
                        <a:rPr sz="600">
                          <a:latin typeface="Nexa Book"/>
                        </a:rPr>
                        <a:t>35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49.84</a:t>
                      </a:r>
                    </a:p>
                  </a:txBody>
                  <a:tcPr marL="2858" marR="2858" marT="2858" marB="0" anchor="ctr">
                    <a:noFill/>
                  </a:tcPr>
                </a:tc>
                <a:tc>
                  <a:txBody>
                    <a:bodyPr/>
                    <a:lstStyle/>
                    <a:p>
                      <a:pPr algn="ctr">
                        <a:defRPr sz="600">
                          <a:latin typeface="Nexa Book"/>
                        </a:defRPr>
                      </a:pPr>
                      <a:r>
                        <a:rPr sz="600">
                          <a:latin typeface="Nexa Book"/>
                        </a:rPr>
                        <a:t> 44.88</a:t>
                      </a:r>
                    </a:p>
                  </a:txBody>
                  <a:tcPr marL="2858" marR="2858" marT="2858" marB="0" anchor="ctr">
                    <a:noFill/>
                  </a:tcPr>
                </a:tc>
                <a:tc>
                  <a:txBody>
                    <a:bodyPr/>
                    <a:lstStyle/>
                    <a:p>
                      <a:pPr algn="ctr">
                        <a:defRPr sz="600">
                          <a:latin typeface="Nexa Book"/>
                        </a:defRPr>
                      </a:pPr>
                      <a:r>
                        <a:rPr sz="600">
                          <a:latin typeface="Nexa Book"/>
                        </a:rPr>
                        <a:t>104'708</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r>
                        <a:rPr sz="600">
                          <a:latin typeface="Nexa Book"/>
                        </a:rPr>
                        <a:t>112%</a:t>
                      </a:r>
                    </a:p>
                  </a:txBody>
                  <a:tcPr marL="2858" marR="2858" marT="2858" marB="0" anchor="ctr">
                    <a:noFill/>
                  </a:tcPr>
                </a:tc>
                <a:tc>
                  <a:txBody>
                    <a:bodyPr/>
                    <a:lstStyle/>
                    <a:p>
                      <a:pPr algn="ctr">
                        <a:defRPr sz="600">
                          <a:latin typeface="Nexa Book"/>
                        </a:defRPr>
                      </a:pPr>
                      <a:r>
                        <a:rPr sz="600">
                          <a:latin typeface="Nexa Book"/>
                        </a:rPr>
                        <a:t>166123</a:t>
                      </a:r>
                    </a:p>
                  </a:txBody>
                  <a:tcPr marL="2858" marR="2858" marT="2858" marB="0" anchor="ctr">
                    <a:noFill/>
                  </a:tcPr>
                </a:tc>
                <a:tc>
                  <a:txBody>
                    <a:bodyPr/>
                    <a:lstStyle/>
                    <a:p>
                      <a:pPr algn="ctr">
                        <a:defRPr sz="600">
                          <a:latin typeface="Nexa Book"/>
                        </a:defRPr>
                      </a:pPr>
                      <a:r>
                        <a:rPr sz="600">
                          <a:latin typeface="Nexa Book"/>
                        </a:rPr>
                        <a:t>1434%</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 46.48</a:t>
                      </a:r>
                    </a:p>
                  </a:txBody>
                  <a:tcPr marL="2858" marR="2858" marT="2858" marB="0" anchor="ctr">
                    <a:noFill/>
                  </a:tcPr>
                </a:tc>
                <a:tc>
                  <a:txBody>
                    <a:bodyPr/>
                    <a:lstStyle/>
                    <a:p>
                      <a:pPr algn="ctr">
                        <a:defRPr sz="600">
                          <a:latin typeface="Nexa Book"/>
                        </a:defRPr>
                      </a:pPr>
                      <a:r>
                        <a:rPr sz="600">
                          <a:latin typeface="Nexa Book"/>
                        </a:rPr>
                        <a:t> 39.74</a:t>
                      </a:r>
                    </a:p>
                  </a:txBody>
                  <a:tcPr marL="2858" marR="2858" marT="2858" marB="0" anchor="ctr">
                    <a:noFill/>
                  </a:tcPr>
                </a:tc>
                <a:tc>
                  <a:txBody>
                    <a:bodyPr/>
                    <a:lstStyle/>
                    <a:p>
                      <a:pPr algn="ctr">
                        <a:defRPr sz="600">
                          <a:latin typeface="Nexa Book"/>
                        </a:defRPr>
                      </a:pPr>
                      <a:r>
                        <a:rPr sz="600">
                          <a:latin typeface="Nexa Book"/>
                        </a:rPr>
                        <a:t>164'659</a:t>
                      </a:r>
                    </a:p>
                  </a:txBody>
                  <a:tcPr marL="2858" marR="2858" marT="2858" marB="0" anchor="ctr">
                    <a:noFill/>
                  </a:tcPr>
                </a:tc>
                <a:tc>
                  <a:txBody>
                    <a:bodyPr/>
                    <a:lstStyle/>
                    <a:p>
                      <a:pPr algn="ctr">
                        <a:defRPr sz="600">
                          <a:latin typeface="Nexa Book"/>
                        </a:defRPr>
                      </a:pPr>
                      <a:r>
                        <a:rPr sz="600">
                          <a:latin typeface="Nexa Book"/>
                        </a:rPr>
                        <a:t>424%</a:t>
                      </a:r>
                    </a:p>
                  </a:txBody>
                  <a:tcPr marL="2858" marR="2858" marT="2858" marB="0" anchor="ctr">
                    <a:noFill/>
                  </a:tcPr>
                </a:tc>
                <a:tc>
                  <a:txBody>
                    <a:bodyPr/>
                    <a:lstStyle/>
                    <a:p>
                      <a:pPr algn="ctr">
                        <a:defRPr sz="600">
                          <a:latin typeface="Nexa Book"/>
                        </a:defRPr>
                      </a:pPr>
                      <a:r>
                        <a:rPr sz="600">
                          <a:latin typeface="Nexa Book"/>
                        </a:rPr>
                        <a:t>479%</a:t>
                      </a:r>
                    </a:p>
                  </a:txBody>
                  <a:tcPr marL="2858" marR="2858" marT="2858" marB="0" anchor="ctr">
                    <a:noFill/>
                  </a:tcPr>
                </a:tc>
                <a:tc>
                  <a:txBody>
                    <a:bodyPr/>
                    <a:lstStyle/>
                    <a:p>
                      <a:pPr algn="ctr">
                        <a:defRPr sz="600">
                          <a:latin typeface="Nexa Book"/>
                        </a:defRPr>
                      </a:pPr>
                      <a:r>
                        <a:rPr sz="600">
                          <a:latin typeface="Nexa Book"/>
                        </a:rPr>
                        <a:t>144139</a:t>
                      </a:r>
                    </a:p>
                  </a:txBody>
                  <a:tcPr marL="2858" marR="2858" marT="2858" marB="0" anchor="ctr">
                    <a:noFill/>
                  </a:tcPr>
                </a:tc>
                <a:tc>
                  <a:txBody>
                    <a:bodyPr/>
                    <a:lstStyle/>
                    <a:p>
                      <a:pPr algn="ctr">
                        <a:defRPr sz="600">
                          <a:latin typeface="Nexa Book"/>
                        </a:defRPr>
                      </a:pPr>
                      <a:r>
                        <a:rPr sz="600">
                          <a:latin typeface="Nexa Book"/>
                        </a:rPr>
                        <a:t>661%</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39.71</a:t>
                      </a:r>
                    </a:p>
                  </a:txBody>
                  <a:tcPr marL="2858" marR="2858" marT="2858" marB="0" anchor="ctr">
                    <a:noFill/>
                  </a:tcPr>
                </a:tc>
                <a:tc>
                  <a:txBody>
                    <a:bodyPr/>
                    <a:lstStyle/>
                    <a:p>
                      <a:pPr algn="ctr">
                        <a:defRPr sz="600">
                          <a:latin typeface="Nexa Book"/>
                        </a:defRPr>
                      </a:pPr>
                      <a:r>
                        <a:rPr sz="600">
                          <a:latin typeface="Nexa Book"/>
                        </a:rPr>
                        <a:t> 34.88</a:t>
                      </a:r>
                    </a:p>
                  </a:txBody>
                  <a:tcPr marL="2858" marR="2858" marT="2858" marB="0" anchor="ctr">
                    <a:noFill/>
                  </a:tcPr>
                </a:tc>
                <a:tc>
                  <a:txBody>
                    <a:bodyPr/>
                    <a:lstStyle/>
                    <a:p>
                      <a:pPr algn="ctr">
                        <a:defRPr sz="600">
                          <a:latin typeface="Nexa Book"/>
                        </a:defRPr>
                      </a:pPr>
                      <a:r>
                        <a:rPr sz="600">
                          <a:latin typeface="Nexa Book"/>
                        </a:rPr>
                        <a:t>175'424</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274%</a:t>
                      </a:r>
                    </a:p>
                  </a:txBody>
                  <a:tcPr marL="2858" marR="2858" marT="2858" marB="0" anchor="ctr">
                    <a:noFill/>
                  </a:tcPr>
                </a:tc>
                <a:tc>
                  <a:txBody>
                    <a:bodyPr/>
                    <a:lstStyle/>
                    <a:p>
                      <a:pPr algn="ctr">
                        <a:defRPr sz="600">
                          <a:latin typeface="Nexa Book"/>
                        </a:defRPr>
                      </a:pPr>
                      <a:r>
                        <a:rPr sz="600">
                          <a:latin typeface="Nexa Book"/>
                        </a:rPr>
                        <a:t>131210</a:t>
                      </a:r>
                    </a:p>
                  </a:txBody>
                  <a:tcPr marL="2858" marR="2858" marT="2858" marB="0" anchor="ctr">
                    <a:noFill/>
                  </a:tcPr>
                </a:tc>
                <a:tc>
                  <a:txBody>
                    <a:bodyPr/>
                    <a:lstStyle/>
                    <a:p>
                      <a:pPr algn="ctr">
                        <a:defRPr sz="600">
                          <a:latin typeface="Nexa Book"/>
                        </a:defRPr>
                      </a:pPr>
                      <a:r>
                        <a:rPr sz="600">
                          <a:latin typeface="Nexa Book"/>
                        </a:rPr>
                        <a:t>554%</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33.42</a:t>
                      </a:r>
                    </a:p>
                  </a:txBody>
                  <a:tcPr marL="2858" marR="2858" marT="2858" marB="0" anchor="ctr">
                    <a:noFill/>
                  </a:tcPr>
                </a:tc>
                <a:tc>
                  <a:txBody>
                    <a:bodyPr/>
                    <a:lstStyle/>
                    <a:p>
                      <a:pPr algn="ctr">
                        <a:defRPr sz="600">
                          <a:latin typeface="Nexa Book"/>
                        </a:defRPr>
                      </a:pPr>
                      <a:r>
                        <a:rPr sz="600">
                          <a:latin typeface="Nexa Book"/>
                        </a:rPr>
                        <a:t> 29.39</a:t>
                      </a:r>
                    </a:p>
                  </a:txBody>
                  <a:tcPr marL="2858" marR="2858" marT="2858" marB="0" anchor="ctr">
                    <a:noFill/>
                  </a:tcPr>
                </a:tc>
                <a:tc>
                  <a:txBody>
                    <a:bodyPr/>
                    <a:lstStyle/>
                    <a:p>
                      <a:pPr algn="ctr">
                        <a:defRPr sz="600">
                          <a:latin typeface="Nexa Book"/>
                        </a:defRPr>
                      </a:pPr>
                      <a:r>
                        <a:rPr sz="600">
                          <a:latin typeface="Nexa Book"/>
                        </a:rPr>
                        <a:t>248'57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118332</a:t>
                      </a:r>
                    </a:p>
                  </a:txBody>
                  <a:tcPr marL="2858" marR="2858" marT="2858" marB="0" anchor="ctr">
                    <a:noFill/>
                  </a:tcPr>
                </a:tc>
                <a:tc>
                  <a:txBody>
                    <a:bodyPr/>
                    <a:lstStyle/>
                    <a:p>
                      <a:pPr algn="ctr">
                        <a:defRPr sz="600">
                          <a:latin typeface="Nexa Book"/>
                        </a:defRPr>
                      </a:pPr>
                      <a:r>
                        <a:rPr sz="600">
                          <a:latin typeface="Nexa Book"/>
                        </a:rPr>
                        <a:t>345%</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35.00</a:t>
                      </a:r>
                    </a:p>
                  </a:txBody>
                  <a:tcPr marL="2858" marR="2858" marT="2858" marB="0" anchor="ctr">
                    <a:noFill/>
                  </a:tcPr>
                </a:tc>
                <a:tc>
                  <a:txBody>
                    <a:bodyPr/>
                    <a:lstStyle/>
                    <a:p>
                      <a:pPr algn="ctr">
                        <a:defRPr sz="600">
                          <a:latin typeface="Nexa Book"/>
                        </a:defRPr>
                      </a:pPr>
                      <a:r>
                        <a:rPr sz="600">
                          <a:latin typeface="Nexa Book"/>
                        </a:rPr>
                        <a:t> 29.44</a:t>
                      </a:r>
                    </a:p>
                  </a:txBody>
                  <a:tcPr marL="2858" marR="2858" marT="2858" marB="0" anchor="ctr">
                    <a:noFill/>
                  </a:tcPr>
                </a:tc>
                <a:tc>
                  <a:txBody>
                    <a:bodyPr/>
                    <a:lstStyle/>
                    <a:p>
                      <a:pPr algn="ctr">
                        <a:defRPr sz="600">
                          <a:latin typeface="Nexa Book"/>
                        </a:defRPr>
                      </a:pPr>
                      <a:r>
                        <a:rPr sz="600">
                          <a:latin typeface="Nexa Book"/>
                        </a:rPr>
                        <a:t>204'607</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109849</a:t>
                      </a:r>
                    </a:p>
                  </a:txBody>
                  <a:tcPr marL="2858" marR="2858" marT="2858" marB="0" anchor="ctr">
                    <a:noFill/>
                  </a:tcPr>
                </a:tc>
                <a:tc>
                  <a:txBody>
                    <a:bodyPr/>
                    <a:lstStyle/>
                    <a:p>
                      <a:pPr algn="ctr">
                        <a:defRPr sz="600">
                          <a:latin typeface="Nexa Book"/>
                        </a:defRPr>
                      </a:pPr>
                      <a:r>
                        <a:rPr sz="600">
                          <a:latin typeface="Nexa Book"/>
                        </a:rPr>
                        <a:t>28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49.02</a:t>
                      </a:r>
                    </a:p>
                  </a:txBody>
                  <a:tcPr marL="2858" marR="2858" marT="2858" marB="0" anchor="ctr">
                    <a:noFill/>
                  </a:tcPr>
                </a:tc>
                <a:tc>
                  <a:txBody>
                    <a:bodyPr/>
                    <a:lstStyle/>
                    <a:p>
                      <a:pPr algn="ctr">
                        <a:defRPr sz="600">
                          <a:latin typeface="Nexa Book"/>
                        </a:defRPr>
                      </a:pPr>
                      <a:r>
                        <a:rPr sz="600">
                          <a:latin typeface="Nexa Book"/>
                        </a:rPr>
                        <a:t> 44.00</a:t>
                      </a:r>
                    </a:p>
                  </a:txBody>
                  <a:tcPr marL="2858" marR="2858" marT="2858" marB="0" anchor="ctr">
                    <a:noFill/>
                  </a:tcPr>
                </a:tc>
                <a:tc>
                  <a:txBody>
                    <a:bodyPr/>
                    <a:lstStyle/>
                    <a:p>
                      <a:pPr algn="ctr">
                        <a:defRPr sz="600">
                          <a:latin typeface="Nexa Book"/>
                        </a:defRPr>
                      </a:pPr>
                      <a:r>
                        <a:rPr sz="600">
                          <a:latin typeface="Nexa Book"/>
                        </a:rPr>
                        <a:t>148'463</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235%</a:t>
                      </a:r>
                    </a:p>
                  </a:txBody>
                  <a:tcPr marL="2858" marR="2858" marT="2858" marB="0" anchor="ctr">
                    <a:noFill/>
                  </a:tcPr>
                </a:tc>
                <a:tc>
                  <a:txBody>
                    <a:bodyPr/>
                    <a:lstStyle/>
                    <a:p>
                      <a:pPr algn="ctr">
                        <a:defRPr sz="600">
                          <a:latin typeface="Nexa Book"/>
                        </a:defRPr>
                      </a:pPr>
                      <a:r>
                        <a:rPr sz="600">
                          <a:latin typeface="Nexa Book"/>
                        </a:rPr>
                        <a:t>103295</a:t>
                      </a:r>
                    </a:p>
                  </a:txBody>
                  <a:tcPr marL="2858" marR="2858" marT="2858" marB="0" anchor="ctr">
                    <a:noFill/>
                  </a:tcPr>
                </a:tc>
                <a:tc>
                  <a:txBody>
                    <a:bodyPr/>
                    <a:lstStyle/>
                    <a:p>
                      <a:pPr algn="ctr">
                        <a:defRPr sz="600">
                          <a:latin typeface="Nexa Book"/>
                        </a:defRPr>
                      </a:pPr>
                      <a:r>
                        <a:rPr sz="600">
                          <a:latin typeface="Nexa Book"/>
                        </a:rPr>
                        <a:t>637%</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64.93</a:t>
                      </a:r>
                    </a:p>
                  </a:txBody>
                  <a:tcPr marL="2858" marR="2858" marT="2858" marB="0" anchor="ctr">
                    <a:noFill/>
                  </a:tcPr>
                </a:tc>
                <a:tc>
                  <a:txBody>
                    <a:bodyPr/>
                    <a:lstStyle/>
                    <a:p>
                      <a:pPr algn="ctr">
                        <a:defRPr sz="600">
                          <a:latin typeface="Nexa Book"/>
                        </a:defRPr>
                      </a:pPr>
                      <a:r>
                        <a:rPr sz="600">
                          <a:latin typeface="Nexa Book"/>
                        </a:rPr>
                        <a:t> 58.67</a:t>
                      </a:r>
                    </a:p>
                  </a:txBody>
                  <a:tcPr marL="2858" marR="2858" marT="2858" marB="0" anchor="ctr">
                    <a:noFill/>
                  </a:tcPr>
                </a:tc>
                <a:tc>
                  <a:txBody>
                    <a:bodyPr/>
                    <a:lstStyle/>
                    <a:p>
                      <a:pPr algn="ctr">
                        <a:defRPr sz="600">
                          <a:latin typeface="Nexa Book"/>
                        </a:defRPr>
                      </a:pPr>
                      <a:r>
                        <a:rPr sz="600">
                          <a:latin typeface="Nexa Book"/>
                        </a:rPr>
                        <a:t>144'807</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141%</a:t>
                      </a:r>
                    </a:p>
                  </a:txBody>
                  <a:tcPr marL="2858" marR="2858" marT="2858" marB="0" anchor="ctr">
                    <a:noFill/>
                  </a:tcPr>
                </a:tc>
                <a:tc>
                  <a:txBody>
                    <a:bodyPr/>
                    <a:lstStyle/>
                    <a:p>
                      <a:pPr algn="ctr">
                        <a:defRPr sz="600">
                          <a:latin typeface="Nexa Book"/>
                        </a:defRPr>
                      </a:pPr>
                      <a:r>
                        <a:rPr sz="600">
                          <a:latin typeface="Nexa Book"/>
                        </a:rPr>
                        <a:t>84199</a:t>
                      </a:r>
                    </a:p>
                  </a:txBody>
                  <a:tcPr marL="2858" marR="2858" marT="2858" marB="0" anchor="ctr">
                    <a:noFill/>
                  </a:tcPr>
                </a:tc>
                <a:tc>
                  <a:txBody>
                    <a:bodyPr/>
                    <a:lstStyle/>
                    <a:p>
                      <a:pPr algn="ctr">
                        <a:defRPr sz="600">
                          <a:latin typeface="Nexa Book"/>
                        </a:defRPr>
                      </a:pPr>
                      <a:r>
                        <a:rPr sz="600">
                          <a:latin typeface="Nexa Book"/>
                        </a:rPr>
                        <a:t>549%</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0.85</a:t>
                      </a:r>
                    </a:p>
                  </a:txBody>
                  <a:tcPr marL="2858" marR="2858" marT="2858" marB="0" anchor="ctr">
                    <a:noFill/>
                  </a:tcPr>
                </a:tc>
                <a:tc>
                  <a:txBody>
                    <a:bodyPr/>
                    <a:lstStyle/>
                    <a:p>
                      <a:pPr algn="ctr">
                        <a:defRPr sz="600">
                          <a:latin typeface="Nexa Book"/>
                        </a:defRPr>
                      </a:pPr>
                      <a:r>
                        <a:rPr sz="600">
                          <a:latin typeface="Nexa Book"/>
                        </a:rPr>
                        <a:t> 36.61</a:t>
                      </a:r>
                    </a:p>
                  </a:txBody>
                  <a:tcPr marL="2858" marR="2858" marT="2858" marB="0" anchor="ctr">
                    <a:noFill/>
                  </a:tcPr>
                </a:tc>
                <a:tc>
                  <a:txBody>
                    <a:bodyPr/>
                    <a:lstStyle/>
                    <a:p>
                      <a:pPr algn="ctr">
                        <a:defRPr sz="600">
                          <a:latin typeface="Nexa Book"/>
                        </a:defRPr>
                      </a:pPr>
                      <a:r>
                        <a:rPr sz="600">
                          <a:latin typeface="Nexa Book"/>
                        </a:rPr>
                        <a:t>170'259</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76566</a:t>
                      </a:r>
                    </a:p>
                  </a:txBody>
                  <a:tcPr marL="2858" marR="2858" marT="2858" marB="0" anchor="ctr">
                    <a:noFill/>
                  </a:tcPr>
                </a:tc>
                <a:tc>
                  <a:txBody>
                    <a:bodyPr/>
                    <a:lstStyle/>
                    <a:p>
                      <a:pPr algn="ctr">
                        <a:defRPr sz="600">
                          <a:latin typeface="Nexa Book"/>
                        </a:defRPr>
                      </a:pPr>
                      <a:r>
                        <a:rPr sz="600">
                          <a:latin typeface="Nexa Book"/>
                        </a:rPr>
                        <a:t>39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61.42</a:t>
                      </a:r>
                    </a:p>
                  </a:txBody>
                  <a:tcPr marL="2858" marR="2858" marT="2858" marB="0" anchor="ctr">
                    <a:noFill/>
                  </a:tcPr>
                </a:tc>
                <a:tc>
                  <a:txBody>
                    <a:bodyPr/>
                    <a:lstStyle/>
                    <a:p>
                      <a:pPr algn="ctr">
                        <a:defRPr sz="600">
                          <a:latin typeface="Nexa Book"/>
                        </a:defRPr>
                      </a:pPr>
                      <a:r>
                        <a:rPr sz="600">
                          <a:latin typeface="Nexa Book"/>
                        </a:rPr>
                        <a:t> 55.06</a:t>
                      </a:r>
                    </a:p>
                  </a:txBody>
                  <a:tcPr marL="2858" marR="2858" marT="2858" marB="0" anchor="ctr">
                    <a:noFill/>
                  </a:tcPr>
                </a:tc>
                <a:tc>
                  <a:txBody>
                    <a:bodyPr/>
                    <a:lstStyle/>
                    <a:p>
                      <a:pPr algn="ctr">
                        <a:defRPr sz="600">
                          <a:latin typeface="Nexa Book"/>
                        </a:defRPr>
                      </a:pPr>
                      <a:r>
                        <a:rPr sz="600">
                          <a:latin typeface="Nexa Book"/>
                        </a:rPr>
                        <a:t>108'253</a:t>
                      </a:r>
                    </a:p>
                  </a:txBody>
                  <a:tcPr marL="2858" marR="2858" marT="2858" marB="0" anchor="ctr">
                    <a:noFill/>
                  </a:tcPr>
                </a:tc>
                <a:tc>
                  <a:txBody>
                    <a:bodyPr/>
                    <a:lstStyle/>
                    <a:p>
                      <a:pPr algn="ctr">
                        <a:defRPr sz="600">
                          <a:latin typeface="Nexa Book"/>
                        </a:defRPr>
                      </a:pPr>
                      <a:r>
                        <a:rPr sz="600">
                          <a:latin typeface="Nexa Book"/>
                        </a:rPr>
                        <a:t>193%</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76312</a:t>
                      </a:r>
                    </a:p>
                  </a:txBody>
                  <a:tcPr marL="2858" marR="2858" marT="2858" marB="0" anchor="ctr">
                    <a:noFill/>
                  </a:tcPr>
                </a:tc>
                <a:tc>
                  <a:txBody>
                    <a:bodyPr/>
                    <a:lstStyle/>
                    <a:p>
                      <a:pPr algn="ctr">
                        <a:defRPr sz="600">
                          <a:latin typeface="Nexa Book"/>
                        </a:defRPr>
                      </a:pPr>
                      <a:r>
                        <a:rPr sz="600">
                          <a:latin typeface="Nexa Book"/>
                        </a:rPr>
                        <a:t>689%</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39.66</a:t>
                      </a:r>
                    </a:p>
                  </a:txBody>
                  <a:tcPr marL="2858" marR="2858" marT="2858" marB="0" anchor="ctr">
                    <a:noFill/>
                  </a:tcPr>
                </a:tc>
                <a:tc>
                  <a:txBody>
                    <a:bodyPr/>
                    <a:lstStyle/>
                    <a:p>
                      <a:pPr algn="ctr">
                        <a:defRPr sz="600">
                          <a:latin typeface="Nexa Book"/>
                        </a:defRPr>
                      </a:pPr>
                      <a:r>
                        <a:rPr sz="600">
                          <a:latin typeface="Nexa Book"/>
                        </a:rPr>
                        <a:t> 35.53</a:t>
                      </a:r>
                    </a:p>
                  </a:txBody>
                  <a:tcPr marL="2858" marR="2858" marT="2858" marB="0" anchor="ctr">
                    <a:noFill/>
                  </a:tcPr>
                </a:tc>
                <a:tc>
                  <a:txBody>
                    <a:bodyPr/>
                    <a:lstStyle/>
                    <a:p>
                      <a:pPr algn="ctr">
                        <a:defRPr sz="600">
                          <a:latin typeface="Nexa Book"/>
                        </a:defRPr>
                      </a:pPr>
                      <a:r>
                        <a:rPr sz="600">
                          <a:latin typeface="Nexa Book"/>
                        </a:rPr>
                        <a:t>105'157</a:t>
                      </a:r>
                    </a:p>
                  </a:txBody>
                  <a:tcPr marL="2858" marR="2858" marT="2858" marB="0" anchor="ctr">
                    <a:noFill/>
                  </a:tcPr>
                </a:tc>
                <a:tc>
                  <a:txBody>
                    <a:bodyPr/>
                    <a:lstStyle/>
                    <a:p>
                      <a:pPr algn="ctr">
                        <a:defRPr sz="600">
                          <a:latin typeface="Nexa Book"/>
                        </a:defRPr>
                      </a:pPr>
                      <a:r>
                        <a:rPr sz="600">
                          <a:latin typeface="Nexa Book"/>
                        </a:rPr>
                        <a:t>191%</a:t>
                      </a:r>
                    </a:p>
                  </a:txBody>
                  <a:tcPr marL="2858" marR="2858" marT="2858" marB="0" anchor="ctr">
                    <a:noFill/>
                  </a:tcPr>
                </a:tc>
                <a:tc>
                  <a:txBody>
                    <a:bodyPr/>
                    <a:lstStyle/>
                    <a:p>
                      <a:pPr algn="ctr">
                        <a:defRPr sz="600">
                          <a:latin typeface="Nexa Book"/>
                        </a:defRPr>
                      </a:pPr>
                      <a:r>
                        <a:rPr sz="600">
                          <a:latin typeface="Nexa Book"/>
                        </a:rPr>
                        <a:t>222%</a:t>
                      </a:r>
                    </a:p>
                  </a:txBody>
                  <a:tcPr marL="2858" marR="2858" marT="2858" marB="0" anchor="ctr">
                    <a:noFill/>
                  </a:tcPr>
                </a:tc>
                <a:tc>
                  <a:txBody>
                    <a:bodyPr/>
                    <a:lstStyle/>
                    <a:p>
                      <a:pPr algn="ctr">
                        <a:defRPr sz="600">
                          <a:latin typeface="Nexa Book"/>
                        </a:defRPr>
                      </a:pPr>
                      <a:r>
                        <a:rPr sz="600">
                          <a:latin typeface="Nexa Book"/>
                        </a:rPr>
                        <a:t>73197</a:t>
                      </a:r>
                    </a:p>
                  </a:txBody>
                  <a:tcPr marL="2858" marR="2858" marT="2858" marB="0" anchor="ctr">
                    <a:noFill/>
                  </a:tcPr>
                </a:tc>
                <a:tc>
                  <a:txBody>
                    <a:bodyPr/>
                    <a:lstStyle/>
                    <a:p>
                      <a:pPr algn="ctr">
                        <a:defRPr sz="600">
                          <a:latin typeface="Nexa Book"/>
                        </a:defRPr>
                      </a:pPr>
                      <a:r>
                        <a:rPr sz="600">
                          <a:latin typeface="Nexa Book"/>
                        </a:rPr>
                        <a:t>618%</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 47.01</a:t>
                      </a:r>
                    </a:p>
                  </a:txBody>
                  <a:tcPr marL="2858" marR="2858" marT="2858" marB="0" anchor="ctr">
                    <a:noFill/>
                  </a:tcPr>
                </a:tc>
                <a:tc>
                  <a:txBody>
                    <a:bodyPr/>
                    <a:lstStyle/>
                    <a:p>
                      <a:pPr algn="ctr">
                        <a:defRPr sz="600">
                          <a:latin typeface="Nexa Book"/>
                        </a:defRPr>
                      </a:pPr>
                      <a:r>
                        <a:rPr sz="600">
                          <a:latin typeface="Nexa Book"/>
                        </a:rPr>
                        <a:t> 40.36</a:t>
                      </a:r>
                    </a:p>
                  </a:txBody>
                  <a:tcPr marL="2858" marR="2858" marT="2858" marB="0" anchor="ctr">
                    <a:noFill/>
                  </a:tcPr>
                </a:tc>
                <a:tc>
                  <a:txBody>
                    <a:bodyPr/>
                    <a:lstStyle/>
                    <a:p>
                      <a:pPr algn="ctr">
                        <a:defRPr sz="600">
                          <a:latin typeface="Nexa Book"/>
                        </a:defRPr>
                      </a:pPr>
                      <a:r>
                        <a:rPr sz="600">
                          <a:latin typeface="Nexa Book"/>
                        </a:rPr>
                        <a:t>84'267</a:t>
                      </a:r>
                    </a:p>
                  </a:txBody>
                  <a:tcPr marL="2858" marR="2858" marT="2858" marB="0" anchor="ctr">
                    <a:noFill/>
                  </a:tcPr>
                </a:tc>
                <a:tc>
                  <a:txBody>
                    <a:bodyPr/>
                    <a:lstStyle/>
                    <a:p>
                      <a:pPr algn="ctr">
                        <a:defRPr sz="600">
                          <a:latin typeface="Nexa Book"/>
                        </a:defRPr>
                      </a:pPr>
                      <a:r>
                        <a:rPr sz="600">
                          <a:latin typeface="Nexa Book"/>
                        </a:rPr>
                        <a:t>236%</a:t>
                      </a:r>
                    </a:p>
                  </a:txBody>
                  <a:tcPr marL="2858" marR="2858" marT="2858" marB="0" anchor="ctr">
                    <a:noFill/>
                  </a:tcPr>
                </a:tc>
                <a:tc>
                  <a:txBody>
                    <a:bodyPr/>
                    <a:lstStyle/>
                    <a:p>
                      <a:pPr algn="ctr">
                        <a:defRPr sz="600">
                          <a:latin typeface="Nexa Book"/>
                        </a:defRPr>
                      </a:pPr>
                      <a:r>
                        <a:rPr sz="600">
                          <a:latin typeface="Nexa Book"/>
                        </a:rPr>
                        <a:t>267%</a:t>
                      </a:r>
                    </a:p>
                  </a:txBody>
                  <a:tcPr marL="2858" marR="2858" marT="2858" marB="0" anchor="ctr">
                    <a:noFill/>
                  </a:tcPr>
                </a:tc>
                <a:tc>
                  <a:txBody>
                    <a:bodyPr/>
                    <a:lstStyle/>
                    <a:p>
                      <a:pPr algn="ctr">
                        <a:defRPr sz="600">
                          <a:latin typeface="Nexa Book"/>
                        </a:defRPr>
                      </a:pPr>
                      <a:r>
                        <a:rPr sz="600">
                          <a:latin typeface="Nexa Book"/>
                        </a:rPr>
                        <a:t>68082</a:t>
                      </a:r>
                    </a:p>
                  </a:txBody>
                  <a:tcPr marL="2858" marR="2858" marT="2858" marB="0" anchor="ctr">
                    <a:noFill/>
                  </a:tcPr>
                </a:tc>
                <a:tc>
                  <a:txBody>
                    <a:bodyPr/>
                    <a:lstStyle/>
                    <a:p>
                      <a:pPr algn="ctr">
                        <a:defRPr sz="600">
                          <a:latin typeface="Nexa Book"/>
                        </a:defRPr>
                      </a:pPr>
                      <a:r>
                        <a:rPr sz="600">
                          <a:latin typeface="Nexa Book"/>
                        </a:rPr>
                        <a:t>500%</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93.17</a:t>
                      </a:r>
                    </a:p>
                  </a:txBody>
                  <a:tcPr marL="2858" marR="2858" marT="2858" marB="0" anchor="ctr">
                    <a:noFill/>
                  </a:tcPr>
                </a:tc>
                <a:tc>
                  <a:txBody>
                    <a:bodyPr/>
                    <a:lstStyle/>
                    <a:p>
                      <a:pPr algn="ctr">
                        <a:defRPr sz="600">
                          <a:latin typeface="Nexa Book"/>
                        </a:defRPr>
                      </a:pPr>
                      <a:r>
                        <a:rPr sz="600">
                          <a:latin typeface="Nexa Book"/>
                        </a:rPr>
                        <a:t> 84.23</a:t>
                      </a:r>
                    </a:p>
                  </a:txBody>
                  <a:tcPr marL="2858" marR="2858" marT="2858" marB="0" anchor="ctr">
                    <a:noFill/>
                  </a:tcPr>
                </a:tc>
                <a:tc>
                  <a:txBody>
                    <a:bodyPr/>
                    <a:lstStyle/>
                    <a:p>
                      <a:pPr algn="ctr">
                        <a:defRPr sz="600">
                          <a:latin typeface="Nexa Book"/>
                        </a:defRPr>
                      </a:pPr>
                      <a:r>
                        <a:rPr sz="600">
                          <a:latin typeface="Nexa Book"/>
                        </a:rPr>
                        <a:t>78'084</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306%</a:t>
                      </a:r>
                    </a:p>
                  </a:txBody>
                  <a:tcPr marL="2858" marR="2858" marT="2858" marB="0" anchor="ctr">
                    <a:noFill/>
                  </a:tcPr>
                </a:tc>
                <a:tc>
                  <a:txBody>
                    <a:bodyPr/>
                    <a:lstStyle/>
                    <a:p>
                      <a:pPr algn="ctr">
                        <a:defRPr sz="600">
                          <a:latin typeface="Nexa Book"/>
                        </a:defRPr>
                      </a:pPr>
                      <a:r>
                        <a:rPr sz="600">
                          <a:latin typeface="Nexa Book"/>
                        </a:rPr>
                        <a:t>59836</a:t>
                      </a:r>
                    </a:p>
                  </a:txBody>
                  <a:tcPr marL="2858" marR="2858" marT="2858" marB="0" anchor="ctr">
                    <a:noFill/>
                  </a:tcPr>
                </a:tc>
                <a:tc>
                  <a:txBody>
                    <a:bodyPr/>
                    <a:lstStyle/>
                    <a:p>
                      <a:pPr algn="ctr">
                        <a:defRPr sz="600">
                          <a:latin typeface="Nexa Book"/>
                        </a:defRPr>
                      </a:pPr>
                      <a:r>
                        <a:rPr sz="600">
                          <a:latin typeface="Nexa Book"/>
                        </a:rPr>
                        <a:t>73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Vesselle</a:t>
                      </a:r>
                    </a:p>
                  </a:txBody>
                  <a:tcPr marL="2858" marR="2858" marT="2858" marB="0" anchor="ctr">
                    <a:noFill/>
                  </a:tcPr>
                </a:tc>
                <a:tc>
                  <a:txBody>
                    <a:bodyPr/>
                    <a:lstStyle/>
                    <a:p>
                      <a:pPr algn="l">
                        <a:defRPr sz="600">
                          <a:latin typeface="Nexa Book"/>
                        </a:defRPr>
                      </a:pPr>
                      <a:r>
                        <a:rPr sz="600">
                          <a:latin typeface="Nexa Book"/>
                        </a:rPr>
                        <a:t>GEORGES VESSELLE GRD CRU BRUT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3.01</a:t>
                      </a:r>
                    </a:p>
                  </a:txBody>
                  <a:tcPr marL="2858" marR="2858" marT="2858" marB="0" anchor="ctr">
                    <a:noFill/>
                  </a:tcPr>
                </a:tc>
                <a:tc>
                  <a:txBody>
                    <a:bodyPr/>
                    <a:lstStyle/>
                    <a:p>
                      <a:pPr algn="ctr">
                        <a:defRPr sz="600">
                          <a:latin typeface="Nexa Book"/>
                        </a:defRPr>
                      </a:pPr>
                      <a:r>
                        <a:rPr sz="600">
                          <a:latin typeface="Nexa Book"/>
                        </a:rPr>
                        <a:t> 29.63</a:t>
                      </a:r>
                    </a:p>
                  </a:txBody>
                  <a:tcPr marL="2858" marR="2858" marT="2858" marB="0" anchor="ctr">
                    <a:noFill/>
                  </a:tcPr>
                </a:tc>
                <a:tc>
                  <a:txBody>
                    <a:bodyPr/>
                    <a:lstStyle/>
                    <a:p>
                      <a:pPr algn="ctr">
                        <a:defRPr sz="600">
                          <a:latin typeface="Nexa Book"/>
                        </a:defRPr>
                      </a:pPr>
                      <a:r>
                        <a:rPr sz="600">
                          <a:latin typeface="Nexa Book"/>
                        </a:rPr>
                        <a:t>81'481</a:t>
                      </a:r>
                    </a:p>
                  </a:txBody>
                  <a:tcPr marL="2858" marR="2858" marT="2858" marB="0" anchor="ctr">
                    <a:noFill/>
                  </a:tcPr>
                </a:tc>
                <a:tc>
                  <a:txBody>
                    <a:bodyPr/>
                    <a:lstStyle/>
                    <a:p>
                      <a:pPr algn="ctr">
                        <a:defRPr sz="600">
                          <a:latin typeface="Nexa Book"/>
                        </a:defRPr>
                      </a:pPr>
                      <a:r>
                        <a:rPr sz="600">
                          <a:latin typeface="Nexa Book"/>
                        </a:rPr>
                        <a:t>215%</a:t>
                      </a:r>
                    </a:p>
                  </a:txBody>
                  <a:tcPr marL="2858" marR="2858" marT="2858" marB="0" anchor="ctr">
                    <a:noFill/>
                  </a:tcPr>
                </a:tc>
                <a:tc>
                  <a:txBody>
                    <a:bodyPr/>
                    <a:lstStyle/>
                    <a:p>
                      <a:pPr algn="ctr">
                        <a:defRPr sz="600">
                          <a:latin typeface="Nexa Book"/>
                        </a:defRPr>
                      </a:pPr>
                      <a:r>
                        <a:rPr sz="600">
                          <a:latin typeface="Nexa Book"/>
                        </a:rPr>
                        <a:t>248%</a:t>
                      </a:r>
                    </a:p>
                  </a:txBody>
                  <a:tcPr marL="2858" marR="2858" marT="2858" marB="0" anchor="ctr">
                    <a:noFill/>
                  </a:tcPr>
                </a:tc>
                <a:tc>
                  <a:txBody>
                    <a:bodyPr/>
                    <a:lstStyle/>
                    <a:p>
                      <a:pPr algn="ctr">
                        <a:defRPr sz="600">
                          <a:latin typeface="Nexa Book"/>
                        </a:defRPr>
                      </a:pPr>
                      <a:r>
                        <a:rPr sz="600">
                          <a:latin typeface="Nexa Book"/>
                        </a:rPr>
                        <a:t>59374</a:t>
                      </a:r>
                    </a:p>
                  </a:txBody>
                  <a:tcPr marL="2858" marR="2858" marT="2858" marB="0" anchor="ctr">
                    <a:noFill/>
                  </a:tcPr>
                </a:tc>
                <a:tc>
                  <a:txBody>
                    <a:bodyPr/>
                    <a:lstStyle/>
                    <a:p>
                      <a:pPr algn="ctr">
                        <a:defRPr sz="600">
                          <a:latin typeface="Nexa Book"/>
                        </a:defRPr>
                      </a:pPr>
                      <a:r>
                        <a:rPr sz="600">
                          <a:latin typeface="Nexa Book"/>
                        </a:rPr>
                        <a:t>619%</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ROSE PRES SPECIAL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39.97</a:t>
                      </a:r>
                    </a:p>
                  </a:txBody>
                  <a:tcPr marL="2858" marR="2858" marT="2858" marB="0" anchor="ctr">
                    <a:noFill/>
                  </a:tcPr>
                </a:tc>
                <a:tc>
                  <a:txBody>
                    <a:bodyPr/>
                    <a:lstStyle/>
                    <a:p>
                      <a:pPr algn="ctr">
                        <a:defRPr sz="600">
                          <a:latin typeface="Nexa Book"/>
                        </a:defRPr>
                      </a:pPr>
                      <a:r>
                        <a:rPr sz="600">
                          <a:latin typeface="Nexa Book"/>
                        </a:rPr>
                        <a:t> 35.84</a:t>
                      </a:r>
                    </a:p>
                  </a:txBody>
                  <a:tcPr marL="2858" marR="2858" marT="2858" marB="0" anchor="ctr">
                    <a:noFill/>
                  </a:tcPr>
                </a:tc>
                <a:tc>
                  <a:txBody>
                    <a:bodyPr/>
                    <a:lstStyle/>
                    <a:p>
                      <a:pPr algn="ctr">
                        <a:defRPr sz="600">
                          <a:latin typeface="Nexa Book"/>
                        </a:defRPr>
                      </a:pPr>
                      <a:r>
                        <a:rPr sz="600">
                          <a:latin typeface="Nexa Book"/>
                        </a:rPr>
                        <a:t>72'140</a:t>
                      </a:r>
                    </a:p>
                  </a:txBody>
                  <a:tcPr marL="2858" marR="2858" marT="2858" marB="0" anchor="ctr">
                    <a:noFill/>
                  </a:tcPr>
                </a:tc>
                <a:tc>
                  <a:txBody>
                    <a:bodyPr/>
                    <a:lstStyle/>
                    <a:p>
                      <a:pPr algn="ctr">
                        <a:defRPr sz="600">
                          <a:latin typeface="Nexa Book"/>
                        </a:defRPr>
                      </a:pPr>
                      <a:r>
                        <a:rPr sz="600">
                          <a:latin typeface="Nexa Book"/>
                        </a:rPr>
                        <a:t>284%</a:t>
                      </a:r>
                    </a:p>
                  </a:txBody>
                  <a:tcPr marL="2858" marR="2858" marT="2858" marB="0" anchor="ctr">
                    <a:noFill/>
                  </a:tcPr>
                </a:tc>
                <a:tc>
                  <a:txBody>
                    <a:bodyPr/>
                    <a:lstStyle/>
                    <a:p>
                      <a:pPr algn="ctr">
                        <a:defRPr sz="600">
                          <a:latin typeface="Nexa Book"/>
                        </a:defRPr>
                      </a:pPr>
                      <a:r>
                        <a:rPr sz="600">
                          <a:latin typeface="Nexa Book"/>
                        </a:rPr>
                        <a:t>323%</a:t>
                      </a:r>
                    </a:p>
                  </a:txBody>
                  <a:tcPr marL="2858" marR="2858" marT="2858" marB="0" anchor="ctr">
                    <a:noFill/>
                  </a:tcPr>
                </a:tc>
                <a:tc>
                  <a:txBody>
                    <a:bodyPr/>
                    <a:lstStyle/>
                    <a:p>
                      <a:pPr algn="ctr">
                        <a:defRPr sz="600">
                          <a:latin typeface="Nexa Book"/>
                        </a:defRPr>
                      </a:pPr>
                      <a:r>
                        <a:rPr sz="600">
                          <a:latin typeface="Nexa Book"/>
                        </a:rPr>
                        <a:t>55388</a:t>
                      </a:r>
                    </a:p>
                  </a:txBody>
                  <a:tcPr marL="2858" marR="2858" marT="2858" marB="0" anchor="ctr">
                    <a:noFill/>
                  </a:tcPr>
                </a:tc>
                <a:tc>
                  <a:txBody>
                    <a:bodyPr/>
                    <a:lstStyle/>
                    <a:p>
                      <a:pPr algn="ctr">
                        <a:defRPr sz="600">
                          <a:latin typeface="Nexa Book"/>
                        </a:defRPr>
                      </a:pPr>
                      <a:r>
                        <a:rPr sz="600">
                          <a:latin typeface="Nexa Book"/>
                        </a:rPr>
                        <a:t>695%</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55.34</a:t>
                      </a:r>
                    </a:p>
                  </a:txBody>
                  <a:tcPr marL="2858" marR="2858" marT="2858" marB="0" anchor="ctr">
                    <a:noFill/>
                  </a:tcPr>
                </a:tc>
                <a:tc>
                  <a:txBody>
                    <a:bodyPr/>
                    <a:lstStyle/>
                    <a:p>
                      <a:pPr algn="ctr">
                        <a:defRPr sz="600">
                          <a:latin typeface="Nexa Book"/>
                        </a:defRPr>
                      </a:pPr>
                      <a:r>
                        <a:rPr sz="600">
                          <a:latin typeface="Nexa Book"/>
                        </a:rPr>
                        <a:t> 49.13</a:t>
                      </a:r>
                    </a:p>
                  </a:txBody>
                  <a:tcPr marL="2858" marR="2858" marT="2858" marB="0" anchor="ctr">
                    <a:noFill/>
                  </a:tcPr>
                </a:tc>
                <a:tc>
                  <a:txBody>
                    <a:bodyPr/>
                    <a:lstStyle/>
                    <a:p>
                      <a:pPr algn="ctr">
                        <a:defRPr sz="600">
                          <a:latin typeface="Nexa Book"/>
                        </a:defRPr>
                      </a:pPr>
                      <a:r>
                        <a:rPr sz="600">
                          <a:latin typeface="Nexa Book"/>
                        </a:rPr>
                        <a:t>69'820</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349%</a:t>
                      </a:r>
                    </a:p>
                  </a:txBody>
                  <a:tcPr marL="2858" marR="2858" marT="2858" marB="0" anchor="ctr">
                    <a:noFill/>
                  </a:tcPr>
                </a:tc>
                <a:tc>
                  <a:txBody>
                    <a:bodyPr/>
                    <a:lstStyle/>
                    <a:p>
                      <a:pPr algn="ctr">
                        <a:defRPr sz="600">
                          <a:latin typeface="Nexa Book"/>
                        </a:defRPr>
                      </a:pPr>
                      <a:r>
                        <a:rPr sz="600">
                          <a:latin typeface="Nexa Book"/>
                        </a:rPr>
                        <a:t>53299</a:t>
                      </a:r>
                    </a:p>
                  </a:txBody>
                  <a:tcPr marL="2858" marR="2858" marT="2858" marB="0" anchor="ctr">
                    <a:noFill/>
                  </a:tcPr>
                </a:tc>
                <a:tc>
                  <a:txBody>
                    <a:bodyPr/>
                    <a:lstStyle/>
                    <a:p>
                      <a:pPr algn="ctr">
                        <a:defRPr sz="600">
                          <a:latin typeface="Nexa Book"/>
                        </a:defRPr>
                      </a:pPr>
                      <a:r>
                        <a:rPr sz="600">
                          <a:latin typeface="Nexa Book"/>
                        </a:rPr>
                        <a:t>612%</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Roederer</a:t>
                      </a:r>
                    </a:p>
                  </a:txBody>
                  <a:tcPr marL="2858" marR="2858" marT="2858" marB="0" anchor="ctr">
                    <a:noFill/>
                  </a:tcPr>
                </a:tc>
                <a:tc>
                  <a:txBody>
                    <a:bodyPr/>
                    <a:lstStyle/>
                    <a:p>
                      <a:pPr algn="l">
                        <a:defRPr sz="600">
                          <a:latin typeface="Nexa Book"/>
                        </a:defRPr>
                      </a:pPr>
                      <a:r>
                        <a:rPr sz="600">
                          <a:latin typeface="Nexa Book"/>
                        </a:rPr>
                        <a:t>ROEDERER BRUT COLLECTION 245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59.78</a:t>
                      </a:r>
                    </a:p>
                  </a:txBody>
                  <a:tcPr marL="2858" marR="2858" marT="2858" marB="0" anchor="ctr">
                    <a:noFill/>
                  </a:tcPr>
                </a:tc>
                <a:tc>
                  <a:txBody>
                    <a:bodyPr/>
                    <a:lstStyle/>
                    <a:p>
                      <a:pPr algn="ctr">
                        <a:defRPr sz="600">
                          <a:latin typeface="Nexa Book"/>
                        </a:defRPr>
                      </a:pPr>
                      <a:r>
                        <a:rPr sz="600">
                          <a:latin typeface="Nexa Book"/>
                        </a:rPr>
                        <a:t> 54.70</a:t>
                      </a:r>
                    </a:p>
                  </a:txBody>
                  <a:tcPr marL="2858" marR="2858" marT="2858" marB="0" anchor="ctr">
                    <a:noFill/>
                  </a:tcPr>
                </a:tc>
                <a:tc>
                  <a:txBody>
                    <a:bodyPr/>
                    <a:lstStyle/>
                    <a:p>
                      <a:pPr algn="ctr">
                        <a:defRPr sz="600">
                          <a:latin typeface="Nexa Book"/>
                        </a:defRPr>
                      </a:pPr>
                      <a:r>
                        <a:rPr sz="600">
                          <a:latin typeface="Nexa Book"/>
                        </a:rPr>
                        <a:t>53'111</a:t>
                      </a:r>
                    </a:p>
                  </a:txBody>
                  <a:tcPr marL="2858" marR="2858" marT="2858" marB="0" anchor="ctr">
                    <a:noFill/>
                  </a:tcPr>
                </a:tc>
                <a:tc>
                  <a:txBody>
                    <a:bodyPr/>
                    <a:lstStyle/>
                    <a:p>
                      <a:pPr algn="ctr">
                        <a:defRPr sz="600">
                          <a:latin typeface="Nexa Book"/>
                        </a:defRPr>
                      </a:pPr>
                      <a:r>
                        <a:rPr sz="600">
                          <a:latin typeface="Nexa Book"/>
                        </a:rPr>
                        <a:t>467%</a:t>
                      </a:r>
                    </a:p>
                  </a:txBody>
                  <a:tcPr marL="2858" marR="2858" marT="2858" marB="0" anchor="ctr">
                    <a:noFill/>
                  </a:tcPr>
                </a:tc>
                <a:tc>
                  <a:txBody>
                    <a:bodyPr/>
                    <a:lstStyle/>
                    <a:p>
                      <a:pPr algn="ctr">
                        <a:defRPr sz="600">
                          <a:latin typeface="Nexa Book"/>
                        </a:defRPr>
                      </a:pPr>
                      <a:r>
                        <a:rPr sz="600">
                          <a:latin typeface="Nexa Book"/>
                        </a:rPr>
                        <a:t>496%</a:t>
                      </a:r>
                    </a:p>
                  </a:txBody>
                  <a:tcPr marL="2858" marR="2858" marT="2858" marB="0" anchor="ctr">
                    <a:noFill/>
                  </a:tcPr>
                </a:tc>
                <a:tc>
                  <a:txBody>
                    <a:bodyPr/>
                    <a:lstStyle/>
                    <a:p>
                      <a:pPr algn="ctr">
                        <a:defRPr sz="600">
                          <a:latin typeface="Nexa Book"/>
                        </a:defRPr>
                      </a:pPr>
                      <a:r>
                        <a:rPr sz="600">
                          <a:latin typeface="Nexa Book"/>
                        </a:rPr>
                        <a:t>50536</a:t>
                      </a:r>
                    </a:p>
                  </a:txBody>
                  <a:tcPr marL="2858" marR="2858" marT="2858" marB="0" anchor="ctr">
                    <a:noFill/>
                  </a:tcPr>
                </a:tc>
                <a:tc>
                  <a:txBody>
                    <a:bodyPr/>
                    <a:lstStyle/>
                    <a:p>
                      <a:pPr algn="ctr">
                        <a:defRPr sz="600">
                          <a:latin typeface="Nexa Book"/>
                        </a:defRPr>
                      </a:pPr>
                      <a:r>
                        <a:rPr sz="600">
                          <a:latin typeface="Nexa Book"/>
                        </a:rPr>
                        <a:t>105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105984341"/>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 NICOLAS CCP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8.43</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16'367</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8543</a:t>
                      </a:r>
                    </a:p>
                  </a:txBody>
                  <a:tcPr marL="2858" marR="2858" marT="2858" marB="0" anchor="ctr">
                    <a:noFill/>
                  </a:tcPr>
                </a:tc>
                <a:tc>
                  <a:txBody>
                    <a:bodyPr/>
                    <a:lstStyle/>
                    <a:p>
                      <a:pPr algn="ctr">
                        <a:defRPr sz="600">
                          <a:latin typeface="Nexa Book"/>
                        </a:defRPr>
                      </a:pPr>
                      <a:r>
                        <a:rPr sz="600">
                          <a:latin typeface="Nexa Book"/>
                        </a:rPr>
                        <a:t>202%</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 14.94</a:t>
                      </a:r>
                    </a:p>
                  </a:txBody>
                  <a:tcPr marL="2858" marR="2858" marT="2858" marB="0" anchor="ctr">
                    <a:noFill/>
                  </a:tcPr>
                </a:tc>
                <a:tc>
                  <a:txBody>
                    <a:bodyPr/>
                    <a:lstStyle/>
                    <a:p>
                      <a:pPr algn="ctr">
                        <a:defRPr sz="600">
                          <a:latin typeface="Nexa Book"/>
                        </a:defRPr>
                      </a:pPr>
                      <a:r>
                        <a:rPr sz="600">
                          <a:latin typeface="Nexa Book"/>
                        </a:rPr>
                        <a:t> 11.08</a:t>
                      </a:r>
                    </a:p>
                  </a:txBody>
                  <a:tcPr marL="2858" marR="2858" marT="2858" marB="0" anchor="ctr">
                    <a:noFill/>
                  </a:tcPr>
                </a:tc>
                <a:tc>
                  <a:txBody>
                    <a:bodyPr/>
                    <a:lstStyle/>
                    <a:p>
                      <a:pPr algn="ctr">
                        <a:defRPr sz="600">
                          <a:latin typeface="Nexa Book"/>
                        </a:defRPr>
                      </a:pPr>
                      <a:r>
                        <a:rPr sz="600">
                          <a:latin typeface="Nexa Book"/>
                        </a:rPr>
                        <a:t>7'568</a:t>
                      </a:r>
                    </a:p>
                  </a:txBody>
                  <a:tcPr marL="2858" marR="2858" marT="2858" marB="0" anchor="ctr">
                    <a:noFill/>
                  </a:tcPr>
                </a:tc>
                <a:tc>
                  <a:txBody>
                    <a:bodyPr/>
                    <a:lstStyle/>
                    <a:p>
                      <a:pPr algn="ctr">
                        <a:defRPr sz="600">
                          <a:latin typeface="Nexa Book"/>
                        </a:defRPr>
                      </a:pPr>
                      <a:r>
                        <a:rPr sz="600">
                          <a:latin typeface="Nexa Book"/>
                        </a:rPr>
                        <a:t>174%</a:t>
                      </a:r>
                    </a:p>
                  </a:txBody>
                  <a:tcPr marL="2858" marR="2858" marT="2858" marB="0" anchor="ctr">
                    <a:noFill/>
                  </a:tcPr>
                </a:tc>
                <a:tc>
                  <a:txBody>
                    <a:bodyPr/>
                    <a:lstStyle/>
                    <a:p>
                      <a:pPr algn="ctr">
                        <a:defRPr sz="600">
                          <a:latin typeface="Nexa Book"/>
                        </a:defRPr>
                      </a:pPr>
                      <a:r>
                        <a:rPr sz="600">
                          <a:latin typeface="Nexa Book"/>
                        </a:rPr>
                        <a:t>266%</a:t>
                      </a:r>
                    </a:p>
                  </a:txBody>
                  <a:tcPr marL="2858" marR="2858" marT="2858" marB="0" anchor="ctr">
                    <a:noFill/>
                  </a:tcPr>
                </a:tc>
                <a:tc>
                  <a:txBody>
                    <a:bodyPr/>
                    <a:lstStyle/>
                    <a:p>
                      <a:pPr algn="ctr">
                        <a:defRPr sz="600">
                          <a:latin typeface="Nexa Book"/>
                        </a:defRPr>
                      </a:pPr>
                      <a:r>
                        <a:rPr sz="600">
                          <a:latin typeface="Nexa Book"/>
                        </a:rPr>
                        <a:t>5232</a:t>
                      </a:r>
                    </a:p>
                  </a:txBody>
                  <a:tcPr marL="2858" marR="2858" marT="2858" marB="0" anchor="ctr">
                    <a:noFill/>
                  </a:tcPr>
                </a:tc>
                <a:tc>
                  <a:txBody>
                    <a:bodyPr/>
                    <a:lstStyle/>
                    <a:p>
                      <a:pPr algn="ctr">
                        <a:defRPr sz="600">
                          <a:latin typeface="Nexa Book"/>
                        </a:defRPr>
                      </a:pPr>
                      <a:r>
                        <a:rPr sz="600">
                          <a:latin typeface="Nexa Book"/>
                        </a:rPr>
                        <a:t>187%</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27</a:t>
                      </a:r>
                    </a:p>
                  </a:txBody>
                  <a:tcPr marL="2858" marR="2858" marT="2858" marB="0" anchor="ctr">
                    <a:noFill/>
                  </a:tcPr>
                </a:tc>
                <a:tc>
                  <a:txBody>
                    <a:bodyPr/>
                    <a:lstStyle/>
                    <a:p>
                      <a:pPr algn="ctr">
                        <a:defRPr sz="600">
                          <a:latin typeface="Nexa Book"/>
                        </a:defRPr>
                      </a:pPr>
                      <a:r>
                        <a:rPr sz="600">
                          <a:latin typeface="Nexa Book"/>
                        </a:rPr>
                        <a:t>6'635</a:t>
                      </a:r>
                    </a:p>
                  </a:txBody>
                  <a:tcPr marL="2858" marR="2858" marT="2858" marB="0" anchor="ctr">
                    <a:noFill/>
                  </a:tcPr>
                </a:tc>
                <a:tc>
                  <a:txBody>
                    <a:bodyPr/>
                    <a:lstStyle/>
                    <a:p>
                      <a:pPr algn="ctr">
                        <a:defRPr sz="600">
                          <a:latin typeface="Nexa Book"/>
                        </a:defRPr>
                      </a:pPr>
                      <a:r>
                        <a:rPr sz="600">
                          <a:latin typeface="Nexa Book"/>
                        </a:rPr>
                        <a:t>129%</a:t>
                      </a:r>
                    </a:p>
                  </a:txBody>
                  <a:tcPr marL="2858" marR="2858" marT="2858" marB="0" anchor="ctr">
                    <a:noFill/>
                  </a:tcPr>
                </a:tc>
                <a:tc>
                  <a:txBody>
                    <a:bodyPr/>
                    <a:lstStyle/>
                    <a:p>
                      <a:pPr algn="ctr">
                        <a:defRPr sz="600">
                          <a:latin typeface="Nexa Book"/>
                        </a:defRPr>
                      </a:pPr>
                      <a:r>
                        <a:rPr sz="600">
                          <a:latin typeface="Nexa Book"/>
                        </a:rPr>
                        <a:t>166%</a:t>
                      </a:r>
                    </a:p>
                  </a:txBody>
                  <a:tcPr marL="2858" marR="2858" marT="2858" marB="0" anchor="ctr">
                    <a:noFill/>
                  </a:tcPr>
                </a:tc>
                <a:tc>
                  <a:txBody>
                    <a:bodyPr/>
                    <a:lstStyle/>
                    <a:p>
                      <a:pPr algn="ctr">
                        <a:defRPr sz="600">
                          <a:latin typeface="Nexa Book"/>
                        </a:defRPr>
                      </a:pPr>
                      <a:r>
                        <a:rPr sz="600">
                          <a:latin typeface="Nexa Book"/>
                        </a:rPr>
                        <a:t>3883</a:t>
                      </a:r>
                    </a:p>
                  </a:txBody>
                  <a:tcPr marL="2858" marR="2858" marT="2858" marB="0" anchor="ctr">
                    <a:noFill/>
                  </a:tcPr>
                </a:tc>
                <a:tc>
                  <a:txBody>
                    <a:bodyPr/>
                    <a:lstStyle/>
                    <a:p>
                      <a:pPr algn="ctr">
                        <a:defRPr sz="600">
                          <a:latin typeface="Nexa Book"/>
                        </a:defRPr>
                      </a:pPr>
                      <a:r>
                        <a:rPr sz="600">
                          <a:latin typeface="Nexa Book"/>
                        </a:rPr>
                        <a:t>354%</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 ROS AC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 14.44</a:t>
                      </a:r>
                    </a:p>
                  </a:txBody>
                  <a:tcPr marL="2858" marR="2858" marT="2858" marB="0" anchor="ctr">
                    <a:noFill/>
                  </a:tcPr>
                </a:tc>
                <a:tc>
                  <a:txBody>
                    <a:bodyPr/>
                    <a:lstStyle/>
                    <a:p>
                      <a:pPr algn="ctr">
                        <a:defRPr sz="600">
                          <a:latin typeface="Nexa Book"/>
                        </a:defRPr>
                      </a:pPr>
                      <a:r>
                        <a:rPr sz="600">
                          <a:latin typeface="Nexa Book"/>
                        </a:rPr>
                        <a:t> 10.87</a:t>
                      </a:r>
                    </a:p>
                  </a:txBody>
                  <a:tcPr marL="2858" marR="2858" marT="2858" marB="0" anchor="ctr">
                    <a:noFill/>
                  </a:tcPr>
                </a:tc>
                <a:tc>
                  <a:txBody>
                    <a:bodyPr/>
                    <a:lstStyle/>
                    <a:p>
                      <a:pPr algn="ctr">
                        <a:defRPr sz="600">
                          <a:latin typeface="Nexa Book"/>
                        </a:defRPr>
                      </a:pPr>
                      <a:r>
                        <a:rPr sz="600">
                          <a:latin typeface="Nexa Book"/>
                        </a:rPr>
                        <a:t>3'719</a:t>
                      </a:r>
                    </a:p>
                  </a:txBody>
                  <a:tcPr marL="2858" marR="2858" marT="2858" marB="0" anchor="ctr">
                    <a:noFill/>
                  </a:tcPr>
                </a:tc>
                <a:tc>
                  <a:txBody>
                    <a:bodyPr/>
                    <a:lstStyle/>
                    <a:p>
                      <a:pPr algn="ctr">
                        <a:defRPr sz="600">
                          <a:latin typeface="Nexa Book"/>
                        </a:defRPr>
                      </a:pPr>
                      <a:r>
                        <a:rPr sz="600">
                          <a:latin typeface="Nexa Book"/>
                        </a:rPr>
                        <a:t>240%</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2697</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Bottega</a:t>
                      </a:r>
                    </a:p>
                  </a:txBody>
                  <a:tcPr marL="2858" marR="2858" marT="2858" marB="0" anchor="ctr">
                    <a:noFill/>
                  </a:tcPr>
                </a:tc>
                <a:tc>
                  <a:txBody>
                    <a:bodyPr/>
                    <a:lstStyle/>
                    <a:p>
                      <a:pPr algn="l">
                        <a:defRPr sz="600">
                          <a:latin typeface="Nexa Book"/>
                        </a:defRPr>
                      </a:pPr>
                      <a:r>
                        <a:rPr sz="600">
                          <a:latin typeface="Nexa Book"/>
                        </a:rPr>
                        <a:t>PROSECCO VINO DEI POETI ITA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80</a:t>
                      </a:r>
                    </a:p>
                  </a:txBody>
                  <a:tcPr marL="2858" marR="2858" marT="2858" marB="0" anchor="ctr">
                    <a:noFill/>
                  </a:tcPr>
                </a:tc>
                <a:tc>
                  <a:txBody>
                    <a:bodyPr/>
                    <a:lstStyle/>
                    <a:p>
                      <a:pPr algn="ctr">
                        <a:defRPr sz="600">
                          <a:latin typeface="Nexa Book"/>
                        </a:defRPr>
                      </a:pPr>
                      <a:r>
                        <a:rPr sz="600">
                          <a:latin typeface="Nexa Book"/>
                        </a:rPr>
                        <a:t>3'066</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912</a:t>
                      </a:r>
                    </a:p>
                  </a:txBody>
                  <a:tcPr marL="2858" marR="2858" marT="2858" marB="0" anchor="ctr">
                    <a:noFill/>
                  </a:tcPr>
                </a:tc>
                <a:tc>
                  <a:txBody>
                    <a:bodyPr/>
                    <a:lstStyle/>
                    <a:p>
                      <a:pPr algn="ctr">
                        <a:defRPr sz="600">
                          <a:latin typeface="Nexa Book"/>
                        </a:defRPr>
                      </a:pPr>
                      <a:r>
                        <a:rPr sz="600">
                          <a:latin typeface="Nexa Book"/>
                        </a:rPr>
                        <a:t>25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0628040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Q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5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6659474"/>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 8.21</a:t>
                      </a:r>
                    </a:p>
                  </a:txBody>
                  <a:tcPr marL="2858" marR="2858" marT="2858" marB="0" anchor="ctr">
                    <a:noFill/>
                  </a:tcPr>
                </a:tc>
                <a:tc>
                  <a:txBody>
                    <a:bodyPr/>
                    <a:lstStyle/>
                    <a:p>
                      <a:pPr algn="ctr">
                        <a:defRPr sz="600">
                          <a:latin typeface="Nexa Book"/>
                        </a:defRPr>
                      </a:pPr>
                      <a:r>
                        <a:rPr sz="600">
                          <a:latin typeface="Nexa Book"/>
                        </a:rPr>
                        <a:t> 6.69</a:t>
                      </a:r>
                    </a:p>
                  </a:txBody>
                  <a:tcPr marL="2858" marR="2858" marT="2858" marB="0" anchor="ctr">
                    <a:noFill/>
                  </a:tcPr>
                </a:tc>
                <a:tc>
                  <a:txBody>
                    <a:bodyPr/>
                    <a:lstStyle/>
                    <a:p>
                      <a:pPr algn="ctr">
                        <a:defRPr sz="600">
                          <a:latin typeface="Nexa Book"/>
                        </a:defRPr>
                      </a:pPr>
                      <a:r>
                        <a:rPr sz="600">
                          <a:latin typeface="Nexa Book"/>
                        </a:rPr>
                        <a:t>9'335</a:t>
                      </a:r>
                    </a:p>
                  </a:txBody>
                  <a:tcPr marL="2858" marR="2858" marT="2858" marB="0" anchor="ctr">
                    <a:noFill/>
                  </a:tcPr>
                </a:tc>
                <a:tc>
                  <a:txBody>
                    <a:bodyPr/>
                    <a:lstStyle/>
                    <a:p>
                      <a:pPr algn="ctr">
                        <a:defRPr sz="600">
                          <a:latin typeface="Nexa Book"/>
                        </a:defRPr>
                      </a:pPr>
                      <a:r>
                        <a:rPr sz="600">
                          <a:latin typeface="Nexa Book"/>
                        </a:rPr>
                        <a:t>88%</a:t>
                      </a:r>
                    </a:p>
                  </a:txBody>
                  <a:tcPr marL="2858" marR="2858" marT="2858" marB="0" anchor="ctr">
                    <a:noFill/>
                  </a:tcPr>
                </a:tc>
                <a:tc>
                  <a:txBody>
                    <a:bodyPr/>
                    <a:lstStyle/>
                    <a:p>
                      <a:pPr algn="ctr">
                        <a:defRPr sz="600">
                          <a:latin typeface="Nexa Book"/>
                        </a:defRPr>
                      </a:pPr>
                      <a:r>
                        <a:rPr sz="600">
                          <a:latin typeface="Nexa Book"/>
                        </a:rPr>
                        <a:t>119%</a:t>
                      </a:r>
                    </a:p>
                  </a:txBody>
                  <a:tcPr marL="2858" marR="2858" marT="2858" marB="0" anchor="ctr">
                    <a:noFill/>
                  </a:tcPr>
                </a:tc>
                <a:tc>
                  <a:txBody>
                    <a:bodyPr/>
                    <a:lstStyle/>
                    <a:p>
                      <a:pPr algn="ctr">
                        <a:defRPr sz="600">
                          <a:latin typeface="Nexa Book"/>
                        </a:defRPr>
                      </a:pPr>
                      <a:r>
                        <a:rPr sz="600">
                          <a:latin typeface="Nexa Book"/>
                        </a:rPr>
                        <a:t>4548</a:t>
                      </a:r>
                    </a:p>
                  </a:txBody>
                  <a:tcPr marL="2858" marR="2858" marT="2858" marB="0" anchor="ctr">
                    <a:noFill/>
                  </a:tcPr>
                </a:tc>
                <a:tc>
                  <a:txBody>
                    <a:bodyPr/>
                    <a:lstStyle/>
                    <a:p>
                      <a:pPr algn="ctr">
                        <a:defRPr sz="600">
                          <a:latin typeface="Nexa Book"/>
                        </a:defRPr>
                      </a:pPr>
                      <a:r>
                        <a:rPr sz="600">
                          <a:latin typeface="Nexa Book"/>
                        </a:rPr>
                        <a:t>278%</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29</a:t>
                      </a:r>
                    </a:p>
                  </a:txBody>
                  <a:tcPr marL="2858" marR="2858" marT="2858" marB="0" anchor="ctr">
                    <a:noFill/>
                  </a:tcPr>
                </a:tc>
                <a:tc>
                  <a:txBody>
                    <a:bodyPr/>
                    <a:lstStyle/>
                    <a:p>
                      <a:pPr algn="ctr">
                        <a:defRPr sz="600">
                          <a:latin typeface="Nexa Book"/>
                        </a:defRPr>
                      </a:pPr>
                      <a:r>
                        <a:rPr sz="600">
                          <a:latin typeface="Nexa Book"/>
                        </a:rPr>
                        <a:t>5'754</a:t>
                      </a:r>
                    </a:p>
                  </a:txBody>
                  <a:tcPr marL="2858" marR="2858" marT="2858" marB="0" anchor="ctr">
                    <a:noFill/>
                  </a:tcPr>
                </a:tc>
                <a:tc>
                  <a:txBody>
                    <a:bodyPr/>
                    <a:lstStyle/>
                    <a:p>
                      <a:pPr algn="ctr">
                        <a:defRPr sz="600">
                          <a:latin typeface="Nexa Book"/>
                        </a:defRPr>
                      </a:pPr>
                      <a:r>
                        <a:rPr sz="600">
                          <a:latin typeface="Nexa Book"/>
                        </a:rPr>
                        <a:t>174%</a:t>
                      </a:r>
                    </a:p>
                  </a:txBody>
                  <a:tcPr marL="2858" marR="2858" marT="2858" marB="0" anchor="ctr">
                    <a:noFill/>
                  </a:tcPr>
                </a:tc>
                <a:tc>
                  <a:txBody>
                    <a:bodyPr/>
                    <a:lstStyle/>
                    <a:p>
                      <a:pPr algn="ctr">
                        <a:defRPr sz="600">
                          <a:latin typeface="Nexa Book"/>
                        </a:defRPr>
                      </a:pPr>
                      <a:r>
                        <a:rPr sz="600">
                          <a:latin typeface="Nexa Book"/>
                        </a:rPr>
                        <a:t>212%</a:t>
                      </a:r>
                    </a:p>
                  </a:txBody>
                  <a:tcPr marL="2858" marR="2858" marT="2858" marB="0" anchor="ctr">
                    <a:noFill/>
                  </a:tcPr>
                </a:tc>
                <a:tc>
                  <a:txBody>
                    <a:bodyPr/>
                    <a:lstStyle/>
                    <a:p>
                      <a:pPr algn="ctr">
                        <a:defRPr sz="600">
                          <a:latin typeface="Nexa Book"/>
                        </a:defRPr>
                      </a:pPr>
                      <a:r>
                        <a:rPr sz="600">
                          <a:latin typeface="Nexa Book"/>
                        </a:rPr>
                        <a:t>3810</a:t>
                      </a:r>
                    </a:p>
                  </a:txBody>
                  <a:tcPr marL="2858" marR="2858" marT="2858" marB="0" anchor="ctr">
                    <a:noFill/>
                  </a:tcPr>
                </a:tc>
                <a:tc>
                  <a:txBody>
                    <a:bodyPr/>
                    <a:lstStyle/>
                    <a:p>
                      <a:pPr algn="ctr">
                        <a:defRPr sz="600">
                          <a:latin typeface="Nexa Book"/>
                        </a:defRPr>
                      </a:pPr>
                      <a:r>
                        <a:rPr sz="600">
                          <a:latin typeface="Nexa Book"/>
                        </a:rPr>
                        <a:t>459%</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14.93</a:t>
                      </a:r>
                    </a:p>
                  </a:txBody>
                  <a:tcPr marL="2858" marR="2858" marT="2858" marB="0" anchor="ctr">
                    <a:noFill/>
                  </a:tcPr>
                </a:tc>
                <a:tc>
                  <a:txBody>
                    <a:bodyPr/>
                    <a:lstStyle/>
                    <a:p>
                      <a:pPr algn="ctr">
                        <a:defRPr sz="600">
                          <a:latin typeface="Nexa Book"/>
                        </a:defRPr>
                      </a:pPr>
                      <a:r>
                        <a:rPr sz="600">
                          <a:latin typeface="Nexa Book"/>
                        </a:rPr>
                        <a:t> 11.16</a:t>
                      </a:r>
                    </a:p>
                  </a:txBody>
                  <a:tcPr marL="2858" marR="2858" marT="2858" marB="0" anchor="ctr">
                    <a:noFill/>
                  </a:tcPr>
                </a:tc>
                <a:tc>
                  <a:txBody>
                    <a:bodyPr/>
                    <a:lstStyle/>
                    <a:p>
                      <a:pPr algn="ctr">
                        <a:defRPr sz="600">
                          <a:latin typeface="Nexa Book"/>
                        </a:defRPr>
                      </a:pPr>
                      <a:r>
                        <a:rPr sz="600">
                          <a:latin typeface="Nexa Book"/>
                        </a:rPr>
                        <a:t>4'675</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242%</a:t>
                      </a:r>
                    </a:p>
                  </a:txBody>
                  <a:tcPr marL="2858" marR="2858" marT="2858" marB="0" anchor="ctr">
                    <a:noFill/>
                  </a:tcPr>
                </a:tc>
                <a:tc>
                  <a:txBody>
                    <a:bodyPr/>
                    <a:lstStyle/>
                    <a:p>
                      <a:pPr algn="ctr">
                        <a:defRPr sz="600">
                          <a:latin typeface="Nexa Book"/>
                        </a:defRPr>
                      </a:pPr>
                      <a:r>
                        <a:rPr sz="600">
                          <a:latin typeface="Nexa Book"/>
                        </a:rPr>
                        <a:t>3048</a:t>
                      </a:r>
                    </a:p>
                  </a:txBody>
                  <a:tcPr marL="2858" marR="2858" marT="2858" marB="0" anchor="ctr">
                    <a:noFill/>
                  </a:tcPr>
                </a:tc>
                <a:tc>
                  <a:txBody>
                    <a:bodyPr/>
                    <a:lstStyle/>
                    <a:p>
                      <a:pPr algn="ctr">
                        <a:defRPr sz="600">
                          <a:latin typeface="Nexa Book"/>
                        </a:defRPr>
                      </a:pPr>
                      <a:r>
                        <a:rPr sz="600">
                          <a:latin typeface="Nexa Book"/>
                        </a:rPr>
                        <a:t>186%</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 ROS AC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 14.56</a:t>
                      </a:r>
                    </a:p>
                  </a:txBody>
                  <a:tcPr marL="2858" marR="2858" marT="2858" marB="0" anchor="ctr">
                    <a:noFill/>
                  </a:tcPr>
                </a:tc>
                <a:tc>
                  <a:txBody>
                    <a:bodyPr/>
                    <a:lstStyle/>
                    <a:p>
                      <a:pPr algn="ctr">
                        <a:defRPr sz="600">
                          <a:latin typeface="Nexa Book"/>
                        </a:defRPr>
                      </a:pPr>
                      <a:r>
                        <a:rPr sz="600">
                          <a:latin typeface="Nexa Book"/>
                        </a:rPr>
                        <a:t> 10.93</a:t>
                      </a:r>
                    </a:p>
                  </a:txBody>
                  <a:tcPr marL="2858" marR="2858" marT="2858" marB="0" anchor="ctr">
                    <a:noFill/>
                  </a:tcPr>
                </a:tc>
                <a:tc>
                  <a:txBody>
                    <a:bodyPr/>
                    <a:lstStyle/>
                    <a:p>
                      <a:pPr algn="ctr">
                        <a:defRPr sz="600">
                          <a:latin typeface="Nexa Book"/>
                        </a:defRPr>
                      </a:pPr>
                      <a:r>
                        <a:rPr sz="600">
                          <a:latin typeface="Nexa Book"/>
                        </a:rPr>
                        <a:t>2'677</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r>
                        <a:rPr sz="600">
                          <a:latin typeface="Nexa Book"/>
                        </a:rPr>
                        <a:t>187%</a:t>
                      </a:r>
                    </a:p>
                  </a:txBody>
                  <a:tcPr marL="2858" marR="2858" marT="2858" marB="0" anchor="ctr">
                    <a:noFill/>
                  </a:tcPr>
                </a:tc>
                <a:tc>
                  <a:txBody>
                    <a:bodyPr/>
                    <a:lstStyle/>
                    <a:p>
                      <a:pPr algn="ctr">
                        <a:defRPr sz="600">
                          <a:latin typeface="Nexa Book"/>
                        </a:defRPr>
                      </a:pPr>
                      <a:r>
                        <a:rPr sz="600">
                          <a:latin typeface="Nexa Book"/>
                        </a:rPr>
                        <a:t>1674</a:t>
                      </a:r>
                    </a:p>
                  </a:txBody>
                  <a:tcPr marL="2858" marR="2858" marT="2858" marB="0" anchor="ctr">
                    <a:noFill/>
                  </a:tcPr>
                </a:tc>
                <a:tc>
                  <a:txBody>
                    <a:bodyPr/>
                    <a:lstStyle/>
                    <a:p>
                      <a:pPr algn="ctr">
                        <a:defRPr sz="600">
                          <a:latin typeface="Nexa Book"/>
                        </a:defRPr>
                      </a:pPr>
                      <a:r>
                        <a:rPr sz="600">
                          <a:latin typeface="Nexa Book"/>
                        </a:rPr>
                        <a:t>199%</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avian</a:t>
                      </a:r>
                    </a:p>
                  </a:txBody>
                  <a:tcPr marL="2858" marR="2858" marT="2858" marB="0" anchor="ctr">
                    <a:noFill/>
                  </a:tcPr>
                </a:tc>
                <a:tc>
                  <a:txBody>
                    <a:bodyPr/>
                    <a:lstStyle/>
                    <a:p>
                      <a:pPr algn="l">
                        <a:defRPr sz="600">
                          <a:latin typeface="Nexa Book"/>
                        </a:defRPr>
                      </a:pPr>
                      <a:r>
                        <a:rPr sz="600">
                          <a:latin typeface="Nexa Book"/>
                        </a:rPr>
                        <a:t>PROSECCO SAVIAN EXTRA DRY ITA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1'512</a:t>
                      </a:r>
                    </a:p>
                  </a:txBody>
                  <a:tcPr marL="2858" marR="2858" marT="2858" marB="0" anchor="ctr">
                    <a:noFill/>
                  </a:tcPr>
                </a:tc>
                <a:tc>
                  <a:txBody>
                    <a:bodyPr/>
                    <a:lstStyle/>
                    <a:p>
                      <a:pPr algn="ctr">
                        <a:defRPr sz="600">
                          <a:latin typeface="Nexa Book"/>
                        </a:defRPr>
                      </a:pPr>
                      <a:r>
                        <a:rPr sz="600">
                          <a:latin typeface="Nexa Book"/>
                        </a:rPr>
                        <a:t>129%</a:t>
                      </a:r>
                    </a:p>
                  </a:txBody>
                  <a:tcPr marL="2858" marR="2858" marT="2858" marB="0" anchor="ctr">
                    <a:noFill/>
                  </a:tcPr>
                </a:tc>
                <a:tc>
                  <a:txBody>
                    <a:bodyPr/>
                    <a:lstStyle/>
                    <a:p>
                      <a:pPr algn="ctr">
                        <a:defRPr sz="600">
                          <a:latin typeface="Nexa Book"/>
                        </a:defRPr>
                      </a:pPr>
                      <a:r>
                        <a:rPr sz="600">
                          <a:latin typeface="Nexa Book"/>
                        </a:rPr>
                        <a:t>169%</a:t>
                      </a:r>
                    </a:p>
                  </a:txBody>
                  <a:tcPr marL="2858" marR="2858" marT="2858" marB="0" anchor="ctr">
                    <a:noFill/>
                  </a:tcPr>
                </a:tc>
                <a:tc>
                  <a:txBody>
                    <a:bodyPr/>
                    <a:lstStyle/>
                    <a:p>
                      <a:pPr algn="ctr">
                        <a:defRPr sz="600">
                          <a:latin typeface="Nexa Book"/>
                        </a:defRPr>
                      </a:pPr>
                      <a:r>
                        <a:rPr sz="600">
                          <a:latin typeface="Nexa Book"/>
                        </a:rPr>
                        <a:t>1010</a:t>
                      </a:r>
                    </a:p>
                  </a:txBody>
                  <a:tcPr marL="2858" marR="2858" marT="2858" marB="0" anchor="ctr">
                    <a:noFill/>
                  </a:tcPr>
                </a:tc>
                <a:tc>
                  <a:txBody>
                    <a:bodyPr/>
                    <a:lstStyle/>
                    <a:p>
                      <a:pPr algn="ctr">
                        <a:defRPr sz="600">
                          <a:latin typeface="Nexa Book"/>
                        </a:defRPr>
                      </a:pPr>
                      <a:r>
                        <a:rPr sz="600">
                          <a:latin typeface="Nexa Book"/>
                        </a:rPr>
                        <a:t>269%</a:t>
                      </a:r>
                    </a:p>
                  </a:txBody>
                  <a:tcPr marL="2858" marR="2858" marT="2858" marB="0" anchor="ctr">
                    <a:noFill/>
                  </a:tcPr>
                </a:tc>
                <a:tc>
                  <a:txBody>
                    <a:bodyPr/>
                    <a:lstStyle/>
                    <a:p>
                      <a:pPr algn="ctr">
                        <a:defRPr sz="600">
                          <a:latin typeface="Nexa Book"/>
                        </a:defRPr>
                      </a:pPr>
                      <a:r>
                        <a:rPr sz="600">
                          <a:latin typeface="Nexa Book"/>
                        </a:rPr>
                        <a:t>5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00643193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 CA B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8.40</a:t>
                      </a:r>
                    </a:p>
                  </a:txBody>
                  <a:tcPr marL="2858" marR="2858" marT="2858" marB="0" anchor="ctr">
                    <a:noFill/>
                  </a:tcPr>
                </a:tc>
                <a:tc>
                  <a:txBody>
                    <a:bodyPr/>
                    <a:lstStyle/>
                    <a:p>
                      <a:pPr algn="ctr">
                        <a:defRPr sz="600">
                          <a:latin typeface="Nexa Book"/>
                        </a:defRPr>
                      </a:pPr>
                      <a:r>
                        <a:rPr sz="600">
                          <a:latin typeface="Nexa Book"/>
                        </a:rPr>
                        <a:t> 6.69</a:t>
                      </a:r>
                    </a:p>
                  </a:txBody>
                  <a:tcPr marL="2858" marR="2858" marT="2858" marB="0" anchor="ctr">
                    <a:noFill/>
                  </a:tcPr>
                </a:tc>
                <a:tc>
                  <a:txBody>
                    <a:bodyPr/>
                    <a:lstStyle/>
                    <a:p>
                      <a:pPr algn="ctr">
                        <a:defRPr sz="600">
                          <a:latin typeface="Nexa Book"/>
                        </a:defRPr>
                      </a:pPr>
                      <a:r>
                        <a:rPr sz="600">
                          <a:latin typeface="Nexa Book"/>
                        </a:rPr>
                        <a:t>32'255</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15716</a:t>
                      </a:r>
                    </a:p>
                  </a:txBody>
                  <a:tcPr marL="2858" marR="2858" marT="2858" marB="0" anchor="ctr">
                    <a:noFill/>
                  </a:tcPr>
                </a:tc>
                <a:tc>
                  <a:txBody>
                    <a:bodyPr/>
                    <a:lstStyle/>
                    <a:p>
                      <a:pPr algn="ctr">
                        <a:defRPr sz="600">
                          <a:latin typeface="Nexa Book"/>
                        </a:defRPr>
                      </a:pPr>
                      <a:r>
                        <a:rPr sz="600">
                          <a:latin typeface="Nexa Book"/>
                        </a:rPr>
                        <a:t>191%</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14.77</a:t>
                      </a:r>
                    </a:p>
                  </a:txBody>
                  <a:tcPr marL="2858" marR="2858" marT="2858" marB="0" anchor="ctr">
                    <a:noFill/>
                  </a:tcPr>
                </a:tc>
                <a:tc>
                  <a:txBody>
                    <a:bodyPr/>
                    <a:lstStyle/>
                    <a:p>
                      <a:pPr algn="ctr">
                        <a:defRPr sz="600">
                          <a:latin typeface="Nexa Book"/>
                        </a:defRPr>
                      </a:pPr>
                      <a:r>
                        <a:rPr sz="600">
                          <a:latin typeface="Nexa Book"/>
                        </a:rPr>
                        <a:t> 11.14</a:t>
                      </a:r>
                    </a:p>
                  </a:txBody>
                  <a:tcPr marL="2858" marR="2858" marT="2858" marB="0" anchor="ctr">
                    <a:noFill/>
                  </a:tcPr>
                </a:tc>
                <a:tc>
                  <a:txBody>
                    <a:bodyPr/>
                    <a:lstStyle/>
                    <a:p>
                      <a:pPr algn="ctr">
                        <a:defRPr sz="600">
                          <a:latin typeface="Nexa Book"/>
                        </a:defRPr>
                      </a:pPr>
                      <a:r>
                        <a:rPr sz="600">
                          <a:latin typeface="Nexa Book"/>
                        </a:rPr>
                        <a:t>25'554</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14760</a:t>
                      </a:r>
                    </a:p>
                  </a:txBody>
                  <a:tcPr marL="2858" marR="2858" marT="2858" marB="0" anchor="ctr">
                    <a:noFill/>
                  </a:tcPr>
                </a:tc>
                <a:tc>
                  <a:txBody>
                    <a:bodyPr/>
                    <a:lstStyle/>
                    <a:p>
                      <a:pPr algn="ctr">
                        <a:defRPr sz="600">
                          <a:latin typeface="Nexa Book"/>
                        </a:defRPr>
                      </a:pPr>
                      <a:r>
                        <a:rPr sz="600">
                          <a:latin typeface="Nexa Book"/>
                        </a:rPr>
                        <a:t>176%</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35</a:t>
                      </a:r>
                    </a:p>
                  </a:txBody>
                  <a:tcPr marL="2858" marR="2858" marT="2858" marB="0" anchor="ctr">
                    <a:noFill/>
                  </a:tcPr>
                </a:tc>
                <a:tc>
                  <a:txBody>
                    <a:bodyPr/>
                    <a:lstStyle/>
                    <a:p>
                      <a:pPr algn="ctr">
                        <a:defRPr sz="600">
                          <a:latin typeface="Nexa Book"/>
                        </a:defRPr>
                      </a:pPr>
                      <a:r>
                        <a:rPr sz="600">
                          <a:latin typeface="Nexa Book"/>
                        </a:rPr>
                        <a:t>22'197</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11413</a:t>
                      </a:r>
                    </a:p>
                  </a:txBody>
                  <a:tcPr marL="2858" marR="2858" marT="2858" marB="0" anchor="ctr">
                    <a:noFill/>
                  </a:tcPr>
                </a:tc>
                <a:tc>
                  <a:txBody>
                    <a:bodyPr/>
                    <a:lstStyle/>
                    <a:p>
                      <a:pPr algn="ctr">
                        <a:defRPr sz="600">
                          <a:latin typeface="Nexa Book"/>
                        </a:defRPr>
                      </a:pPr>
                      <a:r>
                        <a:rPr sz="600">
                          <a:latin typeface="Nexa Book"/>
                        </a:rPr>
                        <a:t>314%</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Savian</a:t>
                      </a:r>
                    </a:p>
                  </a:txBody>
                  <a:tcPr marL="2858" marR="2858" marT="2858" marB="0" anchor="ctr">
                    <a:noFill/>
                  </a:tcPr>
                </a:tc>
                <a:tc>
                  <a:txBody>
                    <a:bodyPr/>
                    <a:lstStyle/>
                    <a:p>
                      <a:pPr algn="l">
                        <a:defRPr sz="600">
                          <a:latin typeface="Nexa Book"/>
                        </a:defRPr>
                      </a:pPr>
                      <a:r>
                        <a:rPr sz="600">
                          <a:latin typeface="Nexa Book"/>
                        </a:rPr>
                        <a:t>PROSECCO SAVIAN EXTRA DRY ITA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 9.61</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11'152</a:t>
                      </a:r>
                    </a:p>
                  </a:txBody>
                  <a:tcPr marL="2858" marR="2858" marT="2858" marB="0" anchor="ctr">
                    <a:noFill/>
                  </a:tcPr>
                </a:tc>
                <a:tc>
                  <a:txBody>
                    <a:bodyPr/>
                    <a:lstStyle/>
                    <a:p>
                      <a:pPr algn="ctr">
                        <a:defRPr sz="600">
                          <a:latin typeface="Nexa Book"/>
                        </a:defRPr>
                      </a:pPr>
                      <a:r>
                        <a:rPr sz="600">
                          <a:latin typeface="Nexa Book"/>
                        </a:rPr>
                        <a:t>95%</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6182</a:t>
                      </a:r>
                    </a:p>
                  </a:txBody>
                  <a:tcPr marL="2858" marR="2858" marT="2858" marB="0" anchor="ctr">
                    <a:noFill/>
                  </a:tcPr>
                </a:tc>
                <a:tc>
                  <a:txBody>
                    <a:bodyPr/>
                    <a:lstStyle/>
                    <a:p>
                      <a:pPr algn="ctr">
                        <a:defRPr sz="600">
                          <a:latin typeface="Nexa Book"/>
                        </a:defRPr>
                      </a:pPr>
                      <a:r>
                        <a:rPr sz="600">
                          <a:latin typeface="Nexa Book"/>
                        </a:rPr>
                        <a:t>284%</a:t>
                      </a:r>
                    </a:p>
                  </a:txBody>
                  <a:tcPr marL="2858" marR="2858" marT="2858" marB="0" anchor="ctr">
                    <a:noFill/>
                  </a:tcPr>
                </a:tc>
                <a:tc>
                  <a:txBody>
                    <a:bodyPr/>
                    <a:lstStyle/>
                    <a:p>
                      <a:pPr algn="ctr">
                        <a:defRPr sz="600">
                          <a:latin typeface="Nexa Book"/>
                        </a:defRPr>
                      </a:pPr>
                      <a:r>
                        <a:rPr sz="600">
                          <a:latin typeface="Nexa Book"/>
                        </a:rPr>
                        <a:t>5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 ROS AC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14.35</a:t>
                      </a:r>
                    </a:p>
                  </a:txBody>
                  <a:tcPr marL="2858" marR="2858" marT="2858" marB="0" anchor="ctr">
                    <a:noFill/>
                  </a:tcPr>
                </a:tc>
                <a:tc>
                  <a:txBody>
                    <a:bodyPr/>
                    <a:lstStyle/>
                    <a:p>
                      <a:pPr algn="ctr">
                        <a:defRPr sz="600">
                          <a:latin typeface="Nexa Book"/>
                        </a:defRPr>
                      </a:pPr>
                      <a:r>
                        <a:rPr sz="600">
                          <a:latin typeface="Nexa Book"/>
                        </a:rPr>
                        <a:t> 10.97</a:t>
                      </a:r>
                    </a:p>
                  </a:txBody>
                  <a:tcPr marL="2858" marR="2858" marT="2858" marB="0" anchor="ctr">
                    <a:noFill/>
                  </a:tcPr>
                </a:tc>
                <a:tc>
                  <a:txBody>
                    <a:bodyPr/>
                    <a:lstStyle/>
                    <a:p>
                      <a:pPr algn="ctr">
                        <a:defRPr sz="600">
                          <a:latin typeface="Nexa Book"/>
                        </a:defRPr>
                      </a:pPr>
                      <a:r>
                        <a:rPr sz="600">
                          <a:latin typeface="Nexa Book"/>
                        </a:rPr>
                        <a:t>7'469</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r>
                        <a:rPr sz="600">
                          <a:latin typeface="Nexa Book"/>
                        </a:rPr>
                        <a:t>166%</a:t>
                      </a:r>
                    </a:p>
                  </a:txBody>
                  <a:tcPr marL="2858" marR="2858" marT="2858" marB="0" anchor="ctr">
                    <a:noFill/>
                  </a:tcPr>
                </a:tc>
                <a:tc>
                  <a:txBody>
                    <a:bodyPr/>
                    <a:lstStyle/>
                    <a:p>
                      <a:pPr algn="ctr">
                        <a:defRPr sz="600">
                          <a:latin typeface="Nexa Book"/>
                        </a:defRPr>
                      </a:pPr>
                      <a:r>
                        <a:rPr sz="600">
                          <a:latin typeface="Nexa Book"/>
                        </a:rPr>
                        <a:t>4314</a:t>
                      </a:r>
                    </a:p>
                  </a:txBody>
                  <a:tcPr marL="2858" marR="2858" marT="2858" marB="0" anchor="ctr">
                    <a:noFill/>
                  </a:tcPr>
                </a:tc>
                <a:tc>
                  <a:txBody>
                    <a:bodyPr/>
                    <a:lstStyle/>
                    <a:p>
                      <a:pPr algn="ctr">
                        <a:defRPr sz="600">
                          <a:latin typeface="Nexa Book"/>
                        </a:defRPr>
                      </a:pPr>
                      <a:r>
                        <a:rPr sz="600">
                          <a:latin typeface="Nexa Book"/>
                        </a:rPr>
                        <a:t>183%</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Bottega</a:t>
                      </a:r>
                    </a:p>
                  </a:txBody>
                  <a:tcPr marL="2858" marR="2858" marT="2858" marB="0" anchor="ctr">
                    <a:noFill/>
                  </a:tcPr>
                </a:tc>
                <a:tc>
                  <a:txBody>
                    <a:bodyPr/>
                    <a:lstStyle/>
                    <a:p>
                      <a:pPr algn="l">
                        <a:defRPr sz="600">
                          <a:latin typeface="Nexa Book"/>
                        </a:defRPr>
                      </a:pPr>
                      <a:r>
                        <a:rPr sz="600">
                          <a:latin typeface="Nexa Book"/>
                        </a:rPr>
                        <a:t>PROSECCO VINO DEI POETI ITA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81</a:t>
                      </a:r>
                    </a:p>
                  </a:txBody>
                  <a:tcPr marL="2858" marR="2858" marT="2858" marB="0" anchor="ctr">
                    <a:noFill/>
                  </a:tcPr>
                </a:tc>
                <a:tc>
                  <a:txBody>
                    <a:bodyPr/>
                    <a:lstStyle/>
                    <a:p>
                      <a:pPr algn="ctr">
                        <a:defRPr sz="600">
                          <a:latin typeface="Nexa Book"/>
                        </a:defRPr>
                      </a:pPr>
                      <a:r>
                        <a:rPr sz="600">
                          <a:latin typeface="Nexa Book"/>
                        </a:rPr>
                        <a:t>11'72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3708</a:t>
                      </a:r>
                    </a:p>
                  </a:txBody>
                  <a:tcPr marL="2858" marR="2858" marT="2858" marB="0" anchor="ctr">
                    <a:noFill/>
                  </a:tcPr>
                </a:tc>
                <a:tc>
                  <a:txBody>
                    <a:bodyPr/>
                    <a:lstStyle/>
                    <a:p>
                      <a:pPr algn="ctr">
                        <a:defRPr sz="600">
                          <a:latin typeface="Nexa Book"/>
                        </a:defRPr>
                      </a:pPr>
                      <a:r>
                        <a:rPr sz="600">
                          <a:latin typeface="Nexa Book"/>
                        </a:rPr>
                        <a:t>288%</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022126202"/>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 CA 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8.40</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52'089</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25705</a:t>
                      </a:r>
                    </a:p>
                  </a:txBody>
                  <a:tcPr marL="2858" marR="2858" marT="2858" marB="0" anchor="ctr">
                    <a:noFill/>
                  </a:tcPr>
                </a:tc>
                <a:tc>
                  <a:txBody>
                    <a:bodyPr/>
                    <a:lstStyle/>
                    <a:p>
                      <a:pPr algn="ctr">
                        <a:defRPr sz="600">
                          <a:latin typeface="Nexa Book"/>
                        </a:defRPr>
                      </a:pPr>
                      <a:r>
                        <a:rPr sz="600">
                          <a:latin typeface="Nexa Book"/>
                        </a:rPr>
                        <a:t>194%</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14.79</a:t>
                      </a:r>
                    </a:p>
                  </a:txBody>
                  <a:tcPr marL="2858" marR="2858" marT="2858" marB="0" anchor="ctr">
                    <a:noFill/>
                  </a:tcPr>
                </a:tc>
                <a:tc>
                  <a:txBody>
                    <a:bodyPr/>
                    <a:lstStyle/>
                    <a:p>
                      <a:pPr algn="ctr">
                        <a:defRPr sz="600">
                          <a:latin typeface="Nexa Book"/>
                        </a:defRPr>
                      </a:pPr>
                      <a:r>
                        <a:rPr sz="600">
                          <a:latin typeface="Nexa Book"/>
                        </a:rPr>
                        <a:t> 11.19</a:t>
                      </a:r>
                    </a:p>
                  </a:txBody>
                  <a:tcPr marL="2858" marR="2858" marT="2858" marB="0" anchor="ctr">
                    <a:noFill/>
                  </a:tcPr>
                </a:tc>
                <a:tc>
                  <a:txBody>
                    <a:bodyPr/>
                    <a:lstStyle/>
                    <a:p>
                      <a:pPr algn="ctr">
                        <a:defRPr sz="600">
                          <a:latin typeface="Nexa Book"/>
                        </a:defRPr>
                      </a:pPr>
                      <a:r>
                        <a:rPr sz="600">
                          <a:latin typeface="Nexa Book"/>
                        </a:rPr>
                        <a:t>39'814</a:t>
                      </a:r>
                    </a:p>
                  </a:txBody>
                  <a:tcPr marL="2858" marR="2858" marT="2858" marB="0" anchor="ctr">
                    <a:noFill/>
                  </a:tcPr>
                </a:tc>
                <a:tc>
                  <a:txBody>
                    <a:bodyPr/>
                    <a:lstStyle/>
                    <a:p>
                      <a:pPr algn="ctr">
                        <a:defRPr sz="600">
                          <a:latin typeface="Nexa Book"/>
                        </a:defRPr>
                      </a:pPr>
                      <a:r>
                        <a:rPr sz="600">
                          <a:latin typeface="Nexa Book"/>
                        </a:rPr>
                        <a:t>126%</a:t>
                      </a:r>
                    </a:p>
                  </a:txBody>
                  <a:tcPr marL="2858" marR="2858" marT="2858" marB="0" anchor="ctr">
                    <a:noFill/>
                  </a:tcPr>
                </a:tc>
                <a:tc>
                  <a:txBody>
                    <a:bodyPr/>
                    <a:lstStyle/>
                    <a:p>
                      <a:pPr algn="ctr">
                        <a:defRPr sz="600">
                          <a:latin typeface="Nexa Book"/>
                        </a:defRPr>
                      </a:pPr>
                      <a:r>
                        <a:rPr sz="600">
                          <a:latin typeface="Nexa Book"/>
                        </a:rPr>
                        <a:t>192%</a:t>
                      </a:r>
                    </a:p>
                  </a:txBody>
                  <a:tcPr marL="2858" marR="2858" marT="2858" marB="0" anchor="ctr">
                    <a:noFill/>
                  </a:tcPr>
                </a:tc>
                <a:tc>
                  <a:txBody>
                    <a:bodyPr/>
                    <a:lstStyle/>
                    <a:p>
                      <a:pPr algn="ctr">
                        <a:defRPr sz="600">
                          <a:latin typeface="Nexa Book"/>
                        </a:defRPr>
                      </a:pPr>
                      <a:r>
                        <a:rPr sz="600">
                          <a:latin typeface="Nexa Book"/>
                        </a:rPr>
                        <a:t>24298</a:t>
                      </a:r>
                    </a:p>
                  </a:txBody>
                  <a:tcPr marL="2858" marR="2858" marT="2858" marB="0" anchor="ctr">
                    <a:noFill/>
                  </a:tcPr>
                </a:tc>
                <a:tc>
                  <a:txBody>
                    <a:bodyPr/>
                    <a:lstStyle/>
                    <a:p>
                      <a:pPr algn="ctr">
                        <a:defRPr sz="600">
                          <a:latin typeface="Nexa Book"/>
                        </a:defRPr>
                      </a:pPr>
                      <a:r>
                        <a:rPr sz="600">
                          <a:latin typeface="Nexa Book"/>
                        </a:rPr>
                        <a:t>189%</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11.98</a:t>
                      </a:r>
                    </a:p>
                  </a:txBody>
                  <a:tcPr marL="2858" marR="2858" marT="2858" marB="0" anchor="ctr">
                    <a:noFill/>
                  </a:tcPr>
                </a:tc>
                <a:tc>
                  <a:txBody>
                    <a:bodyPr/>
                    <a:lstStyle/>
                    <a:p>
                      <a:pPr algn="ctr">
                        <a:defRPr sz="600">
                          <a:latin typeface="Nexa Book"/>
                        </a:defRPr>
                      </a:pPr>
                      <a:r>
                        <a:rPr sz="600">
                          <a:latin typeface="Nexa Book"/>
                        </a:rPr>
                        <a:t> 10.35</a:t>
                      </a:r>
                    </a:p>
                  </a:txBody>
                  <a:tcPr marL="2858" marR="2858" marT="2858" marB="0" anchor="ctr">
                    <a:noFill/>
                  </a:tcPr>
                </a:tc>
                <a:tc>
                  <a:txBody>
                    <a:bodyPr/>
                    <a:lstStyle/>
                    <a:p>
                      <a:pPr algn="ctr">
                        <a:defRPr sz="600">
                          <a:latin typeface="Nexa Book"/>
                        </a:defRPr>
                      </a:pPr>
                      <a:r>
                        <a:rPr sz="600">
                          <a:latin typeface="Nexa Book"/>
                        </a:rPr>
                        <a:t>28'652</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11572</a:t>
                      </a:r>
                    </a:p>
                  </a:txBody>
                  <a:tcPr marL="2858" marR="2858" marT="2858" marB="0" anchor="ctr">
                    <a:noFill/>
                  </a:tcPr>
                </a:tc>
                <a:tc>
                  <a:txBody>
                    <a:bodyPr/>
                    <a:lstStyle/>
                    <a:p>
                      <a:pPr algn="ctr">
                        <a:defRPr sz="600">
                          <a:latin typeface="Nexa Book"/>
                        </a:defRPr>
                      </a:pPr>
                      <a:r>
                        <a:rPr sz="600">
                          <a:latin typeface="Nexa Book"/>
                        </a:rPr>
                        <a:t>260%</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Savian</a:t>
                      </a:r>
                    </a:p>
                  </a:txBody>
                  <a:tcPr marL="2858" marR="2858" marT="2858" marB="0" anchor="ctr">
                    <a:noFill/>
                  </a:tcPr>
                </a:tc>
                <a:tc>
                  <a:txBody>
                    <a:bodyPr/>
                    <a:lstStyle/>
                    <a:p>
                      <a:pPr algn="l">
                        <a:defRPr sz="600">
                          <a:latin typeface="Nexa Book"/>
                        </a:defRPr>
                      </a:pPr>
                      <a:r>
                        <a:rPr sz="600">
                          <a:latin typeface="Nexa Book"/>
                        </a:rPr>
                        <a:t>PROSECCO SAVIAN EXTRA DRY ITA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9.59</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22'408</a:t>
                      </a:r>
                    </a:p>
                  </a:txBody>
                  <a:tcPr marL="2858" marR="2858" marT="2858" marB="0" anchor="ctr">
                    <a:noFill/>
                  </a:tcPr>
                </a:tc>
                <a:tc>
                  <a:txBody>
                    <a:bodyPr/>
                    <a:lstStyle/>
                    <a:p>
                      <a:pPr algn="ctr">
                        <a:defRPr sz="600">
                          <a:latin typeface="Nexa Book"/>
                        </a:defRPr>
                      </a:pPr>
                      <a:r>
                        <a:rPr sz="600">
                          <a:latin typeface="Nexa Book"/>
                        </a:rPr>
                        <a:t>88%</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11251</a:t>
                      </a:r>
                    </a:p>
                  </a:txBody>
                  <a:tcPr marL="2858" marR="2858" marT="2858" marB="0" anchor="ctr">
                    <a:noFill/>
                  </a:tcPr>
                </a:tc>
                <a:tc>
                  <a:txBody>
                    <a:bodyPr/>
                    <a:lstStyle/>
                    <a:p>
                      <a:pPr algn="ctr">
                        <a:defRPr sz="600">
                          <a:latin typeface="Nexa Book"/>
                        </a:defRPr>
                      </a:pPr>
                      <a:r>
                        <a:rPr sz="600">
                          <a:latin typeface="Nexa Book"/>
                        </a:rPr>
                        <a:t>251%</a:t>
                      </a:r>
                    </a:p>
                  </a:txBody>
                  <a:tcPr marL="2858" marR="2858" marT="2858" marB="0" anchor="ctr">
                    <a:noFill/>
                  </a:tcPr>
                </a:tc>
                <a:tc>
                  <a:txBody>
                    <a:bodyPr/>
                    <a:lstStyle/>
                    <a:p>
                      <a:pPr algn="ctr">
                        <a:defRPr sz="600">
                          <a:latin typeface="Nexa Book"/>
                        </a:defRPr>
                      </a:pPr>
                      <a:r>
                        <a:rPr sz="600">
                          <a:latin typeface="Nexa Book"/>
                        </a:rPr>
                        <a:t>5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 ROS AC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14.29</a:t>
                      </a:r>
                    </a:p>
                  </a:txBody>
                  <a:tcPr marL="2858" marR="2858" marT="2858" marB="0" anchor="ctr">
                    <a:noFill/>
                  </a:tcPr>
                </a:tc>
                <a:tc>
                  <a:txBody>
                    <a:bodyPr/>
                    <a:lstStyle/>
                    <a:p>
                      <a:pPr algn="ctr">
                        <a:defRPr sz="600">
                          <a:latin typeface="Nexa Book"/>
                        </a:defRPr>
                      </a:pPr>
                      <a:r>
                        <a:rPr sz="600">
                          <a:latin typeface="Nexa Book"/>
                        </a:rPr>
                        <a:t> 11.04</a:t>
                      </a:r>
                    </a:p>
                  </a:txBody>
                  <a:tcPr marL="2858" marR="2858" marT="2858" marB="0" anchor="ctr">
                    <a:noFill/>
                  </a:tcPr>
                </a:tc>
                <a:tc>
                  <a:txBody>
                    <a:bodyPr/>
                    <a:lstStyle/>
                    <a:p>
                      <a:pPr algn="ctr">
                        <a:defRPr sz="600">
                          <a:latin typeface="Nexa Book"/>
                        </a:defRPr>
                      </a:pPr>
                      <a:r>
                        <a:rPr sz="600">
                          <a:latin typeface="Nexa Book"/>
                        </a:rPr>
                        <a:t>12'535</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229%</a:t>
                      </a:r>
                    </a:p>
                  </a:txBody>
                  <a:tcPr marL="2858" marR="2858" marT="2858" marB="0" anchor="ctr">
                    <a:noFill/>
                  </a:tcPr>
                </a:tc>
                <a:tc>
                  <a:txBody>
                    <a:bodyPr/>
                    <a:lstStyle/>
                    <a:p>
                      <a:pPr algn="ctr">
                        <a:defRPr sz="600">
                          <a:latin typeface="Nexa Book"/>
                        </a:defRPr>
                      </a:pPr>
                      <a:r>
                        <a:rPr sz="600">
                          <a:latin typeface="Nexa Book"/>
                        </a:rPr>
                        <a:t>8100</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Bottega</a:t>
                      </a:r>
                    </a:p>
                  </a:txBody>
                  <a:tcPr marL="2858" marR="2858" marT="2858" marB="0" anchor="ctr">
                    <a:noFill/>
                  </a:tcPr>
                </a:tc>
                <a:tc>
                  <a:txBody>
                    <a:bodyPr/>
                    <a:lstStyle/>
                    <a:p>
                      <a:pPr algn="l">
                        <a:defRPr sz="600">
                          <a:latin typeface="Nexa Book"/>
                        </a:defRPr>
                      </a:pPr>
                      <a:r>
                        <a:rPr sz="600">
                          <a:latin typeface="Nexa Book"/>
                        </a:rPr>
                        <a:t>PROSECCO VINO DEI POETI ITA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81</a:t>
                      </a:r>
                    </a:p>
                  </a:txBody>
                  <a:tcPr marL="2858" marR="2858" marT="2858" marB="0" anchor="ctr">
                    <a:noFill/>
                  </a:tcPr>
                </a:tc>
                <a:tc>
                  <a:txBody>
                    <a:bodyPr/>
                    <a:lstStyle/>
                    <a:p>
                      <a:pPr algn="ctr">
                        <a:defRPr sz="600">
                          <a:latin typeface="Nexa Book"/>
                        </a:defRPr>
                      </a:pPr>
                      <a:r>
                        <a:rPr sz="600">
                          <a:latin typeface="Nexa Book"/>
                        </a:rPr>
                        <a:t>23'36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8092</a:t>
                      </a:r>
                    </a:p>
                  </a:txBody>
                  <a:tcPr marL="2858" marR="2858" marT="2858" marB="0" anchor="ctr">
                    <a:noFill/>
                  </a:tcPr>
                </a:tc>
                <a:tc>
                  <a:txBody>
                    <a:bodyPr/>
                    <a:lstStyle/>
                    <a:p>
                      <a:pPr algn="ctr">
                        <a:defRPr sz="600">
                          <a:latin typeface="Nexa Book"/>
                        </a:defRPr>
                      </a:pPr>
                      <a:r>
                        <a:rPr sz="600">
                          <a:latin typeface="Nexa Book"/>
                        </a:rPr>
                        <a:t>31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70287254"/>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ruts | NICOLA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65"/>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90665">
                <a:tc>
                  <a:txBody>
                    <a:bodyPr/>
                    <a:lstStyle/>
                    <a:p>
                      <a:pPr algn="l">
                        <a:defRPr sz="600">
                          <a:latin typeface="Nexa Book"/>
                        </a:defRPr>
                      </a:pPr>
                      <a:r>
                        <a:rPr sz="600">
                          <a:latin typeface="Nexa Book"/>
                        </a:rPr>
                        <a:t>Heidsieck &amp; Co Monopole</a:t>
                      </a:r>
                    </a:p>
                  </a:txBody>
                  <a:tcPr marL="2858" marR="2858" marT="2858" marB="0" anchor="ctr">
                    <a:noFill/>
                  </a:tcPr>
                </a:tc>
                <a:tc>
                  <a:txBody>
                    <a:bodyPr/>
                    <a:lstStyle/>
                    <a:p>
                      <a:pPr algn="l">
                        <a:defRPr sz="600">
                          <a:latin typeface="Nexa Book"/>
                        </a:defRPr>
                      </a:pPr>
                      <a:r>
                        <a:rPr sz="600">
                          <a:latin typeface="Nexa Book"/>
                        </a:rPr>
                        <a:t>HEIDSIECK MONOPOLE SILVER TOP 1CT X 750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 38.17</a:t>
                      </a:r>
                    </a:p>
                  </a:txBody>
                  <a:tcPr marL="2858" marR="2858" marT="2858" marB="0" anchor="ctr">
                    <a:noFill/>
                  </a:tcPr>
                </a:tc>
                <a:tc>
                  <a:txBody>
                    <a:bodyPr/>
                    <a:lstStyle/>
                    <a:p>
                      <a:pPr algn="ctr">
                        <a:defRPr sz="600">
                          <a:latin typeface="Nexa Book"/>
                        </a:defRPr>
                      </a:pPr>
                      <a:r>
                        <a:rPr sz="600">
                          <a:latin typeface="Nexa Book"/>
                        </a:rPr>
                        <a:t> 28.76</a:t>
                      </a:r>
                    </a:p>
                  </a:txBody>
                  <a:tcPr marL="2858" marR="2858" marT="2858" marB="0" anchor="ctr">
                    <a:noFill/>
                  </a:tcPr>
                </a:tc>
                <a:tc>
                  <a:txBody>
                    <a:bodyPr/>
                    <a:lstStyle/>
                    <a:p>
                      <a:pPr algn="ctr">
                        <a:defRPr sz="600">
                          <a:latin typeface="Nexa Book"/>
                        </a:defRPr>
                      </a:pPr>
                      <a:r>
                        <a:rPr sz="600">
                          <a:latin typeface="Nexa Book"/>
                        </a:rPr>
                        <a:t>1'870'931</a:t>
                      </a:r>
                    </a:p>
                  </a:txBody>
                  <a:tcPr marL="2858" marR="2858" marT="2858" marB="0" anchor="ctr">
                    <a:noFill/>
                  </a:tcPr>
                </a:tc>
                <a:tc>
                  <a:txBody>
                    <a:bodyPr/>
                    <a:lstStyle/>
                    <a:p>
                      <a:pPr algn="ctr">
                        <a:defRPr sz="600">
                          <a:latin typeface="Nexa Book"/>
                        </a:defRPr>
                      </a:pPr>
                      <a:r>
                        <a:rPr sz="600">
                          <a:latin typeface="Nexa Book"/>
                        </a:rPr>
                        <a:t>506%</a:t>
                      </a:r>
                    </a:p>
                  </a:txBody>
                  <a:tcPr marL="2858" marR="2858" marT="2858" marB="0" anchor="ctr">
                    <a:noFill/>
                  </a:tcPr>
                </a:tc>
                <a:tc>
                  <a:txBody>
                    <a:bodyPr/>
                    <a:lstStyle/>
                    <a:p>
                      <a:pPr algn="ctr">
                        <a:defRPr sz="600">
                          <a:latin typeface="Nexa Book"/>
                        </a:defRPr>
                      </a:pPr>
                      <a:r>
                        <a:rPr sz="600">
                          <a:latin typeface="Nexa Book"/>
                        </a:rPr>
                        <a:t>690%</a:t>
                      </a:r>
                    </a:p>
                  </a:txBody>
                  <a:tcPr marL="2858" marR="2858" marT="2858" marB="0" anchor="ctr">
                    <a:noFill/>
                  </a:tcPr>
                </a:tc>
                <a:tc>
                  <a:txBody>
                    <a:bodyPr/>
                    <a:lstStyle/>
                    <a:p>
                      <a:pPr algn="ctr">
                        <a:defRPr sz="600">
                          <a:latin typeface="Nexa Book"/>
                        </a:defRPr>
                      </a:pPr>
                      <a:r>
                        <a:rPr sz="600">
                          <a:latin typeface="Nexa Book"/>
                        </a:rPr>
                        <a:t>1653842</a:t>
                      </a:r>
                    </a:p>
                  </a:txBody>
                  <a:tcPr marL="2858" marR="2858" marT="2858" marB="0" anchor="ctr">
                    <a:noFill/>
                  </a:tcPr>
                </a:tc>
                <a:tc>
                  <a:txBody>
                    <a:bodyPr/>
                    <a:lstStyle/>
                    <a:p>
                      <a:pPr algn="ctr">
                        <a:defRPr sz="600">
                          <a:latin typeface="Nexa Book"/>
                        </a:defRPr>
                      </a:pPr>
                      <a:r>
                        <a:rPr sz="600">
                          <a:latin typeface="Nexa Book"/>
                        </a:rPr>
                        <a:t>262%</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61.35</a:t>
                      </a:r>
                    </a:p>
                  </a:txBody>
                  <a:tcPr marL="2858" marR="2858" marT="2858" marB="0" anchor="ctr">
                    <a:noFill/>
                  </a:tcPr>
                </a:tc>
                <a:tc>
                  <a:txBody>
                    <a:bodyPr/>
                    <a:lstStyle/>
                    <a:p>
                      <a:pPr algn="ctr">
                        <a:defRPr sz="600">
                          <a:latin typeface="Nexa Book"/>
                        </a:defRPr>
                      </a:pPr>
                      <a:r>
                        <a:rPr sz="600">
                          <a:latin typeface="Nexa Book"/>
                        </a:rPr>
                        <a:t> 55.22</a:t>
                      </a:r>
                    </a:p>
                  </a:txBody>
                  <a:tcPr marL="2858" marR="2858" marT="2858" marB="0" anchor="ctr">
                    <a:noFill/>
                  </a:tcPr>
                </a:tc>
                <a:tc>
                  <a:txBody>
                    <a:bodyPr/>
                    <a:lstStyle/>
                    <a:p>
                      <a:pPr algn="ctr">
                        <a:defRPr sz="600">
                          <a:latin typeface="Nexa Book"/>
                        </a:defRPr>
                      </a:pPr>
                      <a:r>
                        <a:rPr sz="600">
                          <a:latin typeface="Nexa Book"/>
                        </a:rPr>
                        <a:t>2'445'14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1013949</a:t>
                      </a:r>
                    </a:p>
                  </a:txBody>
                  <a:tcPr marL="2858" marR="2858" marT="2858" marB="0" anchor="ctr">
                    <a:noFill/>
                  </a:tcPr>
                </a:tc>
                <a:tc>
                  <a:txBody>
                    <a:bodyPr/>
                    <a:lstStyle/>
                    <a:p>
                      <a:pPr algn="ctr">
                        <a:defRPr sz="600">
                          <a:latin typeface="Nexa Book"/>
                        </a:defRPr>
                      </a:pPr>
                      <a:r>
                        <a:rPr sz="600">
                          <a:latin typeface="Nexa Book"/>
                        </a:rPr>
                        <a:t>383%</a:t>
                      </a:r>
                    </a:p>
                  </a:txBody>
                  <a:tcPr marL="2858" marR="2858" marT="2858" marB="0" anchor="ctr">
                    <a:noFill/>
                  </a:tcPr>
                </a:tc>
                <a:tc>
                  <a:txBody>
                    <a:bodyPr/>
                    <a:lstStyle/>
                    <a:p>
                      <a:pPr algn="ctr">
                        <a:defRPr sz="600">
                          <a:latin typeface="Nexa Book"/>
                        </a:defRPr>
                      </a:pPr>
                      <a:r>
                        <a:rPr sz="600">
                          <a:latin typeface="Nexa Book"/>
                        </a:rPr>
                        <a:t>3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90665">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 49.96</a:t>
                      </a:r>
                    </a:p>
                  </a:txBody>
                  <a:tcPr marL="2858" marR="2858" marT="2858" marB="0" anchor="ctr">
                    <a:noFill/>
                  </a:tcPr>
                </a:tc>
                <a:tc>
                  <a:txBody>
                    <a:bodyPr/>
                    <a:lstStyle/>
                    <a:p>
                      <a:pPr algn="ctr">
                        <a:defRPr sz="600">
                          <a:latin typeface="Nexa Book"/>
                        </a:defRPr>
                      </a:pPr>
                      <a:r>
                        <a:rPr sz="600">
                          <a:latin typeface="Nexa Book"/>
                        </a:rPr>
                        <a:t> 44.88</a:t>
                      </a:r>
                    </a:p>
                  </a:txBody>
                  <a:tcPr marL="2858" marR="2858" marT="2858" marB="0" anchor="ctr">
                    <a:noFill/>
                  </a:tcPr>
                </a:tc>
                <a:tc>
                  <a:txBody>
                    <a:bodyPr/>
                    <a:lstStyle/>
                    <a:p>
                      <a:pPr algn="ctr">
                        <a:defRPr sz="600">
                          <a:latin typeface="Nexa Book"/>
                        </a:defRPr>
                      </a:pPr>
                      <a:r>
                        <a:rPr sz="600">
                          <a:latin typeface="Nexa Book"/>
                        </a:rPr>
                        <a:t>602'219</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946243</a:t>
                      </a:r>
                    </a:p>
                  </a:txBody>
                  <a:tcPr marL="2858" marR="2858" marT="2858" marB="0" anchor="ctr">
                    <a:noFill/>
                  </a:tcPr>
                </a:tc>
                <a:tc>
                  <a:txBody>
                    <a:bodyPr/>
                    <a:lstStyle/>
                    <a:p>
                      <a:pPr algn="ctr">
                        <a:defRPr sz="600">
                          <a:latin typeface="Nexa Book"/>
                        </a:defRPr>
                      </a:pPr>
                      <a:r>
                        <a:rPr sz="600">
                          <a:latin typeface="Nexa Book"/>
                        </a:rPr>
                        <a:t>1383%</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90665">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6.14</a:t>
                      </a:r>
                    </a:p>
                  </a:txBody>
                  <a:tcPr marL="2858" marR="2858" marT="2858" marB="0" anchor="ctr">
                    <a:noFill/>
                  </a:tcPr>
                </a:tc>
                <a:tc>
                  <a:txBody>
                    <a:bodyPr/>
                    <a:lstStyle/>
                    <a:p>
                      <a:pPr algn="ctr">
                        <a:defRPr sz="600">
                          <a:latin typeface="Nexa Book"/>
                        </a:defRPr>
                      </a:pPr>
                      <a:r>
                        <a:rPr sz="600">
                          <a:latin typeface="Nexa Book"/>
                        </a:rPr>
                        <a:t> 28.09</a:t>
                      </a:r>
                    </a:p>
                  </a:txBody>
                  <a:tcPr marL="2858" marR="2858" marT="2858" marB="0" anchor="ctr">
                    <a:noFill/>
                  </a:tcPr>
                </a:tc>
                <a:tc>
                  <a:txBody>
                    <a:bodyPr/>
                    <a:lstStyle/>
                    <a:p>
                      <a:pPr algn="ctr">
                        <a:defRPr sz="600">
                          <a:latin typeface="Nexa Book"/>
                        </a:defRPr>
                      </a:pPr>
                      <a:r>
                        <a:rPr sz="600">
                          <a:latin typeface="Nexa Book"/>
                        </a:rPr>
                        <a:t>930'313</a:t>
                      </a:r>
                    </a:p>
                  </a:txBody>
                  <a:tcPr marL="2858" marR="2858" marT="2858" marB="0" anchor="ctr">
                    <a:noFill/>
                  </a:tcPr>
                </a:tc>
                <a:tc>
                  <a:txBody>
                    <a:bodyPr/>
                    <a:lstStyle/>
                    <a:p>
                      <a:pPr algn="ctr">
                        <a:defRPr sz="600">
                          <a:latin typeface="Nexa Book"/>
                        </a:defRPr>
                      </a:pPr>
                      <a:r>
                        <a:rPr sz="600">
                          <a:latin typeface="Nexa Book"/>
                        </a:rPr>
                        <a:t>452%</a:t>
                      </a:r>
                    </a:p>
                  </a:txBody>
                  <a:tcPr marL="2858" marR="2858" marT="2858" marB="0" anchor="ctr">
                    <a:noFill/>
                  </a:tcPr>
                </a:tc>
                <a:tc>
                  <a:txBody>
                    <a:bodyPr/>
                    <a:lstStyle/>
                    <a:p>
                      <a:pPr algn="ctr">
                        <a:defRPr sz="600">
                          <a:latin typeface="Nexa Book"/>
                        </a:defRPr>
                      </a:pPr>
                      <a:r>
                        <a:rPr sz="600">
                          <a:latin typeface="Nexa Book"/>
                        </a:rPr>
                        <a:t>580%</a:t>
                      </a:r>
                    </a:p>
                  </a:txBody>
                  <a:tcPr marL="2858" marR="2858" marT="2858" marB="0" anchor="ctr">
                    <a:noFill/>
                  </a:tcPr>
                </a:tc>
                <a:tc>
                  <a:txBody>
                    <a:bodyPr/>
                    <a:lstStyle/>
                    <a:p>
                      <a:pPr algn="ctr">
                        <a:defRPr sz="600">
                          <a:latin typeface="Nexa Book"/>
                        </a:defRPr>
                      </a:pPr>
                      <a:r>
                        <a:rPr sz="600">
                          <a:latin typeface="Nexa Book"/>
                        </a:rPr>
                        <a:t>846381</a:t>
                      </a:r>
                    </a:p>
                  </a:txBody>
                  <a:tcPr marL="2858" marR="2858" marT="2858" marB="0" anchor="ctr">
                    <a:noFill/>
                  </a:tcPr>
                </a:tc>
                <a:tc>
                  <a:txBody>
                    <a:bodyPr/>
                    <a:lstStyle/>
                    <a:p>
                      <a:pPr algn="ctr">
                        <a:defRPr sz="600">
                          <a:latin typeface="Nexa Book"/>
                        </a:defRPr>
                      </a:pPr>
                      <a:r>
                        <a:rPr sz="600">
                          <a:latin typeface="Nexa Book"/>
                        </a:rPr>
                        <a:t>318%</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90665">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46.63</a:t>
                      </a:r>
                    </a:p>
                  </a:txBody>
                  <a:tcPr marL="2858" marR="2858" marT="2858" marB="0" anchor="ctr">
                    <a:noFill/>
                  </a:tcPr>
                </a:tc>
                <a:tc>
                  <a:txBody>
                    <a:bodyPr/>
                    <a:lstStyle/>
                    <a:p>
                      <a:pPr algn="ctr">
                        <a:defRPr sz="600">
                          <a:latin typeface="Nexa Book"/>
                        </a:defRPr>
                      </a:pPr>
                      <a:r>
                        <a:rPr sz="600">
                          <a:latin typeface="Nexa Book"/>
                        </a:rPr>
                        <a:t> 39.74</a:t>
                      </a:r>
                    </a:p>
                  </a:txBody>
                  <a:tcPr marL="2858" marR="2858" marT="2858" marB="0" anchor="ctr">
                    <a:noFill/>
                  </a:tcPr>
                </a:tc>
                <a:tc>
                  <a:txBody>
                    <a:bodyPr/>
                    <a:lstStyle/>
                    <a:p>
                      <a:pPr algn="ctr">
                        <a:defRPr sz="600">
                          <a:latin typeface="Nexa Book"/>
                        </a:defRPr>
                      </a:pPr>
                      <a:r>
                        <a:rPr sz="600">
                          <a:latin typeface="Nexa Book"/>
                        </a:rPr>
                        <a:t>988'990</a:t>
                      </a:r>
                    </a:p>
                  </a:txBody>
                  <a:tcPr marL="2858" marR="2858" marT="2858" marB="0" anchor="ctr">
                    <a:noFill/>
                  </a:tcPr>
                </a:tc>
                <a:tc>
                  <a:txBody>
                    <a:bodyPr/>
                    <a:lstStyle/>
                    <a:p>
                      <a:pPr algn="ctr">
                        <a:defRPr sz="600">
                          <a:latin typeface="Nexa Book"/>
                        </a:defRPr>
                      </a:pPr>
                      <a:r>
                        <a:rPr sz="600">
                          <a:latin typeface="Nexa Book"/>
                        </a:rPr>
                        <a:t>307%</a:t>
                      </a:r>
                    </a:p>
                  </a:txBody>
                  <a:tcPr marL="2858" marR="2858" marT="2858" marB="0" anchor="ctr">
                    <a:noFill/>
                  </a:tcPr>
                </a:tc>
                <a:tc>
                  <a:txBody>
                    <a:bodyPr/>
                    <a:lstStyle/>
                    <a:p>
                      <a:pPr algn="ctr">
                        <a:defRPr sz="600">
                          <a:latin typeface="Nexa Book"/>
                        </a:defRPr>
                      </a:pPr>
                      <a:r>
                        <a:rPr sz="600">
                          <a:latin typeface="Nexa Book"/>
                        </a:rPr>
                        <a:t>358%</a:t>
                      </a:r>
                    </a:p>
                  </a:txBody>
                  <a:tcPr marL="2858" marR="2858" marT="2858" marB="0" anchor="ctr">
                    <a:noFill/>
                  </a:tcPr>
                </a:tc>
                <a:tc>
                  <a:txBody>
                    <a:bodyPr/>
                    <a:lstStyle/>
                    <a:p>
                      <a:pPr algn="ctr">
                        <a:defRPr sz="600">
                          <a:latin typeface="Nexa Book"/>
                        </a:defRPr>
                      </a:pPr>
                      <a:r>
                        <a:rPr sz="600">
                          <a:latin typeface="Nexa Book"/>
                        </a:rPr>
                        <a:t>799528</a:t>
                      </a:r>
                    </a:p>
                  </a:txBody>
                  <a:tcPr marL="2858" marR="2858" marT="2858" marB="0" anchor="ctr">
                    <a:noFill/>
                  </a:tcPr>
                </a:tc>
                <a:tc>
                  <a:txBody>
                    <a:bodyPr/>
                    <a:lstStyle/>
                    <a:p>
                      <a:pPr algn="ctr">
                        <a:defRPr sz="600">
                          <a:latin typeface="Nexa Book"/>
                        </a:defRPr>
                      </a:pPr>
                      <a:r>
                        <a:rPr sz="600">
                          <a:latin typeface="Nexa Book"/>
                        </a:rPr>
                        <a:t>566%</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90665">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49.09</a:t>
                      </a:r>
                    </a:p>
                  </a:txBody>
                  <a:tcPr marL="2858" marR="2858" marT="2858" marB="0" anchor="ctr">
                    <a:noFill/>
                  </a:tcPr>
                </a:tc>
                <a:tc>
                  <a:txBody>
                    <a:bodyPr/>
                    <a:lstStyle/>
                    <a:p>
                      <a:pPr algn="ctr">
                        <a:defRPr sz="600">
                          <a:latin typeface="Nexa Book"/>
                        </a:defRPr>
                      </a:pPr>
                      <a:r>
                        <a:rPr sz="600">
                          <a:latin typeface="Nexa Book"/>
                        </a:rPr>
                        <a:t> 44.07</a:t>
                      </a:r>
                    </a:p>
                  </a:txBody>
                  <a:tcPr marL="2858" marR="2858" marT="2858" marB="0" anchor="ctr">
                    <a:noFill/>
                  </a:tcPr>
                </a:tc>
                <a:tc>
                  <a:txBody>
                    <a:bodyPr/>
                    <a:lstStyle/>
                    <a:p>
                      <a:pPr algn="ctr">
                        <a:defRPr sz="600">
                          <a:latin typeface="Nexa Book"/>
                        </a:defRPr>
                      </a:pPr>
                      <a:r>
                        <a:rPr sz="600">
                          <a:latin typeface="Nexa Book"/>
                        </a:rPr>
                        <a:t>836'417</a:t>
                      </a:r>
                    </a:p>
                  </a:txBody>
                  <a:tcPr marL="2858" marR="2858" marT="2858" marB="0" anchor="ctr">
                    <a:noFill/>
                  </a:tcPr>
                </a:tc>
                <a:tc>
                  <a:txBody>
                    <a:bodyPr/>
                    <a:lstStyle/>
                    <a:p>
                      <a:pPr algn="ctr">
                        <a:defRPr sz="600">
                          <a:latin typeface="Nexa Book"/>
                        </a:defRPr>
                      </a:pPr>
                      <a:r>
                        <a:rPr sz="600">
                          <a:latin typeface="Nexa Book"/>
                        </a:rPr>
                        <a:t>16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553990</a:t>
                      </a:r>
                    </a:p>
                  </a:txBody>
                  <a:tcPr marL="2858" marR="2858" marT="2858" marB="0" anchor="ctr">
                    <a:noFill/>
                  </a:tcPr>
                </a:tc>
                <a:tc>
                  <a:txBody>
                    <a:bodyPr/>
                    <a:lstStyle/>
                    <a:p>
                      <a:pPr algn="ctr">
                        <a:defRPr sz="600">
                          <a:latin typeface="Nexa Book"/>
                        </a:defRPr>
                      </a:pPr>
                      <a:r>
                        <a:rPr sz="600">
                          <a:latin typeface="Nexa Book"/>
                        </a:rPr>
                        <a:t>579%</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90665">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35.01</a:t>
                      </a:r>
                    </a:p>
                  </a:txBody>
                  <a:tcPr marL="2858" marR="2858" marT="2858" marB="0" anchor="ctr">
                    <a:noFill/>
                  </a:tcPr>
                </a:tc>
                <a:tc>
                  <a:txBody>
                    <a:bodyPr/>
                    <a:lstStyle/>
                    <a:p>
                      <a:pPr algn="ctr">
                        <a:defRPr sz="600">
                          <a:latin typeface="Nexa Book"/>
                        </a:defRPr>
                      </a:pPr>
                      <a:r>
                        <a:rPr sz="600">
                          <a:latin typeface="Nexa Book"/>
                        </a:rPr>
                        <a:t> 29.48</a:t>
                      </a:r>
                    </a:p>
                  </a:txBody>
                  <a:tcPr marL="2858" marR="2858" marT="2858" marB="0" anchor="ctr">
                    <a:noFill/>
                  </a:tcPr>
                </a:tc>
                <a:tc>
                  <a:txBody>
                    <a:bodyPr/>
                    <a:lstStyle/>
                    <a:p>
                      <a:pPr algn="ctr">
                        <a:defRPr sz="600">
                          <a:latin typeface="Nexa Book"/>
                        </a:defRPr>
                      </a:pPr>
                      <a:r>
                        <a:rPr sz="600">
                          <a:latin typeface="Nexa Book"/>
                        </a:rPr>
                        <a:t>902'069</a:t>
                      </a:r>
                    </a:p>
                  </a:txBody>
                  <a:tcPr marL="2858" marR="2858" marT="2858" marB="0" anchor="ctr">
                    <a:noFill/>
                  </a:tcPr>
                </a:tc>
                <a:tc>
                  <a:txBody>
                    <a:bodyPr/>
                    <a:lstStyle/>
                    <a:p>
                      <a:pPr algn="ctr">
                        <a:defRPr sz="600">
                          <a:latin typeface="Nexa Book"/>
                        </a:defRPr>
                      </a:pPr>
                      <a:r>
                        <a:rPr sz="600">
                          <a:latin typeface="Nexa Book"/>
                        </a:rPr>
                        <a:t>103%</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547628</a:t>
                      </a:r>
                    </a:p>
                  </a:txBody>
                  <a:tcPr marL="2858" marR="2858" marT="2858" marB="0" anchor="ctr">
                    <a:noFill/>
                  </a:tcPr>
                </a:tc>
                <a:tc>
                  <a:txBody>
                    <a:bodyPr/>
                    <a:lstStyle/>
                    <a:p>
                      <a:pPr algn="ctr">
                        <a:defRPr sz="600">
                          <a:latin typeface="Nexa Book"/>
                        </a:defRPr>
                      </a:pPr>
                      <a:r>
                        <a:rPr sz="600">
                          <a:latin typeface="Nexa Book"/>
                        </a:rPr>
                        <a:t>32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90665">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2%</a:t>
                      </a:r>
                    </a:p>
                  </a:txBody>
                  <a:tcPr marL="2858" marR="2858" marT="2858" marB="0" anchor="ctr">
                    <a:noFill/>
                  </a:tcPr>
                </a:tc>
                <a:tc>
                  <a:txBody>
                    <a:bodyPr/>
                    <a:lstStyle/>
                    <a:p>
                      <a:pPr algn="ctr">
                        <a:defRPr sz="600">
                          <a:latin typeface="Nexa Book"/>
                        </a:defRPr>
                      </a:pPr>
                      <a:r>
                        <a:rPr sz="600">
                          <a:latin typeface="Nexa Book"/>
                        </a:rPr>
                        <a:t> 39.73</a:t>
                      </a:r>
                    </a:p>
                  </a:txBody>
                  <a:tcPr marL="2858" marR="2858" marT="2858" marB="0" anchor="ctr">
                    <a:noFill/>
                  </a:tcPr>
                </a:tc>
                <a:tc>
                  <a:txBody>
                    <a:bodyPr/>
                    <a:lstStyle/>
                    <a:p>
                      <a:pPr algn="ctr">
                        <a:defRPr sz="600">
                          <a:latin typeface="Nexa Book"/>
                        </a:defRPr>
                      </a:pPr>
                      <a:r>
                        <a:rPr sz="600">
                          <a:latin typeface="Nexa Book"/>
                        </a:rPr>
                        <a:t> 34.97</a:t>
                      </a:r>
                    </a:p>
                  </a:txBody>
                  <a:tcPr marL="2858" marR="2858" marT="2858" marB="0" anchor="ctr">
                    <a:noFill/>
                  </a:tcPr>
                </a:tc>
                <a:tc>
                  <a:txBody>
                    <a:bodyPr/>
                    <a:lstStyle/>
                    <a:p>
                      <a:pPr algn="ctr">
                        <a:defRPr sz="600">
                          <a:latin typeface="Nexa Book"/>
                        </a:defRPr>
                      </a:pPr>
                      <a:r>
                        <a:rPr sz="600">
                          <a:latin typeface="Nexa Book"/>
                        </a:rPr>
                        <a:t>685'685</a:t>
                      </a:r>
                    </a:p>
                  </a:txBody>
                  <a:tcPr marL="2858" marR="2858" marT="2858" marB="0" anchor="ctr">
                    <a:noFill/>
                  </a:tcPr>
                </a:tc>
                <a:tc>
                  <a:txBody>
                    <a:bodyPr/>
                    <a:lstStyle/>
                    <a:p>
                      <a:pPr algn="ctr">
                        <a:defRPr sz="600">
                          <a:latin typeface="Nexa Book"/>
                        </a:defRPr>
                      </a:pPr>
                      <a:r>
                        <a:rPr sz="600">
                          <a:latin typeface="Nexa Book"/>
                        </a:rPr>
                        <a:t>215%</a:t>
                      </a:r>
                    </a:p>
                  </a:txBody>
                  <a:tcPr marL="2858" marR="2858" marT="2858" marB="0" anchor="ctr">
                    <a:noFill/>
                  </a:tcPr>
                </a:tc>
                <a:tc>
                  <a:txBody>
                    <a:bodyPr/>
                    <a:lstStyle/>
                    <a:p>
                      <a:pPr algn="ctr">
                        <a:defRPr sz="600">
                          <a:latin typeface="Nexa Book"/>
                        </a:defRPr>
                      </a:pPr>
                      <a:r>
                        <a:rPr sz="600">
                          <a:latin typeface="Nexa Book"/>
                        </a:rPr>
                        <a:t>249%</a:t>
                      </a:r>
                    </a:p>
                  </a:txBody>
                  <a:tcPr marL="2858" marR="2858" marT="2858" marB="0" anchor="ctr">
                    <a:noFill/>
                  </a:tcPr>
                </a:tc>
                <a:tc>
                  <a:txBody>
                    <a:bodyPr/>
                    <a:lstStyle/>
                    <a:p>
                      <a:pPr algn="ctr">
                        <a:defRPr sz="600">
                          <a:latin typeface="Nexa Book"/>
                        </a:defRPr>
                      </a:pPr>
                      <a:r>
                        <a:rPr sz="600">
                          <a:latin typeface="Nexa Book"/>
                        </a:rPr>
                        <a:t>507855</a:t>
                      </a:r>
                    </a:p>
                  </a:txBody>
                  <a:tcPr marL="2858" marR="2858" marT="2858" marB="0" anchor="ctr">
                    <a:noFill/>
                  </a:tcPr>
                </a:tc>
                <a:tc>
                  <a:txBody>
                    <a:bodyPr/>
                    <a:lstStyle/>
                    <a:p>
                      <a:pPr algn="ctr">
                        <a:defRPr sz="600">
                          <a:latin typeface="Nexa Book"/>
                        </a:defRPr>
                      </a:pPr>
                      <a:r>
                        <a:rPr sz="600">
                          <a:latin typeface="Nexa Book"/>
                        </a:rPr>
                        <a:t>567%</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90665">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1.50</a:t>
                      </a:r>
                    </a:p>
                  </a:txBody>
                  <a:tcPr marL="2858" marR="2858" marT="2858" marB="0" anchor="ctr">
                    <a:noFill/>
                  </a:tcPr>
                </a:tc>
                <a:tc>
                  <a:txBody>
                    <a:bodyPr/>
                    <a:lstStyle/>
                    <a:p>
                      <a:pPr algn="ctr">
                        <a:defRPr sz="600">
                          <a:latin typeface="Nexa Book"/>
                        </a:defRPr>
                      </a:pPr>
                      <a:r>
                        <a:rPr sz="600">
                          <a:latin typeface="Nexa Book"/>
                        </a:rPr>
                        <a:t> 55.18</a:t>
                      </a:r>
                    </a:p>
                  </a:txBody>
                  <a:tcPr marL="2858" marR="2858" marT="2858" marB="0" anchor="ctr">
                    <a:noFill/>
                  </a:tcPr>
                </a:tc>
                <a:tc>
                  <a:txBody>
                    <a:bodyPr/>
                    <a:lstStyle/>
                    <a:p>
                      <a:pPr algn="ctr">
                        <a:defRPr sz="600">
                          <a:latin typeface="Nexa Book"/>
                        </a:defRPr>
                      </a:pPr>
                      <a:r>
                        <a:rPr sz="600">
                          <a:latin typeface="Nexa Book"/>
                        </a:rPr>
                        <a:t>657'090</a:t>
                      </a:r>
                    </a:p>
                  </a:txBody>
                  <a:tcPr marL="2858" marR="2858" marT="2858" marB="0" anchor="ctr">
                    <a:noFill/>
                  </a:tcPr>
                </a:tc>
                <a:tc>
                  <a:txBody>
                    <a:bodyPr/>
                    <a:lstStyle/>
                    <a:p>
                      <a:pPr algn="ctr">
                        <a:defRPr sz="600">
                          <a:latin typeface="Nexa Book"/>
                        </a:defRPr>
                      </a:pPr>
                      <a:r>
                        <a:rPr sz="600">
                          <a:latin typeface="Nexa Book"/>
                        </a:rPr>
                        <a:t>148%</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425962</a:t>
                      </a:r>
                    </a:p>
                  </a:txBody>
                  <a:tcPr marL="2858" marR="2858" marT="2858" marB="0" anchor="ctr">
                    <a:noFill/>
                  </a:tcPr>
                </a:tc>
                <a:tc>
                  <a:txBody>
                    <a:bodyPr/>
                    <a:lstStyle/>
                    <a:p>
                      <a:pPr algn="ctr">
                        <a:defRPr sz="600">
                          <a:latin typeface="Nexa Book"/>
                        </a:defRPr>
                      </a:pPr>
                      <a:r>
                        <a:rPr sz="600">
                          <a:latin typeface="Nexa Book"/>
                        </a:rPr>
                        <a:t>58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90665">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40.89</a:t>
                      </a:r>
                    </a:p>
                  </a:txBody>
                  <a:tcPr marL="2858" marR="2858" marT="2858" marB="0" anchor="ctr">
                    <a:noFill/>
                  </a:tcPr>
                </a:tc>
                <a:tc>
                  <a:txBody>
                    <a:bodyPr/>
                    <a:lstStyle/>
                    <a:p>
                      <a:pPr algn="ctr">
                        <a:defRPr sz="600">
                          <a:latin typeface="Nexa Book"/>
                        </a:defRPr>
                      </a:pPr>
                      <a:r>
                        <a:rPr sz="600">
                          <a:latin typeface="Nexa Book"/>
                        </a:rPr>
                        <a:t> 36.66</a:t>
                      </a:r>
                    </a:p>
                  </a:txBody>
                  <a:tcPr marL="2858" marR="2858" marT="2858" marB="0" anchor="ctr">
                    <a:noFill/>
                  </a:tcPr>
                </a:tc>
                <a:tc>
                  <a:txBody>
                    <a:bodyPr/>
                    <a:lstStyle/>
                    <a:p>
                      <a:pPr algn="ctr">
                        <a:defRPr sz="600">
                          <a:latin typeface="Nexa Book"/>
                        </a:defRPr>
                      </a:pPr>
                      <a:r>
                        <a:rPr sz="600">
                          <a:latin typeface="Nexa Book"/>
                        </a:rPr>
                        <a:t>930'295</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88%</a:t>
                      </a:r>
                    </a:p>
                  </a:txBody>
                  <a:tcPr marL="2858" marR="2858" marT="2858" marB="0" anchor="ctr">
                    <a:noFill/>
                  </a:tcPr>
                </a:tc>
                <a:tc>
                  <a:txBody>
                    <a:bodyPr/>
                    <a:lstStyle/>
                    <a:p>
                      <a:pPr algn="ctr">
                        <a:defRPr sz="600">
                          <a:latin typeface="Nexa Book"/>
                        </a:defRPr>
                      </a:pPr>
                      <a:r>
                        <a:rPr sz="600">
                          <a:latin typeface="Nexa Book"/>
                        </a:rPr>
                        <a:t>416627</a:t>
                      </a:r>
                    </a:p>
                  </a:txBody>
                  <a:tcPr marL="2858" marR="2858" marT="2858" marB="0" anchor="ctr">
                    <a:noFill/>
                  </a:tcPr>
                </a:tc>
                <a:tc>
                  <a:txBody>
                    <a:bodyPr/>
                    <a:lstStyle/>
                    <a:p>
                      <a:pPr algn="ctr">
                        <a:defRPr sz="600">
                          <a:latin typeface="Nexa Book"/>
                        </a:defRPr>
                      </a:pPr>
                      <a:r>
                        <a:rPr sz="600">
                          <a:latin typeface="Nexa Book"/>
                        </a:rPr>
                        <a:t>390%</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 64.93</a:t>
                      </a:r>
                    </a:p>
                  </a:txBody>
                  <a:tcPr marL="2858" marR="2858" marT="2858" marB="0" anchor="ctr">
                    <a:noFill/>
                  </a:tcPr>
                </a:tc>
                <a:tc>
                  <a:txBody>
                    <a:bodyPr/>
                    <a:lstStyle/>
                    <a:p>
                      <a:pPr algn="ctr">
                        <a:defRPr sz="600">
                          <a:latin typeface="Nexa Book"/>
                        </a:defRPr>
                      </a:pPr>
                      <a:r>
                        <a:rPr sz="600">
                          <a:latin typeface="Nexa Book"/>
                        </a:rPr>
                        <a:t> 58.67</a:t>
                      </a:r>
                    </a:p>
                  </a:txBody>
                  <a:tcPr marL="2858" marR="2858" marT="2858" marB="0" anchor="ctr">
                    <a:noFill/>
                  </a:tcPr>
                </a:tc>
                <a:tc>
                  <a:txBody>
                    <a:bodyPr/>
                    <a:lstStyle/>
                    <a:p>
                      <a:pPr algn="ctr">
                        <a:defRPr sz="600">
                          <a:latin typeface="Nexa Book"/>
                        </a:defRPr>
                      </a:pPr>
                      <a:r>
                        <a:rPr sz="600">
                          <a:latin typeface="Nexa Book"/>
                        </a:rPr>
                        <a:t>715'655</a:t>
                      </a:r>
                    </a:p>
                  </a:txBody>
                  <a:tcPr marL="2858" marR="2858" marT="2858" marB="0" anchor="ctr">
                    <a:noFill/>
                  </a:tcPr>
                </a:tc>
                <a:tc>
                  <a:txBody>
                    <a:bodyPr/>
                    <a:lstStyle/>
                    <a:p>
                      <a:pPr algn="ctr">
                        <a:defRPr sz="600">
                          <a:latin typeface="Nexa Book"/>
                        </a:defRPr>
                      </a:pPr>
                      <a:r>
                        <a:rPr sz="600">
                          <a:latin typeface="Nexa Book"/>
                        </a:rPr>
                        <a:t>106%</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404298</a:t>
                      </a:r>
                    </a:p>
                  </a:txBody>
                  <a:tcPr marL="2858" marR="2858" marT="2858" marB="0" anchor="ctr">
                    <a:noFill/>
                  </a:tcPr>
                </a:tc>
                <a:tc>
                  <a:txBody>
                    <a:bodyPr/>
                    <a:lstStyle/>
                    <a:p>
                      <a:pPr algn="ctr">
                        <a:defRPr sz="600">
                          <a:latin typeface="Nexa Book"/>
                        </a:defRPr>
                      </a:pPr>
                      <a:r>
                        <a:rPr sz="600">
                          <a:latin typeface="Nexa Book"/>
                        </a:rPr>
                        <a:t>526%</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90665">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39.68</a:t>
                      </a:r>
                    </a:p>
                  </a:txBody>
                  <a:tcPr marL="2858" marR="2858" marT="2858" marB="0" anchor="ctr">
                    <a:noFill/>
                  </a:tcPr>
                </a:tc>
                <a:tc>
                  <a:txBody>
                    <a:bodyPr/>
                    <a:lstStyle/>
                    <a:p>
                      <a:pPr algn="ctr">
                        <a:defRPr sz="600">
                          <a:latin typeface="Nexa Book"/>
                        </a:defRPr>
                      </a:pPr>
                      <a:r>
                        <a:rPr sz="600">
                          <a:latin typeface="Nexa Book"/>
                        </a:rPr>
                        <a:t> 35.56</a:t>
                      </a:r>
                    </a:p>
                  </a:txBody>
                  <a:tcPr marL="2858" marR="2858" marT="2858" marB="0" anchor="ctr">
                    <a:noFill/>
                  </a:tcPr>
                </a:tc>
                <a:tc>
                  <a:txBody>
                    <a:bodyPr/>
                    <a:lstStyle/>
                    <a:p>
                      <a:pPr algn="ctr">
                        <a:defRPr sz="600">
                          <a:latin typeface="Nexa Book"/>
                        </a:defRPr>
                      </a:pPr>
                      <a:r>
                        <a:rPr sz="600">
                          <a:latin typeface="Nexa Book"/>
                        </a:rPr>
                        <a:t>543'399</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r>
                        <a:rPr sz="600">
                          <a:latin typeface="Nexa Book"/>
                        </a:rPr>
                        <a:t>191%</a:t>
                      </a:r>
                    </a:p>
                  </a:txBody>
                  <a:tcPr marL="2858" marR="2858" marT="2858" marB="0" anchor="ctr">
                    <a:noFill/>
                  </a:tcPr>
                </a:tc>
                <a:tc>
                  <a:txBody>
                    <a:bodyPr/>
                    <a:lstStyle/>
                    <a:p>
                      <a:pPr algn="ctr">
                        <a:defRPr sz="600">
                          <a:latin typeface="Nexa Book"/>
                        </a:defRPr>
                      </a:pPr>
                      <a:r>
                        <a:rPr sz="600">
                          <a:latin typeface="Nexa Book"/>
                        </a:rPr>
                        <a:t>362673</a:t>
                      </a:r>
                    </a:p>
                  </a:txBody>
                  <a:tcPr marL="2858" marR="2858" marT="2858" marB="0" anchor="ctr">
                    <a:noFill/>
                  </a:tcPr>
                </a:tc>
                <a:tc>
                  <a:txBody>
                    <a:bodyPr/>
                    <a:lstStyle/>
                    <a:p>
                      <a:pPr algn="ctr">
                        <a:defRPr sz="600">
                          <a:latin typeface="Nexa Book"/>
                        </a:defRPr>
                      </a:pPr>
                      <a:r>
                        <a:rPr sz="600">
                          <a:latin typeface="Nexa Book"/>
                        </a:rPr>
                        <a:t>606%</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90665">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47.09</a:t>
                      </a:r>
                    </a:p>
                  </a:txBody>
                  <a:tcPr marL="2858" marR="2858" marT="2858" marB="0" anchor="ctr">
                    <a:noFill/>
                  </a:tcPr>
                </a:tc>
                <a:tc>
                  <a:txBody>
                    <a:bodyPr/>
                    <a:lstStyle/>
                    <a:p>
                      <a:pPr algn="ctr">
                        <a:defRPr sz="600">
                          <a:latin typeface="Nexa Book"/>
                        </a:defRPr>
                      </a:pPr>
                      <a:r>
                        <a:rPr sz="600">
                          <a:latin typeface="Nexa Book"/>
                        </a:rPr>
                        <a:t> 40.46</a:t>
                      </a:r>
                    </a:p>
                  </a:txBody>
                  <a:tcPr marL="2858" marR="2858" marT="2858" marB="0" anchor="ctr">
                    <a:noFill/>
                  </a:tcPr>
                </a:tc>
                <a:tc>
                  <a:txBody>
                    <a:bodyPr/>
                    <a:lstStyle/>
                    <a:p>
                      <a:pPr algn="ctr">
                        <a:defRPr sz="600">
                          <a:latin typeface="Nexa Book"/>
                        </a:defRPr>
                      </a:pPr>
                      <a:r>
                        <a:rPr sz="600">
                          <a:latin typeface="Nexa Book"/>
                        </a:rPr>
                        <a:t>420'002</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276%</a:t>
                      </a:r>
                    </a:p>
                  </a:txBody>
                  <a:tcPr marL="2858" marR="2858" marT="2858" marB="0" anchor="ctr">
                    <a:noFill/>
                  </a:tcPr>
                </a:tc>
                <a:tc>
                  <a:txBody>
                    <a:bodyPr/>
                    <a:lstStyle/>
                    <a:p>
                      <a:pPr algn="ctr">
                        <a:defRPr sz="600">
                          <a:latin typeface="Nexa Book"/>
                        </a:defRPr>
                      </a:pPr>
                      <a:r>
                        <a:rPr sz="600">
                          <a:latin typeface="Nexa Book"/>
                        </a:rPr>
                        <a:t>321814</a:t>
                      </a:r>
                    </a:p>
                  </a:txBody>
                  <a:tcPr marL="2858" marR="2858" marT="2858" marB="0" anchor="ctr">
                    <a:noFill/>
                  </a:tcPr>
                </a:tc>
                <a:tc>
                  <a:txBody>
                    <a:bodyPr/>
                    <a:lstStyle/>
                    <a:p>
                      <a:pPr algn="ctr">
                        <a:defRPr sz="600">
                          <a:latin typeface="Nexa Book"/>
                        </a:defRPr>
                      </a:pPr>
                      <a:r>
                        <a:rPr sz="600">
                          <a:latin typeface="Nexa Book"/>
                        </a:rPr>
                        <a:t>470%</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90665">
                <a:tc>
                  <a:txBody>
                    <a:bodyPr/>
                    <a:lstStyle/>
                    <a:p>
                      <a:pPr algn="l">
                        <a:defRPr sz="600">
                          <a:latin typeface="Nexa Book"/>
                        </a:defRPr>
                      </a:pPr>
                      <a:r>
                        <a:rPr sz="600">
                          <a:latin typeface="Nexa Book"/>
                        </a:rPr>
                        <a:t>Campari: All Others</a:t>
                      </a:r>
                    </a:p>
                  </a:txBody>
                  <a:tcPr marL="2858" marR="2858" marT="2858" marB="0" anchor="ctr">
                    <a:noFill/>
                  </a:tcPr>
                </a:tc>
                <a:tc>
                  <a:txBody>
                    <a:bodyPr/>
                    <a:lstStyle/>
                    <a:p>
                      <a:pPr algn="l">
                        <a:defRPr sz="600">
                          <a:latin typeface="Nexa Book"/>
                        </a:defRPr>
                      </a:pPr>
                      <a:r>
                        <a:rPr sz="600">
                          <a:latin typeface="Nexa Book"/>
                        </a:rPr>
                        <a:t>CHAMPAGNE LALLIER SERIE R.021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 39.91</a:t>
                      </a:r>
                    </a:p>
                  </a:txBody>
                  <a:tcPr marL="2858" marR="2858" marT="2858" marB="0" anchor="ctr">
                    <a:noFill/>
                  </a:tcPr>
                </a:tc>
                <a:tc>
                  <a:txBody>
                    <a:bodyPr/>
                    <a:lstStyle/>
                    <a:p>
                      <a:pPr algn="ctr">
                        <a:defRPr sz="600">
                          <a:latin typeface="Nexa Book"/>
                        </a:defRPr>
                      </a:pPr>
                      <a:r>
                        <a:rPr sz="600">
                          <a:latin typeface="Nexa Book"/>
                        </a:rPr>
                        <a:t> 35.94</a:t>
                      </a:r>
                    </a:p>
                  </a:txBody>
                  <a:tcPr marL="2858" marR="2858" marT="2858" marB="0" anchor="ctr">
                    <a:noFill/>
                  </a:tcPr>
                </a:tc>
                <a:tc>
                  <a:txBody>
                    <a:bodyPr/>
                    <a:lstStyle/>
                    <a:p>
                      <a:pPr algn="ctr">
                        <a:defRPr sz="600">
                          <a:latin typeface="Nexa Book"/>
                        </a:defRPr>
                      </a:pPr>
                      <a:r>
                        <a:rPr sz="600">
                          <a:latin typeface="Nexa Book"/>
                        </a:rPr>
                        <a:t>320'201</a:t>
                      </a:r>
                    </a:p>
                  </a:txBody>
                  <a:tcPr marL="2858" marR="2858" marT="2858" marB="0" anchor="ctr">
                    <a:noFill/>
                  </a:tcPr>
                </a:tc>
                <a:tc>
                  <a:txBody>
                    <a:bodyPr/>
                    <a:lstStyle/>
                    <a:p>
                      <a:pPr algn="ctr">
                        <a:defRPr sz="600">
                          <a:latin typeface="Nexa Book"/>
                        </a:defRPr>
                      </a:pPr>
                      <a:r>
                        <a:rPr sz="600">
                          <a:latin typeface="Nexa Book"/>
                        </a:rPr>
                        <a:t>397%</a:t>
                      </a:r>
                    </a:p>
                  </a:txBody>
                  <a:tcPr marL="2858" marR="2858" marT="2858" marB="0" anchor="ctr">
                    <a:noFill/>
                  </a:tcPr>
                </a:tc>
                <a:tc>
                  <a:txBody>
                    <a:bodyPr/>
                    <a:lstStyle/>
                    <a:p>
                      <a:pPr algn="ctr">
                        <a:defRPr sz="600">
                          <a:latin typeface="Nexa Book"/>
                        </a:defRPr>
                      </a:pPr>
                      <a:r>
                        <a:rPr sz="600">
                          <a:latin typeface="Nexa Book"/>
                        </a:rPr>
                        <a:t>440%</a:t>
                      </a:r>
                    </a:p>
                  </a:txBody>
                  <a:tcPr marL="2858" marR="2858" marT="2858" marB="0" anchor="ctr">
                    <a:noFill/>
                  </a:tcPr>
                </a:tc>
                <a:tc>
                  <a:txBody>
                    <a:bodyPr/>
                    <a:lstStyle/>
                    <a:p>
                      <a:pPr algn="ctr">
                        <a:defRPr sz="600">
                          <a:latin typeface="Nexa Book"/>
                        </a:defRPr>
                      </a:pPr>
                      <a:r>
                        <a:rPr sz="600">
                          <a:latin typeface="Nexa Book"/>
                        </a:rPr>
                        <a:t>265425</a:t>
                      </a:r>
                    </a:p>
                  </a:txBody>
                  <a:tcPr marL="2858" marR="2858" marT="2858" marB="0" anchor="ctr">
                    <a:noFill/>
                  </a:tcPr>
                </a:tc>
                <a:tc>
                  <a:txBody>
                    <a:bodyPr/>
                    <a:lstStyle/>
                    <a:p>
                      <a:pPr algn="ctr">
                        <a:defRPr sz="600">
                          <a:latin typeface="Nexa Book"/>
                        </a:defRPr>
                      </a:pPr>
                      <a:r>
                        <a:rPr sz="600">
                          <a:latin typeface="Nexa Book"/>
                        </a:rPr>
                        <a:t>85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90665">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55.53</a:t>
                      </a:r>
                    </a:p>
                  </a:txBody>
                  <a:tcPr marL="2858" marR="2858" marT="2858" marB="0" anchor="ctr">
                    <a:noFill/>
                  </a:tcPr>
                </a:tc>
                <a:tc>
                  <a:txBody>
                    <a:bodyPr/>
                    <a:lstStyle/>
                    <a:p>
                      <a:pPr algn="ctr">
                        <a:defRPr sz="600">
                          <a:latin typeface="Nexa Book"/>
                        </a:defRPr>
                      </a:pPr>
                      <a:r>
                        <a:rPr sz="600">
                          <a:latin typeface="Nexa Book"/>
                        </a:rPr>
                        <a:t> 49.11</a:t>
                      </a:r>
                    </a:p>
                  </a:txBody>
                  <a:tcPr marL="2858" marR="2858" marT="2858" marB="0" anchor="ctr">
                    <a:noFill/>
                  </a:tcPr>
                </a:tc>
                <a:tc>
                  <a:txBody>
                    <a:bodyPr/>
                    <a:lstStyle/>
                    <a:p>
                      <a:pPr algn="ctr">
                        <a:defRPr sz="600">
                          <a:latin typeface="Nexa Book"/>
                        </a:defRPr>
                      </a:pPr>
                      <a:r>
                        <a:rPr sz="600">
                          <a:latin typeface="Nexa Book"/>
                        </a:rPr>
                        <a:t>393'092</a:t>
                      </a:r>
                    </a:p>
                  </a:txBody>
                  <a:tcPr marL="2858" marR="2858" marT="2858" marB="0" anchor="ctr">
                    <a:noFill/>
                  </a:tcPr>
                </a:tc>
                <a:tc>
                  <a:txBody>
                    <a:bodyPr/>
                    <a:lstStyle/>
                    <a:p>
                      <a:pPr algn="ctr">
                        <a:defRPr sz="600">
                          <a:latin typeface="Nexa Book"/>
                        </a:defRPr>
                      </a:pPr>
                      <a:r>
                        <a:rPr sz="600">
                          <a:latin typeface="Nexa Book"/>
                        </a:rPr>
                        <a:t>193%</a:t>
                      </a:r>
                    </a:p>
                  </a:txBody>
                  <a:tcPr marL="2858" marR="2858" marT="2858" marB="0" anchor="ctr">
                    <a:noFill/>
                  </a:tcPr>
                </a:tc>
                <a:tc>
                  <a:txBody>
                    <a:bodyPr/>
                    <a:lstStyle/>
                    <a:p>
                      <a:pPr algn="ctr">
                        <a:defRPr sz="600">
                          <a:latin typeface="Nexa Book"/>
                        </a:defRPr>
                      </a:pPr>
                      <a:r>
                        <a:rPr sz="600">
                          <a:latin typeface="Nexa Book"/>
                        </a:rPr>
                        <a:t>227%</a:t>
                      </a:r>
                    </a:p>
                  </a:txBody>
                  <a:tcPr marL="2858" marR="2858" marT="2858" marB="0" anchor="ctr">
                    <a:noFill/>
                  </a:tcPr>
                </a:tc>
                <a:tc>
                  <a:txBody>
                    <a:bodyPr/>
                    <a:lstStyle/>
                    <a:p>
                      <a:pPr algn="ctr">
                        <a:defRPr sz="600">
                          <a:latin typeface="Nexa Book"/>
                        </a:defRPr>
                      </a:pPr>
                      <a:r>
                        <a:rPr sz="600">
                          <a:latin typeface="Nexa Book"/>
                        </a:rPr>
                        <a:t>262634</a:t>
                      </a:r>
                    </a:p>
                  </a:txBody>
                  <a:tcPr marL="2858" marR="2858" marT="2858" marB="0" anchor="ctr">
                    <a:noFill/>
                  </a:tcPr>
                </a:tc>
                <a:tc>
                  <a:txBody>
                    <a:bodyPr/>
                    <a:lstStyle/>
                    <a:p>
                      <a:pPr algn="ctr">
                        <a:defRPr sz="600">
                          <a:latin typeface="Nexa Book"/>
                        </a:defRPr>
                      </a:pPr>
                      <a:r>
                        <a:rPr sz="600">
                          <a:latin typeface="Nexa Book"/>
                        </a:rPr>
                        <a:t>537%</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MG RUINART BRUT SECOND SKIN 1CT X 150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146.77</a:t>
                      </a:r>
                    </a:p>
                  </a:txBody>
                  <a:tcPr marL="2858" marR="2858" marT="2858" marB="0" anchor="ctr">
                    <a:noFill/>
                  </a:tcPr>
                </a:tc>
                <a:tc>
                  <a:txBody>
                    <a:bodyPr/>
                    <a:lstStyle/>
                    <a:p>
                      <a:pPr algn="ctr">
                        <a:defRPr sz="600">
                          <a:latin typeface="Nexa Book"/>
                        </a:defRPr>
                      </a:pPr>
                      <a:r>
                        <a:rPr sz="600">
                          <a:latin typeface="Nexa Book"/>
                        </a:rPr>
                        <a:t> 132.60</a:t>
                      </a:r>
                    </a:p>
                  </a:txBody>
                  <a:tcPr marL="2858" marR="2858" marT="2858" marB="0" anchor="ctr">
                    <a:noFill/>
                  </a:tcPr>
                </a:tc>
                <a:tc>
                  <a:txBody>
                    <a:bodyPr/>
                    <a:lstStyle/>
                    <a:p>
                      <a:pPr algn="ctr">
                        <a:defRPr sz="600">
                          <a:latin typeface="Nexa Book"/>
                        </a:defRPr>
                      </a:pPr>
                      <a:r>
                        <a:rPr sz="600">
                          <a:latin typeface="Nexa Book"/>
                        </a:rPr>
                        <a:t>434'914</a:t>
                      </a:r>
                    </a:p>
                  </a:txBody>
                  <a:tcPr marL="2858" marR="2858" marT="2858" marB="0" anchor="ctr">
                    <a:noFill/>
                  </a:tcPr>
                </a:tc>
                <a:tc>
                  <a:txBody>
                    <a:bodyPr/>
                    <a:lstStyle/>
                    <a:p>
                      <a:pPr algn="ctr">
                        <a:defRPr sz="600">
                          <a:latin typeface="Nexa Book"/>
                        </a:defRPr>
                      </a:pPr>
                      <a:r>
                        <a:rPr sz="600">
                          <a:latin typeface="Nexa Book"/>
                        </a:rPr>
                        <a:t>101%</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228996</a:t>
                      </a:r>
                    </a:p>
                  </a:txBody>
                  <a:tcPr marL="2858" marR="2858" marT="2858" marB="0" anchor="ctr">
                    <a:noFill/>
                  </a:tcPr>
                </a:tc>
                <a:tc>
                  <a:txBody>
                    <a:bodyPr/>
                    <a:lstStyle/>
                    <a:p>
                      <a:pPr algn="ctr">
                        <a:defRPr sz="600">
                          <a:latin typeface="Nexa Book"/>
                        </a:defRPr>
                      </a:pPr>
                      <a:r>
                        <a:rPr sz="600">
                          <a:latin typeface="Nexa Book"/>
                        </a:rPr>
                        <a:t>46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90665">
                <a:tc>
                  <a:txBody>
                    <a:bodyPr/>
                    <a:lstStyle/>
                    <a:p>
                      <a:pPr algn="l">
                        <a:defRPr sz="600">
                          <a:latin typeface="Nexa Book"/>
                        </a:defRPr>
                      </a:pPr>
                      <a:r>
                        <a:rPr sz="600">
                          <a:latin typeface="Nexa Book"/>
                        </a:rPr>
                        <a:t>Moët &amp; Chandon</a:t>
                      </a:r>
                    </a:p>
                  </a:txBody>
                  <a:tcPr marL="2858" marR="2858" marT="2858" marB="0" anchor="ctr">
                    <a:noFill/>
                  </a:tcPr>
                </a:tc>
                <a:tc>
                  <a:txBody>
                    <a:bodyPr/>
                    <a:lstStyle/>
                    <a:p>
                      <a:pPr algn="l">
                        <a:defRPr sz="600">
                          <a:latin typeface="Nexa Book"/>
                        </a:defRPr>
                      </a:pPr>
                      <a:r>
                        <a:rPr sz="600">
                          <a:latin typeface="Nexa Book"/>
                        </a:rPr>
                        <a:t>MOET &amp; CHANDON RES IMPERIAL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 49.88</a:t>
                      </a:r>
                    </a:p>
                  </a:txBody>
                  <a:tcPr marL="2858" marR="2858" marT="2858" marB="0" anchor="ctr">
                    <a:noFill/>
                  </a:tcPr>
                </a:tc>
                <a:tc>
                  <a:txBody>
                    <a:bodyPr/>
                    <a:lstStyle/>
                    <a:p>
                      <a:pPr algn="ctr">
                        <a:defRPr sz="600">
                          <a:latin typeface="Nexa Book"/>
                        </a:defRPr>
                      </a:pPr>
                      <a:r>
                        <a:rPr sz="600">
                          <a:latin typeface="Nexa Book"/>
                        </a:rPr>
                        <a:t> 44.91</a:t>
                      </a:r>
                    </a:p>
                  </a:txBody>
                  <a:tcPr marL="2858" marR="2858" marT="2858" marB="0" anchor="ctr">
                    <a:noFill/>
                  </a:tcPr>
                </a:tc>
                <a:tc>
                  <a:txBody>
                    <a:bodyPr/>
                    <a:lstStyle/>
                    <a:p>
                      <a:pPr algn="ctr">
                        <a:defRPr sz="600">
                          <a:latin typeface="Nexa Book"/>
                        </a:defRPr>
                      </a:pPr>
                      <a:r>
                        <a:rPr sz="600">
                          <a:latin typeface="Nexa Book"/>
                        </a:rPr>
                        <a:t>339'243</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145632</a:t>
                      </a:r>
                    </a:p>
                  </a:txBody>
                  <a:tcPr marL="2858" marR="2858" marT="2858" marB="0" anchor="ctr">
                    <a:noFill/>
                  </a:tcPr>
                </a:tc>
                <a:tc>
                  <a:txBody>
                    <a:bodyPr/>
                    <a:lstStyle/>
                    <a:p>
                      <a:pPr algn="ctr">
                        <a:defRPr sz="600">
                          <a:latin typeface="Nexa Book"/>
                        </a:defRPr>
                      </a:pPr>
                      <a:r>
                        <a:rPr sz="600">
                          <a:latin typeface="Nexa Book"/>
                        </a:rPr>
                        <a:t>373%</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92009106"/>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Val De Loire | NICOLA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32</a:t>
                      </a:r>
                    </a:p>
                  </a:txBody>
                  <a:tcPr marL="2858" marR="2858" marT="2858" marB="0" anchor="ctr">
                    <a:noFill/>
                  </a:tcPr>
                </a:tc>
                <a:tc>
                  <a:txBody>
                    <a:bodyPr/>
                    <a:lstStyle/>
                    <a:p>
                      <a:pPr algn="ctr">
                        <a:defRPr sz="600">
                          <a:latin typeface="Nexa Book"/>
                        </a:defRPr>
                      </a:pPr>
                      <a:r>
                        <a:rPr sz="600">
                          <a:latin typeface="Nexa Book"/>
                        </a:rPr>
                        <a:t>126'971</a:t>
                      </a:r>
                    </a:p>
                  </a:txBody>
                  <a:tcPr marL="2858" marR="2858" marT="2858" marB="0" anchor="ctr">
                    <a:noFill/>
                  </a:tcPr>
                </a:tc>
                <a:tc>
                  <a:txBody>
                    <a:bodyPr/>
                    <a:lstStyle/>
                    <a:p>
                      <a:pPr algn="ctr">
                        <a:defRPr sz="600">
                          <a:latin typeface="Nexa Book"/>
                        </a:defRPr>
                      </a:pPr>
                      <a:r>
                        <a:rPr sz="600">
                          <a:latin typeface="Nexa Book"/>
                        </a:rPr>
                        <a:t>82%</a:t>
                      </a:r>
                    </a:p>
                  </a:txBody>
                  <a:tcPr marL="2858" marR="2858" marT="2858" marB="0" anchor="ctr">
                    <a:noFill/>
                  </a:tcPr>
                </a:tc>
                <a:tc>
                  <a:txBody>
                    <a:bodyPr/>
                    <a:lstStyle/>
                    <a:p>
                      <a:pPr algn="ctr">
                        <a:defRPr sz="600">
                          <a:latin typeface="Nexa Book"/>
                        </a:defRPr>
                      </a:pPr>
                      <a:r>
                        <a:rPr sz="600">
                          <a:latin typeface="Nexa Book"/>
                        </a:rPr>
                        <a:t>107%</a:t>
                      </a:r>
                    </a:p>
                  </a:txBody>
                  <a:tcPr marL="2858" marR="2858" marT="2858" marB="0" anchor="ctr">
                    <a:noFill/>
                  </a:tcPr>
                </a:tc>
                <a:tc>
                  <a:txBody>
                    <a:bodyPr/>
                    <a:lstStyle/>
                    <a:p>
                      <a:pPr algn="ctr">
                        <a:defRPr sz="600">
                          <a:latin typeface="Nexa Book"/>
                        </a:defRPr>
                      </a:pPr>
                      <a:r>
                        <a:rPr sz="600">
                          <a:latin typeface="Nexa Book"/>
                        </a:rPr>
                        <a:t>64135</a:t>
                      </a:r>
                    </a:p>
                  </a:txBody>
                  <a:tcPr marL="2858" marR="2858" marT="2858" marB="0" anchor="ctr">
                    <a:noFill/>
                  </a:tcPr>
                </a:tc>
                <a:tc>
                  <a:txBody>
                    <a:bodyPr/>
                    <a:lstStyle/>
                    <a:p>
                      <a:pPr algn="ctr">
                        <a:defRPr sz="600">
                          <a:latin typeface="Nexa Book"/>
                        </a:defRPr>
                      </a:pPr>
                      <a:r>
                        <a:rPr sz="600">
                          <a:latin typeface="Nexa Book"/>
                        </a:rPr>
                        <a:t>310%</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De Chanceny</a:t>
                      </a:r>
                    </a:p>
                  </a:txBody>
                  <a:tcPr marL="2858" marR="2858" marT="2858" marB="0" anchor="ctr">
                    <a:noFill/>
                  </a:tcPr>
                </a:tc>
                <a:tc>
                  <a:txBody>
                    <a:bodyPr/>
                    <a:lstStyle/>
                    <a:p>
                      <a:pPr algn="l">
                        <a:defRPr sz="600">
                          <a:latin typeface="Nexa Book"/>
                        </a:defRPr>
                      </a:pPr>
                      <a:r>
                        <a:rPr sz="600">
                          <a:latin typeface="Nexa Book"/>
                        </a:rPr>
                        <a:t>CREMANT LOIRE NATURE 2015AC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14.49</a:t>
                      </a:r>
                    </a:p>
                  </a:txBody>
                  <a:tcPr marL="2858" marR="2858" marT="2858" marB="0" anchor="ctr">
                    <a:noFill/>
                  </a:tcPr>
                </a:tc>
                <a:tc>
                  <a:txBody>
                    <a:bodyPr/>
                    <a:lstStyle/>
                    <a:p>
                      <a:pPr algn="ctr">
                        <a:defRPr sz="600">
                          <a:latin typeface="Nexa Book"/>
                        </a:defRPr>
                      </a:pPr>
                      <a:r>
                        <a:rPr sz="600">
                          <a:latin typeface="Nexa Book"/>
                        </a:rPr>
                        <a:t> 11.72</a:t>
                      </a:r>
                    </a:p>
                  </a:txBody>
                  <a:tcPr marL="2858" marR="2858" marT="2858" marB="0" anchor="ctr">
                    <a:noFill/>
                  </a:tcPr>
                </a:tc>
                <a:tc>
                  <a:txBody>
                    <a:bodyPr/>
                    <a:lstStyle/>
                    <a:p>
                      <a:pPr algn="ctr">
                        <a:defRPr sz="600">
                          <a:latin typeface="Nexa Book"/>
                        </a:defRPr>
                      </a:pPr>
                      <a:r>
                        <a:rPr sz="600">
                          <a:latin typeface="Nexa Book"/>
                        </a:rPr>
                        <a:t>49'162</a:t>
                      </a:r>
                    </a:p>
                  </a:txBody>
                  <a:tcPr marL="2858" marR="2858" marT="2858" marB="0" anchor="ctr">
                    <a:noFill/>
                  </a:tcPr>
                </a:tc>
                <a:tc>
                  <a:txBody>
                    <a:bodyPr/>
                    <a:lstStyle/>
                    <a:p>
                      <a:pPr algn="ctr">
                        <a:defRPr sz="600">
                          <a:latin typeface="Nexa Book"/>
                        </a:defRPr>
                      </a:pPr>
                      <a:r>
                        <a:rPr sz="600">
                          <a:latin typeface="Nexa Book"/>
                        </a:rPr>
                        <a:t>198%</a:t>
                      </a:r>
                    </a:p>
                  </a:txBody>
                  <a:tcPr marL="2858" marR="2858" marT="2858" marB="0" anchor="ctr">
                    <a:noFill/>
                  </a:tcPr>
                </a:tc>
                <a:tc>
                  <a:txBody>
                    <a:bodyPr/>
                    <a:lstStyle/>
                    <a:p>
                      <a:pPr algn="ctr">
                        <a:defRPr sz="600">
                          <a:latin typeface="Nexa Book"/>
                        </a:defRPr>
                      </a:pPr>
                      <a:r>
                        <a:rPr sz="600">
                          <a:latin typeface="Nexa Book"/>
                        </a:rPr>
                        <a:t>254%</a:t>
                      </a:r>
                    </a:p>
                  </a:txBody>
                  <a:tcPr marL="2858" marR="2858" marT="2858" marB="0" anchor="ctr">
                    <a:noFill/>
                  </a:tcPr>
                </a:tc>
                <a:tc>
                  <a:txBody>
                    <a:bodyPr/>
                    <a:lstStyle/>
                    <a:p>
                      <a:pPr algn="ctr">
                        <a:defRPr sz="600">
                          <a:latin typeface="Nexa Book"/>
                        </a:defRPr>
                      </a:pPr>
                      <a:r>
                        <a:rPr sz="600">
                          <a:latin typeface="Nexa Book"/>
                        </a:rPr>
                        <a:t>37114</a:t>
                      </a:r>
                    </a:p>
                  </a:txBody>
                  <a:tcPr marL="2858" marR="2858" marT="2858" marB="0" anchor="ctr">
                    <a:noFill/>
                  </a:tcPr>
                </a:tc>
                <a:tc>
                  <a:txBody>
                    <a:bodyPr/>
                    <a:lstStyle/>
                    <a:p>
                      <a:pPr algn="ctr">
                        <a:defRPr sz="600">
                          <a:latin typeface="Nexa Book"/>
                        </a:defRPr>
                      </a:pPr>
                      <a:r>
                        <a:rPr sz="600">
                          <a:latin typeface="Nexa Book"/>
                        </a:rPr>
                        <a:t>317%</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5786010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Italiens | NICOLAS Q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8.36</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103'885</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49344</a:t>
                      </a:r>
                    </a:p>
                  </a:txBody>
                  <a:tcPr marL="2858" marR="2858" marT="2858" marB="0" anchor="ctr">
                    <a:noFill/>
                  </a:tcPr>
                </a:tc>
                <a:tc>
                  <a:txBody>
                    <a:bodyPr/>
                    <a:lstStyle/>
                    <a:p>
                      <a:pPr algn="ctr">
                        <a:defRPr sz="600">
                          <a:latin typeface="Nexa Book"/>
                        </a:defRPr>
                      </a:pPr>
                      <a:r>
                        <a:rPr sz="600">
                          <a:latin typeface="Nexa Book"/>
                        </a:rPr>
                        <a:t>205%</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Savian</a:t>
                      </a:r>
                    </a:p>
                  </a:txBody>
                  <a:tcPr marL="2858" marR="2858" marT="2858" marB="0" anchor="ctr">
                    <a:noFill/>
                  </a:tcPr>
                </a:tc>
                <a:tc>
                  <a:txBody>
                    <a:bodyPr/>
                    <a:lstStyle/>
                    <a:p>
                      <a:pPr algn="l">
                        <a:defRPr sz="600">
                          <a:latin typeface="Nexa Book"/>
                        </a:defRPr>
                      </a:pPr>
                      <a:r>
                        <a:rPr sz="600">
                          <a:latin typeface="Nexa Book"/>
                        </a:rPr>
                        <a:t>PROSECCO SAVIAN EXTRA DRY ITA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9.58</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43'872</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97%</a:t>
                      </a:r>
                    </a:p>
                  </a:txBody>
                  <a:tcPr marL="2858" marR="2858" marT="2858" marB="0" anchor="ctr">
                    <a:noFill/>
                  </a:tcPr>
                </a:tc>
                <a:tc>
                  <a:txBody>
                    <a:bodyPr/>
                    <a:lstStyle/>
                    <a:p>
                      <a:pPr algn="ctr">
                        <a:defRPr sz="600">
                          <a:latin typeface="Nexa Book"/>
                        </a:defRPr>
                      </a:pPr>
                      <a:r>
                        <a:rPr sz="600">
                          <a:latin typeface="Nexa Book"/>
                        </a:rPr>
                        <a:t>20184</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5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07584807"/>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Bourgogne | NICOLAS V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14.76</a:t>
                      </a:r>
                    </a:p>
                  </a:txBody>
                  <a:tcPr marL="2858" marR="2858" marT="2858" marB="0" anchor="ctr">
                    <a:noFill/>
                  </a:tcPr>
                </a:tc>
                <a:tc>
                  <a:txBody>
                    <a:bodyPr/>
                    <a:lstStyle/>
                    <a:p>
                      <a:pPr algn="ctr">
                        <a:defRPr sz="600">
                          <a:latin typeface="Nexa Book"/>
                        </a:defRPr>
                      </a:pPr>
                      <a:r>
                        <a:rPr sz="600">
                          <a:latin typeface="Nexa Book"/>
                        </a:rPr>
                        <a:t> 11.18</a:t>
                      </a:r>
                    </a:p>
                  </a:txBody>
                  <a:tcPr marL="2858" marR="2858" marT="2858" marB="0" anchor="ctr">
                    <a:noFill/>
                  </a:tcPr>
                </a:tc>
                <a:tc>
                  <a:txBody>
                    <a:bodyPr/>
                    <a:lstStyle/>
                    <a:p>
                      <a:pPr algn="ctr">
                        <a:defRPr sz="600">
                          <a:latin typeface="Nexa Book"/>
                        </a:defRPr>
                      </a:pPr>
                      <a:r>
                        <a:rPr sz="600">
                          <a:latin typeface="Nexa Book"/>
                        </a:rPr>
                        <a:t>39'793</a:t>
                      </a:r>
                    </a:p>
                  </a:txBody>
                  <a:tcPr marL="2858" marR="2858" marT="2858" marB="0" anchor="ctr">
                    <a:noFill/>
                  </a:tcPr>
                </a:tc>
                <a:tc>
                  <a:txBody>
                    <a:bodyPr/>
                    <a:lstStyle/>
                    <a:p>
                      <a:pPr algn="ctr">
                        <a:defRPr sz="600">
                          <a:latin typeface="Nexa Book"/>
                        </a:defRPr>
                      </a:pPr>
                      <a:r>
                        <a:rPr sz="600">
                          <a:latin typeface="Nexa Book"/>
                        </a:rPr>
                        <a:t>125%</a:t>
                      </a:r>
                    </a:p>
                  </a:txBody>
                  <a:tcPr marL="2858" marR="2858" marT="2858" marB="0" anchor="ctr">
                    <a:noFill/>
                  </a:tcPr>
                </a:tc>
                <a:tc>
                  <a:txBody>
                    <a:bodyPr/>
                    <a:lstStyle/>
                    <a:p>
                      <a:pPr algn="ctr">
                        <a:defRPr sz="600">
                          <a:latin typeface="Nexa Book"/>
                        </a:defRPr>
                      </a:pPr>
                      <a:r>
                        <a:rPr sz="600">
                          <a:latin typeface="Nexa Book"/>
                        </a:rPr>
                        <a:t>189%</a:t>
                      </a:r>
                    </a:p>
                  </a:txBody>
                  <a:tcPr marL="2858" marR="2858" marT="2858" marB="0" anchor="ctr">
                    <a:noFill/>
                  </a:tcPr>
                </a:tc>
                <a:tc>
                  <a:txBody>
                    <a:bodyPr/>
                    <a:lstStyle/>
                    <a:p>
                      <a:pPr algn="ctr">
                        <a:defRPr sz="600">
                          <a:latin typeface="Nexa Book"/>
                        </a:defRPr>
                      </a:pPr>
                      <a:r>
                        <a:rPr sz="600">
                          <a:latin typeface="Nexa Book"/>
                        </a:rPr>
                        <a:t>24411</a:t>
                      </a:r>
                    </a:p>
                  </a:txBody>
                  <a:tcPr marL="2858" marR="2858" marT="2858" marB="0" anchor="ctr">
                    <a:noFill/>
                  </a:tcPr>
                </a:tc>
                <a:tc>
                  <a:txBody>
                    <a:bodyPr/>
                    <a:lstStyle/>
                    <a:p>
                      <a:pPr algn="ctr">
                        <a:defRPr sz="600">
                          <a:latin typeface="Nexa Book"/>
                        </a:defRPr>
                      </a:pPr>
                      <a:r>
                        <a:rPr sz="600">
                          <a:latin typeface="Nexa Book"/>
                        </a:rPr>
                        <a:t>192%</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073226304"/>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Italiens | NICOLAS V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8.39</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42'507</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18757</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Bottega</a:t>
                      </a:r>
                    </a:p>
                  </a:txBody>
                  <a:tcPr marL="2858" marR="2858" marT="2858" marB="0" anchor="ctr">
                    <a:noFill/>
                  </a:tcPr>
                </a:tc>
                <a:tc>
                  <a:txBody>
                    <a:bodyPr/>
                    <a:lstStyle/>
                    <a:p>
                      <a:pPr algn="l">
                        <a:defRPr sz="600">
                          <a:latin typeface="Nexa Book"/>
                        </a:defRPr>
                      </a:pPr>
                      <a:r>
                        <a:rPr sz="600">
                          <a:latin typeface="Nexa Book"/>
                        </a:rPr>
                        <a:t>PROSECCO VINO DEI POETI ITA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 12.01</a:t>
                      </a:r>
                    </a:p>
                  </a:txBody>
                  <a:tcPr marL="2858" marR="2858" marT="2858" marB="0" anchor="ctr">
                    <a:noFill/>
                  </a:tcPr>
                </a:tc>
                <a:tc>
                  <a:txBody>
                    <a:bodyPr/>
                    <a:lstStyle/>
                    <a:p>
                      <a:pPr algn="ctr">
                        <a:defRPr sz="600">
                          <a:latin typeface="Nexa Book"/>
                        </a:defRPr>
                      </a:pPr>
                      <a:r>
                        <a:rPr sz="600">
                          <a:latin typeface="Nexa Book"/>
                        </a:rPr>
                        <a:t> 10.82</a:t>
                      </a:r>
                    </a:p>
                  </a:txBody>
                  <a:tcPr marL="2858" marR="2858" marT="2858" marB="0" anchor="ctr">
                    <a:noFill/>
                  </a:tcPr>
                </a:tc>
                <a:tc>
                  <a:txBody>
                    <a:bodyPr/>
                    <a:lstStyle/>
                    <a:p>
                      <a:pPr algn="ctr">
                        <a:defRPr sz="600">
                          <a:latin typeface="Nexa Book"/>
                        </a:defRPr>
                      </a:pPr>
                      <a:r>
                        <a:rPr sz="600">
                          <a:latin typeface="Nexa Book"/>
                        </a:rPr>
                        <a:t>15'34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r>
                        <a:rPr sz="600">
                          <a:latin typeface="Nexa Book"/>
                        </a:rPr>
                        <a:t>4870</a:t>
                      </a:r>
                    </a:p>
                  </a:txBody>
                  <a:tcPr marL="2858" marR="2858" marT="2858" marB="0" anchor="ctr">
                    <a:noFill/>
                  </a:tcPr>
                </a:tc>
                <a:tc>
                  <a:txBody>
                    <a:bodyPr/>
                    <a:lstStyle/>
                    <a:p>
                      <a:pPr algn="ctr">
                        <a:defRPr sz="600">
                          <a:latin typeface="Nexa Book"/>
                        </a:defRPr>
                      </a:pPr>
                      <a:r>
                        <a:rPr sz="600">
                          <a:latin typeface="Nexa Book"/>
                        </a:rPr>
                        <a:t>295%</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5853848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lanc De Blancs | NICOLAS QC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GRAND CRU BLC DE BLANC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 38.20</a:t>
                      </a:r>
                    </a:p>
                  </a:txBody>
                  <a:tcPr marL="2858" marR="2858" marT="2858" marB="0" anchor="ctr">
                    <a:noFill/>
                  </a:tcPr>
                </a:tc>
                <a:tc>
                  <a:txBody>
                    <a:bodyPr/>
                    <a:lstStyle/>
                    <a:p>
                      <a:pPr algn="ctr">
                        <a:defRPr sz="600">
                          <a:latin typeface="Nexa Book"/>
                        </a:defRPr>
                      </a:pPr>
                      <a:r>
                        <a:rPr sz="600">
                          <a:latin typeface="Nexa Book"/>
                        </a:rPr>
                        <a:t> 34.21</a:t>
                      </a:r>
                    </a:p>
                  </a:txBody>
                  <a:tcPr marL="2858" marR="2858" marT="2858" marB="0" anchor="ctr">
                    <a:noFill/>
                  </a:tcPr>
                </a:tc>
                <a:tc>
                  <a:txBody>
                    <a:bodyPr/>
                    <a:lstStyle/>
                    <a:p>
                      <a:pPr algn="ctr">
                        <a:defRPr sz="600">
                          <a:latin typeface="Nexa Book"/>
                        </a:defRPr>
                      </a:pPr>
                      <a:r>
                        <a:rPr sz="600">
                          <a:latin typeface="Nexa Book"/>
                        </a:rPr>
                        <a:t>30'85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113%</a:t>
                      </a:r>
                    </a:p>
                  </a:txBody>
                  <a:tcPr marL="2858" marR="2858" marT="2858" marB="0" anchor="ctr">
                    <a:noFill/>
                  </a:tcPr>
                </a:tc>
                <a:tc>
                  <a:txBody>
                    <a:bodyPr/>
                    <a:lstStyle/>
                    <a:p>
                      <a:pPr algn="ctr">
                        <a:defRPr sz="600">
                          <a:latin typeface="Nexa Book"/>
                        </a:defRPr>
                      </a:pPr>
                      <a:r>
                        <a:rPr sz="600">
                          <a:latin typeface="Nexa Book"/>
                        </a:rPr>
                        <a:t>15574</a:t>
                      </a:r>
                    </a:p>
                  </a:txBody>
                  <a:tcPr marL="2858" marR="2858" marT="2858" marB="0" anchor="ctr">
                    <a:noFill/>
                  </a:tcPr>
                </a:tc>
                <a:tc>
                  <a:txBody>
                    <a:bodyPr/>
                    <a:lstStyle/>
                    <a:p>
                      <a:pPr algn="ctr">
                        <a:defRPr sz="600">
                          <a:latin typeface="Nexa Book"/>
                        </a:defRPr>
                      </a:pPr>
                      <a:r>
                        <a:rPr sz="600">
                          <a:latin typeface="Nexa Book"/>
                        </a:rPr>
                        <a:t>408%</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LANC DE BLANCS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52.00</a:t>
                      </a:r>
                    </a:p>
                  </a:txBody>
                  <a:tcPr marL="2858" marR="2858" marT="2858" marB="0" anchor="ctr">
                    <a:noFill/>
                  </a:tcPr>
                </a:tc>
                <a:tc>
                  <a:txBody>
                    <a:bodyPr/>
                    <a:lstStyle/>
                    <a:p>
                      <a:pPr algn="ctr">
                        <a:defRPr sz="600">
                          <a:latin typeface="Nexa Book"/>
                        </a:defRPr>
                      </a:pPr>
                      <a:r>
                        <a:rPr sz="600">
                          <a:latin typeface="Nexa Book"/>
                        </a:rPr>
                        <a:t> 44.07</a:t>
                      </a:r>
                    </a:p>
                  </a:txBody>
                  <a:tcPr marL="2858" marR="2858" marT="2858" marB="0" anchor="ctr">
                    <a:noFill/>
                  </a:tcPr>
                </a:tc>
                <a:tc>
                  <a:txBody>
                    <a:bodyPr/>
                    <a:lstStyle/>
                    <a:p>
                      <a:pPr algn="ctr">
                        <a:defRPr sz="600">
                          <a:latin typeface="Nexa Book"/>
                        </a:defRPr>
                      </a:pPr>
                      <a:r>
                        <a:rPr sz="600">
                          <a:latin typeface="Nexa Book"/>
                        </a:rPr>
                        <a:t>9'034</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64%</a:t>
                      </a:r>
                    </a:p>
                  </a:txBody>
                  <a:tcPr marL="2858" marR="2858" marT="2858" marB="0" anchor="ctr">
                    <a:noFill/>
                  </a:tcPr>
                </a:tc>
                <a:tc>
                  <a:txBody>
                    <a:bodyPr/>
                    <a:lstStyle/>
                    <a:p>
                      <a:pPr algn="ctr">
                        <a:defRPr sz="600">
                          <a:latin typeface="Nexa Book"/>
                        </a:defRPr>
                      </a:pPr>
                      <a:r>
                        <a:rPr sz="600">
                          <a:latin typeface="Nexa Book"/>
                        </a:rPr>
                        <a:t>5342</a:t>
                      </a:r>
                    </a:p>
                  </a:txBody>
                  <a:tcPr marL="2858" marR="2858" marT="2858" marB="0" anchor="ctr">
                    <a:noFill/>
                  </a:tcPr>
                </a:tc>
                <a:tc>
                  <a:txBody>
                    <a:bodyPr/>
                    <a:lstStyle/>
                    <a:p>
                      <a:pPr algn="ctr">
                        <a:defRPr sz="600">
                          <a:latin typeface="Nexa Book"/>
                        </a:defRPr>
                      </a:pPr>
                      <a:r>
                        <a:rPr sz="600">
                          <a:latin typeface="Nexa Book"/>
                        </a:rPr>
                        <a:t>444%</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01801586"/>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illesimes | NICOLAS QC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5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 264.79</a:t>
                      </a:r>
                    </a:p>
                  </a:txBody>
                  <a:tcPr marL="2858" marR="2858" marT="2858" marB="0" anchor="ctr">
                    <a:noFill/>
                  </a:tcPr>
                </a:tc>
                <a:tc>
                  <a:txBody>
                    <a:bodyPr/>
                    <a:lstStyle/>
                    <a:p>
                      <a:pPr algn="ctr">
                        <a:defRPr sz="600">
                          <a:latin typeface="Nexa Book"/>
                        </a:defRPr>
                      </a:pPr>
                      <a:r>
                        <a:rPr sz="600">
                          <a:latin typeface="Nexa Book"/>
                        </a:rPr>
                        <a:t> 240.00</a:t>
                      </a:r>
                    </a:p>
                  </a:txBody>
                  <a:tcPr marL="2858" marR="2858" marT="2858" marB="0" anchor="ctr">
                    <a:noFill/>
                  </a:tcPr>
                </a:tc>
                <a:tc>
                  <a:txBody>
                    <a:bodyPr/>
                    <a:lstStyle/>
                    <a:p>
                      <a:pPr algn="ctr">
                        <a:defRPr sz="600">
                          <a:latin typeface="Nexa Book"/>
                        </a:defRPr>
                      </a:pPr>
                      <a:r>
                        <a:rPr sz="600">
                          <a:latin typeface="Nexa Book"/>
                        </a:rPr>
                        <a:t>19'200</a:t>
                      </a:r>
                    </a:p>
                  </a:txBody>
                  <a:tcPr marL="2858" marR="2858" marT="2858" marB="0" anchor="ctr">
                    <a:noFill/>
                  </a:tcPr>
                </a:tc>
                <a:tc>
                  <a:txBody>
                    <a:bodyPr/>
                    <a:lstStyle/>
                    <a:p>
                      <a:pPr algn="ctr">
                        <a:defRPr sz="600">
                          <a:latin typeface="Nexa Book"/>
                        </a:defRPr>
                      </a:pPr>
                      <a:r>
                        <a:rPr sz="600">
                          <a:latin typeface="Nexa Book"/>
                        </a:rPr>
                        <a:t>193%</a:t>
                      </a:r>
                    </a:p>
                  </a:txBody>
                  <a:tcPr marL="2858" marR="2858" marT="2858" marB="0" anchor="ctr">
                    <a:noFill/>
                  </a:tcPr>
                </a:tc>
                <a:tc>
                  <a:txBody>
                    <a:bodyPr/>
                    <a:lstStyle/>
                    <a:p>
                      <a:pPr algn="ctr">
                        <a:defRPr sz="600">
                          <a:latin typeface="Nexa Book"/>
                        </a:defRPr>
                      </a:pPr>
                      <a:r>
                        <a:rPr sz="600">
                          <a:latin typeface="Nexa Book"/>
                        </a:rPr>
                        <a:t>275%</a:t>
                      </a:r>
                    </a:p>
                  </a:txBody>
                  <a:tcPr marL="2858" marR="2858" marT="2858" marB="0" anchor="ctr">
                    <a:noFill/>
                  </a:tcPr>
                </a:tc>
                <a:tc>
                  <a:txBody>
                    <a:bodyPr/>
                    <a:lstStyle/>
                    <a:p>
                      <a:pPr algn="ctr">
                        <a:defRPr sz="600">
                          <a:latin typeface="Nexa Book"/>
                        </a:defRPr>
                      </a:pPr>
                      <a:r>
                        <a:rPr sz="600">
                          <a:latin typeface="Nexa Book"/>
                        </a:rPr>
                        <a:t>12638</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3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BRUT MILLESIME 2015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6.00</a:t>
                      </a:r>
                    </a:p>
                  </a:txBody>
                  <a:tcPr marL="2858" marR="2858" marT="2858" marB="0" anchor="ctr">
                    <a:noFill/>
                  </a:tcPr>
                </a:tc>
                <a:tc>
                  <a:txBody>
                    <a:bodyPr/>
                    <a:lstStyle/>
                    <a:p>
                      <a:pPr algn="ctr">
                        <a:defRPr sz="600">
                          <a:latin typeface="Nexa Book"/>
                        </a:defRPr>
                      </a:pPr>
                      <a:r>
                        <a:rPr sz="600">
                          <a:latin typeface="Nexa Book"/>
                        </a:rPr>
                        <a:t>15'192</a:t>
                      </a:r>
                    </a:p>
                  </a:txBody>
                  <a:tcPr marL="2858" marR="2858" marT="2858" marB="0" anchor="ctr">
                    <a:noFill/>
                  </a:tcPr>
                </a:tc>
                <a:tc>
                  <a:txBody>
                    <a:bodyPr/>
                    <a:lstStyle/>
                    <a:p>
                      <a:pPr algn="ctr">
                        <a:defRPr sz="600">
                          <a:latin typeface="Nexa Book"/>
                        </a:defRPr>
                      </a:pPr>
                      <a:r>
                        <a:rPr sz="600">
                          <a:latin typeface="Nexa Book"/>
                        </a:rPr>
                        <a:t>357%</a:t>
                      </a:r>
                    </a:p>
                  </a:txBody>
                  <a:tcPr marL="2858" marR="2858" marT="2858" marB="0" anchor="ctr">
                    <a:noFill/>
                  </a:tcPr>
                </a:tc>
                <a:tc>
                  <a:txBody>
                    <a:bodyPr/>
                    <a:lstStyle/>
                    <a:p>
                      <a:pPr algn="ctr">
                        <a:defRPr sz="600">
                          <a:latin typeface="Nexa Book"/>
                        </a:defRPr>
                      </a:pPr>
                      <a:r>
                        <a:rPr sz="600">
                          <a:latin typeface="Nexa Book"/>
                        </a:rPr>
                        <a:t>406%</a:t>
                      </a:r>
                    </a:p>
                  </a:txBody>
                  <a:tcPr marL="2858" marR="2858" marT="2858" marB="0" anchor="ctr">
                    <a:noFill/>
                  </a:tcPr>
                </a:tc>
                <a:tc>
                  <a:txBody>
                    <a:bodyPr/>
                    <a:lstStyle/>
                    <a:p>
                      <a:pPr algn="ctr">
                        <a:defRPr sz="600">
                          <a:latin typeface="Nexa Book"/>
                        </a:defRPr>
                      </a:pPr>
                      <a:r>
                        <a:rPr sz="600">
                          <a:latin typeface="Nexa Book"/>
                        </a:rPr>
                        <a:t>12272</a:t>
                      </a:r>
                    </a:p>
                  </a:txBody>
                  <a:tcPr marL="2858" marR="2858" marT="2858" marB="0" anchor="ctr">
                    <a:noFill/>
                  </a:tcPr>
                </a:tc>
                <a:tc>
                  <a:txBody>
                    <a:bodyPr/>
                    <a:lstStyle/>
                    <a:p>
                      <a:pPr algn="ctr">
                        <a:defRPr sz="600">
                          <a:latin typeface="Nexa Book"/>
                        </a:defRPr>
                      </a:pPr>
                      <a:r>
                        <a:rPr sz="600">
                          <a:latin typeface="Nexa Book"/>
                        </a:rPr>
                        <a:t>72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3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284.34</a:t>
                      </a:r>
                    </a:p>
                  </a:txBody>
                  <a:tcPr marL="2858" marR="2858" marT="2858" marB="0" anchor="ctr">
                    <a:noFill/>
                  </a:tcPr>
                </a:tc>
                <a:tc>
                  <a:txBody>
                    <a:bodyPr/>
                    <a:lstStyle/>
                    <a:p>
                      <a:pPr algn="ctr">
                        <a:defRPr sz="600">
                          <a:latin typeface="Nexa Book"/>
                        </a:defRPr>
                      </a:pPr>
                      <a:r>
                        <a:rPr sz="600">
                          <a:latin typeface="Nexa Book"/>
                        </a:rPr>
                        <a:t> 240.00</a:t>
                      </a:r>
                    </a:p>
                  </a:txBody>
                  <a:tcPr marL="2858" marR="2858" marT="2858" marB="0" anchor="ctr">
                    <a:noFill/>
                  </a:tcPr>
                </a:tc>
                <a:tc>
                  <a:txBody>
                    <a:bodyPr/>
                    <a:lstStyle/>
                    <a:p>
                      <a:pPr algn="ctr">
                        <a:defRPr sz="600">
                          <a:latin typeface="Nexa Book"/>
                        </a:defRPr>
                      </a:pPr>
                      <a:r>
                        <a:rPr sz="600">
                          <a:latin typeface="Nexa Book"/>
                        </a:rPr>
                        <a:t>19'920</a:t>
                      </a:r>
                    </a:p>
                  </a:txBody>
                  <a:tcPr marL="2858" marR="2858" marT="2858" marB="0" anchor="ctr">
                    <a:noFill/>
                  </a:tcPr>
                </a:tc>
                <a:tc>
                  <a:txBody>
                    <a:bodyPr/>
                    <a:lstStyle/>
                    <a:p>
                      <a:pPr algn="ctr">
                        <a:defRPr sz="600">
                          <a:latin typeface="Nexa Book"/>
                        </a:defRPr>
                      </a:pPr>
                      <a:r>
                        <a:rPr sz="600">
                          <a:latin typeface="Nexa Book"/>
                        </a:rPr>
                        <a:t>94%</a:t>
                      </a:r>
                    </a:p>
                  </a:txBody>
                  <a:tcPr marL="2858" marR="2858" marT="2858" marB="0" anchor="ctr">
                    <a:noFill/>
                  </a:tcPr>
                </a:tc>
                <a:tc>
                  <a:txBody>
                    <a:bodyPr/>
                    <a:lstStyle/>
                    <a:p>
                      <a:pPr algn="ctr">
                        <a:defRPr sz="600">
                          <a:latin typeface="Nexa Book"/>
                        </a:defRPr>
                      </a:pPr>
                      <a:r>
                        <a:rPr sz="600">
                          <a:latin typeface="Nexa Book"/>
                        </a:rPr>
                        <a:t>125%</a:t>
                      </a:r>
                    </a:p>
                  </a:txBody>
                  <a:tcPr marL="2858" marR="2858" marT="2858" marB="0" anchor="ctr">
                    <a:noFill/>
                  </a:tcPr>
                </a:tc>
                <a:tc>
                  <a:txBody>
                    <a:bodyPr/>
                    <a:lstStyle/>
                    <a:p>
                      <a:pPr algn="ctr">
                        <a:defRPr sz="600">
                          <a:latin typeface="Nexa Book"/>
                        </a:defRPr>
                      </a:pPr>
                      <a:r>
                        <a:rPr sz="600">
                          <a:latin typeface="Nexa Book"/>
                        </a:rPr>
                        <a:t>9940</a:t>
                      </a:r>
                    </a:p>
                  </a:txBody>
                  <a:tcPr marL="2858" marR="2858" marT="2858" marB="0" anchor="ctr">
                    <a:noFill/>
                  </a:tcPr>
                </a:tc>
                <a:tc>
                  <a:txBody>
                    <a:bodyPr/>
                    <a:lstStyle/>
                    <a:p>
                      <a:pPr algn="ctr">
                        <a:defRPr sz="600">
                          <a:latin typeface="Nexa Book"/>
                        </a:defRPr>
                      </a:pPr>
                      <a:r>
                        <a:rPr sz="600">
                          <a:latin typeface="Nexa Book"/>
                        </a:rPr>
                        <a:t>324%</a:t>
                      </a:r>
                    </a:p>
                  </a:txBody>
                  <a:tcPr marL="2858" marR="2858" marT="2858" marB="0" anchor="ctr">
                    <a:noFill/>
                  </a:tcPr>
                </a:tc>
                <a:tc>
                  <a:txBody>
                    <a:bodyPr/>
                    <a:lstStyle/>
                    <a:p>
                      <a:pPr algn="ctr">
                        <a:defRPr sz="600">
                          <a:latin typeface="Nexa Book"/>
                        </a:defRPr>
                      </a:pPr>
                      <a:r>
                        <a:rPr sz="600">
                          <a:latin typeface="Nexa Book"/>
                        </a:rPr>
                        <a:t>3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Roederer</a:t>
                      </a:r>
                    </a:p>
                  </a:txBody>
                  <a:tcPr marL="2858" marR="2858" marT="2858" marB="0" anchor="ctr">
                    <a:noFill/>
                  </a:tcPr>
                </a:tc>
                <a:tc>
                  <a:txBody>
                    <a:bodyPr/>
                    <a:lstStyle/>
                    <a:p>
                      <a:pPr algn="l">
                        <a:defRPr sz="600">
                          <a:latin typeface="Nexa Book"/>
                        </a:defRPr>
                      </a:pPr>
                      <a:r>
                        <a:rPr sz="600">
                          <a:latin typeface="Nexa Book"/>
                        </a:rPr>
                        <a:t>ROEDERER CRISTAL BRUT 2016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349.12</a:t>
                      </a:r>
                    </a:p>
                  </a:txBody>
                  <a:tcPr marL="2858" marR="2858" marT="2858" marB="0" anchor="ctr">
                    <a:noFill/>
                  </a:tcPr>
                </a:tc>
                <a:tc>
                  <a:txBody>
                    <a:bodyPr/>
                    <a:lstStyle/>
                    <a:p>
                      <a:pPr algn="ctr">
                        <a:defRPr sz="600">
                          <a:latin typeface="Nexa Book"/>
                        </a:defRPr>
                      </a:pPr>
                      <a:r>
                        <a:rPr sz="600">
                          <a:latin typeface="Nexa Book"/>
                        </a:rPr>
                        <a:t> 278.95</a:t>
                      </a:r>
                    </a:p>
                  </a:txBody>
                  <a:tcPr marL="2858" marR="2858" marT="2858" marB="0" anchor="ctr">
                    <a:noFill/>
                  </a:tcPr>
                </a:tc>
                <a:tc>
                  <a:txBody>
                    <a:bodyPr/>
                    <a:lstStyle/>
                    <a:p>
                      <a:pPr algn="ctr">
                        <a:defRPr sz="600">
                          <a:latin typeface="Nexa Book"/>
                        </a:defRPr>
                      </a:pPr>
                      <a:r>
                        <a:rPr sz="600">
                          <a:latin typeface="Nexa Book"/>
                        </a:rPr>
                        <a:t>10'879</a:t>
                      </a:r>
                    </a:p>
                  </a:txBody>
                  <a:tcPr marL="2858" marR="2858" marT="2858" marB="0" anchor="ctr">
                    <a:noFill/>
                  </a:tcPr>
                </a:tc>
                <a:tc>
                  <a:txBody>
                    <a:bodyPr/>
                    <a:lstStyle/>
                    <a:p>
                      <a:pPr algn="ctr">
                        <a:defRPr sz="600">
                          <a:latin typeface="Nexa Book"/>
                        </a:defRPr>
                      </a:pPr>
                      <a:r>
                        <a:rPr sz="600">
                          <a:latin typeface="Nexa Book"/>
                        </a:rPr>
                        <a:t>469%</a:t>
                      </a:r>
                    </a:p>
                  </a:txBody>
                  <a:tcPr marL="2858" marR="2858" marT="2858" marB="0" anchor="ctr">
                    <a:noFill/>
                  </a:tcPr>
                </a:tc>
                <a:tc>
                  <a:txBody>
                    <a:bodyPr/>
                    <a:lstStyle/>
                    <a:p>
                      <a:pPr algn="ctr">
                        <a:defRPr sz="600">
                          <a:latin typeface="Nexa Book"/>
                        </a:defRPr>
                      </a:pPr>
                      <a:r>
                        <a:rPr sz="600">
                          <a:latin typeface="Nexa Book"/>
                        </a:rPr>
                        <a:t>650%</a:t>
                      </a:r>
                    </a:p>
                  </a:txBody>
                  <a:tcPr marL="2858" marR="2858" marT="2858" marB="0" anchor="ctr">
                    <a:noFill/>
                  </a:tcPr>
                </a:tc>
                <a:tc>
                  <a:txBody>
                    <a:bodyPr/>
                    <a:lstStyle/>
                    <a:p>
                      <a:pPr algn="ctr">
                        <a:defRPr sz="600">
                          <a:latin typeface="Nexa Book"/>
                        </a:defRPr>
                      </a:pPr>
                      <a:r>
                        <a:rPr sz="600">
                          <a:latin typeface="Nexa Book"/>
                        </a:rPr>
                        <a:t>9699</a:t>
                      </a:r>
                    </a:p>
                  </a:txBody>
                  <a:tcPr marL="2858" marR="2858" marT="2858" marB="0" anchor="ctr">
                    <a:noFill/>
                  </a:tcPr>
                </a:tc>
                <a:tc>
                  <a:txBody>
                    <a:bodyPr/>
                    <a:lstStyle/>
                    <a:p>
                      <a:pPr algn="ctr">
                        <a:defRPr sz="600">
                          <a:latin typeface="Nexa Book"/>
                        </a:defRPr>
                      </a:pPr>
                      <a:r>
                        <a:rPr sz="600">
                          <a:latin typeface="Nexa Book"/>
                        </a:rPr>
                        <a:t>237%</a:t>
                      </a:r>
                    </a:p>
                  </a:txBody>
                  <a:tcPr marL="2858" marR="2858" marT="2858" marB="0" anchor="ctr">
                    <a:noFill/>
                  </a:tcPr>
                </a:tc>
                <a:tc>
                  <a:txBody>
                    <a:bodyPr/>
                    <a:lstStyle/>
                    <a:p>
                      <a:pPr algn="ctr">
                        <a:defRPr sz="600">
                          <a:latin typeface="Nexa Book"/>
                        </a:defRPr>
                      </a:pPr>
                      <a:r>
                        <a:rPr sz="600">
                          <a:latin typeface="Nexa Book"/>
                        </a:rPr>
                        <a:t>3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94181837"/>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Bourgogne | NICOLAS QC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14.79</a:t>
                      </a:r>
                    </a:p>
                  </a:txBody>
                  <a:tcPr marL="2858" marR="2858" marT="2858" marB="0" anchor="ctr">
                    <a:noFill/>
                  </a:tcPr>
                </a:tc>
                <a:tc>
                  <a:txBody>
                    <a:bodyPr/>
                    <a:lstStyle/>
                    <a:p>
                      <a:pPr algn="ctr">
                        <a:defRPr sz="600">
                          <a:latin typeface="Nexa Book"/>
                        </a:defRPr>
                      </a:pPr>
                      <a:r>
                        <a:rPr sz="600">
                          <a:latin typeface="Nexa Book"/>
                        </a:rPr>
                        <a:t> 11.15</a:t>
                      </a:r>
                    </a:p>
                  </a:txBody>
                  <a:tcPr marL="2858" marR="2858" marT="2858" marB="0" anchor="ctr">
                    <a:noFill/>
                  </a:tcPr>
                </a:tc>
                <a:tc>
                  <a:txBody>
                    <a:bodyPr/>
                    <a:lstStyle/>
                    <a:p>
                      <a:pPr algn="ctr">
                        <a:defRPr sz="600">
                          <a:latin typeface="Nexa Book"/>
                        </a:defRPr>
                      </a:pPr>
                      <a:r>
                        <a:rPr sz="600">
                          <a:latin typeface="Nexa Book"/>
                        </a:rPr>
                        <a:t>15'794</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r>
                        <a:rPr sz="600">
                          <a:latin typeface="Nexa Book"/>
                        </a:rPr>
                        <a:t>113%</a:t>
                      </a:r>
                    </a:p>
                  </a:txBody>
                  <a:tcPr marL="2858" marR="2858" marT="2858" marB="0" anchor="ctr">
                    <a:noFill/>
                  </a:tcPr>
                </a:tc>
                <a:tc>
                  <a:txBody>
                    <a:bodyPr/>
                    <a:lstStyle/>
                    <a:p>
                      <a:pPr algn="ctr">
                        <a:defRPr sz="600">
                          <a:latin typeface="Nexa Book"/>
                        </a:defRPr>
                      </a:pPr>
                      <a:r>
                        <a:rPr sz="600">
                          <a:latin typeface="Nexa Book"/>
                        </a:rPr>
                        <a:t>7166</a:t>
                      </a:r>
                    </a:p>
                  </a:txBody>
                  <a:tcPr marL="2858" marR="2858" marT="2858" marB="0" anchor="ctr">
                    <a:noFill/>
                  </a:tcPr>
                </a:tc>
                <a:tc>
                  <a:txBody>
                    <a:bodyPr/>
                    <a:lstStyle/>
                    <a:p>
                      <a:pPr algn="ctr">
                        <a:defRPr sz="600">
                          <a:latin typeface="Nexa Book"/>
                        </a:defRPr>
                      </a:pPr>
                      <a:r>
                        <a:rPr sz="600">
                          <a:latin typeface="Nexa Book"/>
                        </a:rPr>
                        <a:t>137%</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56013197"/>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NICOLAS CCP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33.58</a:t>
                      </a:r>
                    </a:p>
                  </a:txBody>
                  <a:tcPr marL="2858" marR="2858" marT="2858" marB="0" anchor="ctr">
                    <a:noFill/>
                  </a:tcPr>
                </a:tc>
                <a:tc>
                  <a:txBody>
                    <a:bodyPr/>
                    <a:lstStyle/>
                    <a:p>
                      <a:pPr algn="ctr">
                        <a:defRPr sz="600">
                          <a:latin typeface="Nexa Book"/>
                        </a:defRPr>
                      </a:pPr>
                      <a:r>
                        <a:rPr sz="600">
                          <a:latin typeface="Nexa Book"/>
                        </a:rPr>
                        <a:t> 29.39</a:t>
                      </a:r>
                    </a:p>
                  </a:txBody>
                  <a:tcPr marL="2858" marR="2858" marT="2858" marB="0" anchor="ctr">
                    <a:noFill/>
                  </a:tcPr>
                </a:tc>
                <a:tc>
                  <a:txBody>
                    <a:bodyPr/>
                    <a:lstStyle/>
                    <a:p>
                      <a:pPr algn="ctr">
                        <a:defRPr sz="600">
                          <a:latin typeface="Nexa Book"/>
                        </a:defRPr>
                      </a:pPr>
                      <a:r>
                        <a:rPr sz="600">
                          <a:latin typeface="Nexa Book"/>
                        </a:rPr>
                        <a:t>51'07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10%</a:t>
                      </a:r>
                    </a:p>
                  </a:txBody>
                  <a:tcPr marL="2858" marR="2858" marT="2858" marB="0" anchor="ctr">
                    <a:noFill/>
                  </a:tcPr>
                </a:tc>
                <a:tc>
                  <a:txBody>
                    <a:bodyPr/>
                    <a:lstStyle/>
                    <a:p>
                      <a:pPr algn="ctr">
                        <a:defRPr sz="600">
                          <a:latin typeface="Nexa Book"/>
                        </a:defRPr>
                      </a:pPr>
                      <a:r>
                        <a:rPr sz="600">
                          <a:latin typeface="Nexa Book"/>
                        </a:rPr>
                        <a:t>32078</a:t>
                      </a:r>
                    </a:p>
                  </a:txBody>
                  <a:tcPr marL="2858" marR="2858" marT="2858" marB="0" anchor="ctr">
                    <a:noFill/>
                  </a:tcPr>
                </a:tc>
                <a:tc>
                  <a:txBody>
                    <a:bodyPr/>
                    <a:lstStyle/>
                    <a:p>
                      <a:pPr algn="ctr">
                        <a:defRPr sz="600">
                          <a:latin typeface="Nexa Book"/>
                        </a:defRPr>
                      </a:pPr>
                      <a:r>
                        <a:rPr sz="600">
                          <a:latin typeface="Nexa Book"/>
                        </a:rPr>
                        <a:t>44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73859347"/>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illesimes | NICOLAS CCP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5 1CT X 750ML</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275.66</a:t>
                      </a:r>
                    </a:p>
                  </a:txBody>
                  <a:tcPr marL="2858" marR="2858" marT="2858" marB="0" anchor="ctr">
                    <a:noFill/>
                  </a:tcPr>
                </a:tc>
                <a:tc>
                  <a:txBody>
                    <a:bodyPr/>
                    <a:lstStyle/>
                    <a:p>
                      <a:pPr algn="ctr">
                        <a:defRPr sz="600">
                          <a:latin typeface="Nexa Book"/>
                        </a:defRPr>
                      </a:pPr>
                      <a:r>
                        <a:rPr sz="600">
                          <a:latin typeface="Nexa Book"/>
                        </a:rPr>
                        <a:t> 240.02</a:t>
                      </a:r>
                    </a:p>
                  </a:txBody>
                  <a:tcPr marL="2858" marR="2858" marT="2858" marB="0" anchor="ctr">
                    <a:noFill/>
                  </a:tcPr>
                </a:tc>
                <a:tc>
                  <a:txBody>
                    <a:bodyPr/>
                    <a:lstStyle/>
                    <a:p>
                      <a:pPr algn="ctr">
                        <a:defRPr sz="600">
                          <a:latin typeface="Nexa Book"/>
                        </a:defRPr>
                      </a:pPr>
                      <a:r>
                        <a:rPr sz="600">
                          <a:latin typeface="Nexa Book"/>
                        </a:rPr>
                        <a:t>13'921</a:t>
                      </a:r>
                    </a:p>
                  </a:txBody>
                  <a:tcPr marL="2858" marR="2858" marT="2858" marB="0" anchor="ctr">
                    <a:noFill/>
                  </a:tcPr>
                </a:tc>
                <a:tc>
                  <a:txBody>
                    <a:bodyPr/>
                    <a:lstStyle/>
                    <a:p>
                      <a:pPr algn="ctr">
                        <a:defRPr sz="600">
                          <a:latin typeface="Nexa Book"/>
                        </a:defRPr>
                      </a:pPr>
                      <a:r>
                        <a:rPr sz="600">
                          <a:latin typeface="Nexa Book"/>
                        </a:rPr>
                        <a:t>256%</a:t>
                      </a:r>
                    </a:p>
                  </a:txBody>
                  <a:tcPr marL="2858" marR="2858" marT="2858" marB="0" anchor="ctr">
                    <a:noFill/>
                  </a:tcPr>
                </a:tc>
                <a:tc>
                  <a:txBody>
                    <a:bodyPr/>
                    <a:lstStyle/>
                    <a:p>
                      <a:pPr algn="ctr">
                        <a:defRPr sz="600">
                          <a:latin typeface="Nexa Book"/>
                        </a:defRPr>
                      </a:pPr>
                      <a:r>
                        <a:rPr sz="600">
                          <a:latin typeface="Nexa Book"/>
                        </a:rPr>
                        <a:t>475%</a:t>
                      </a:r>
                    </a:p>
                  </a:txBody>
                  <a:tcPr marL="2858" marR="2858" marT="2858" marB="0" anchor="ctr">
                    <a:noFill/>
                  </a:tcPr>
                </a:tc>
                <a:tc>
                  <a:txBody>
                    <a:bodyPr/>
                    <a:lstStyle/>
                    <a:p>
                      <a:pPr algn="ctr">
                        <a:defRPr sz="600">
                          <a:latin typeface="Nexa Book"/>
                        </a:defRPr>
                      </a:pPr>
                      <a:r>
                        <a:rPr sz="600">
                          <a:latin typeface="Nexa Book"/>
                        </a:rPr>
                        <a:t>10216</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3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3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0%</a:t>
                      </a:r>
                    </a:p>
                  </a:txBody>
                  <a:tcPr marL="2858" marR="2858" marT="2858" marB="0" anchor="ctr">
                    <a:noFill/>
                  </a:tcPr>
                </a:tc>
                <a:tc>
                  <a:txBody>
                    <a:bodyPr/>
                    <a:lstStyle/>
                    <a:p>
                      <a:pPr algn="ctr">
                        <a:defRPr sz="600">
                          <a:latin typeface="Nexa Book"/>
                        </a:defRPr>
                      </a:pPr>
                      <a:r>
                        <a:rPr sz="600">
                          <a:latin typeface="Nexa Book"/>
                        </a:rPr>
                        <a:t> 285.14</a:t>
                      </a:r>
                    </a:p>
                  </a:txBody>
                  <a:tcPr marL="2858" marR="2858" marT="2858" marB="0" anchor="ctr">
                    <a:noFill/>
                  </a:tcPr>
                </a:tc>
                <a:tc>
                  <a:txBody>
                    <a:bodyPr/>
                    <a:lstStyle/>
                    <a:p>
                      <a:pPr algn="ctr">
                        <a:defRPr sz="600">
                          <a:latin typeface="Nexa Book"/>
                        </a:defRPr>
                      </a:pPr>
                      <a:r>
                        <a:rPr sz="600">
                          <a:latin typeface="Nexa Book"/>
                        </a:rPr>
                        <a:t> 239.45</a:t>
                      </a:r>
                    </a:p>
                  </a:txBody>
                  <a:tcPr marL="2858" marR="2858" marT="2858" marB="0" anchor="ctr">
                    <a:noFill/>
                  </a:tcPr>
                </a:tc>
                <a:tc>
                  <a:txBody>
                    <a:bodyPr/>
                    <a:lstStyle/>
                    <a:p>
                      <a:pPr algn="ctr">
                        <a:defRPr sz="600">
                          <a:latin typeface="Nexa Book"/>
                        </a:defRPr>
                      </a:pPr>
                      <a:r>
                        <a:rPr sz="600">
                          <a:latin typeface="Nexa Book"/>
                        </a:rPr>
                        <a:t>10'536</a:t>
                      </a:r>
                    </a:p>
                  </a:txBody>
                  <a:tcPr marL="2858" marR="2858" marT="2858" marB="0" anchor="ctr">
                    <a:noFill/>
                  </a:tcPr>
                </a:tc>
                <a:tc>
                  <a:txBody>
                    <a:bodyPr/>
                    <a:lstStyle/>
                    <a:p>
                      <a:pPr algn="ctr">
                        <a:defRPr sz="600">
                          <a:latin typeface="Nexa Book"/>
                        </a:defRPr>
                      </a:pPr>
                      <a:r>
                        <a:rPr sz="600">
                          <a:latin typeface="Nexa Book"/>
                        </a:rPr>
                        <a:t>105%</a:t>
                      </a:r>
                    </a:p>
                  </a:txBody>
                  <a:tcPr marL="2858" marR="2858" marT="2858" marB="0" anchor="ctr">
                    <a:noFill/>
                  </a:tcPr>
                </a:tc>
                <a:tc>
                  <a:txBody>
                    <a:bodyPr/>
                    <a:lstStyle/>
                    <a:p>
                      <a:pPr algn="ctr">
                        <a:defRPr sz="600">
                          <a:latin typeface="Nexa Book"/>
                        </a:defRPr>
                      </a:pPr>
                      <a:r>
                        <a:rPr sz="600">
                          <a:latin typeface="Nexa Book"/>
                        </a:rPr>
                        <a:t>136%</a:t>
                      </a:r>
                    </a:p>
                  </a:txBody>
                  <a:tcPr marL="2858" marR="2858" marT="2858" marB="0" anchor="ctr">
                    <a:noFill/>
                  </a:tcPr>
                </a:tc>
                <a:tc>
                  <a:txBody>
                    <a:bodyPr/>
                    <a:lstStyle/>
                    <a:p>
                      <a:pPr algn="ctr">
                        <a:defRPr sz="600">
                          <a:latin typeface="Nexa Book"/>
                        </a:defRPr>
                      </a:pPr>
                      <a:r>
                        <a:rPr sz="600">
                          <a:latin typeface="Nexa Book"/>
                        </a:rPr>
                        <a:t>5404</a:t>
                      </a:r>
                    </a:p>
                  </a:txBody>
                  <a:tcPr marL="2858" marR="2858" marT="2858" marB="0" anchor="ctr">
                    <a:noFill/>
                  </a:tcPr>
                </a:tc>
                <a:tc>
                  <a:txBody>
                    <a:bodyPr/>
                    <a:lstStyle/>
                    <a:p>
                      <a:pPr algn="ctr">
                        <a:defRPr sz="600">
                          <a:latin typeface="Nexa Book"/>
                        </a:defRPr>
                      </a:pPr>
                      <a:r>
                        <a:rPr sz="600">
                          <a:latin typeface="Nexa Book"/>
                        </a:rPr>
                        <a:t>346%</a:t>
                      </a:r>
                    </a:p>
                  </a:txBody>
                  <a:tcPr marL="2858" marR="2858" marT="2858" marB="0" anchor="ctr">
                    <a:noFill/>
                  </a:tcPr>
                </a:tc>
                <a:tc>
                  <a:txBody>
                    <a:bodyPr/>
                    <a:lstStyle/>
                    <a:p>
                      <a:pPr algn="ctr">
                        <a:defRPr sz="600">
                          <a:latin typeface="Nexa Book"/>
                        </a:defRPr>
                      </a:pPr>
                      <a:r>
                        <a:rPr sz="600">
                          <a:latin typeface="Nexa Book"/>
                        </a:rPr>
                        <a:t>3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BRUT MILLESIME 2015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6.00</a:t>
                      </a:r>
                    </a:p>
                  </a:txBody>
                  <a:tcPr marL="2858" marR="2858" marT="2858" marB="0" anchor="ctr">
                    <a:noFill/>
                  </a:tcPr>
                </a:tc>
                <a:tc>
                  <a:txBody>
                    <a:bodyPr/>
                    <a:lstStyle/>
                    <a:p>
                      <a:pPr algn="ctr">
                        <a:defRPr sz="600">
                          <a:latin typeface="Nexa Book"/>
                        </a:defRPr>
                      </a:pPr>
                      <a:r>
                        <a:rPr sz="600">
                          <a:latin typeface="Nexa Book"/>
                        </a:rPr>
                        <a:t>3'96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2280</a:t>
                      </a:r>
                    </a:p>
                  </a:txBody>
                  <a:tcPr marL="2858" marR="2858" marT="2858" marB="0" anchor="ctr">
                    <a:noFill/>
                  </a:tcPr>
                </a:tc>
                <a:tc>
                  <a:txBody>
                    <a:bodyPr/>
                    <a:lstStyle/>
                    <a:p>
                      <a:pPr algn="ctr">
                        <a:defRPr sz="600">
                          <a:latin typeface="Nexa Book"/>
                        </a:defRPr>
                      </a:pPr>
                      <a:r>
                        <a:rPr sz="600">
                          <a:latin typeface="Nexa Book"/>
                        </a:rPr>
                        <a:t>545%</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Roederer</a:t>
                      </a:r>
                    </a:p>
                  </a:txBody>
                  <a:tcPr marL="2858" marR="2858" marT="2858" marB="0" anchor="ctr">
                    <a:noFill/>
                  </a:tcPr>
                </a:tc>
                <a:tc>
                  <a:txBody>
                    <a:bodyPr/>
                    <a:lstStyle/>
                    <a:p>
                      <a:pPr algn="l">
                        <a:defRPr sz="600">
                          <a:latin typeface="Nexa Book"/>
                        </a:defRPr>
                      </a:pPr>
                      <a:r>
                        <a:rPr sz="600">
                          <a:latin typeface="Nexa Book"/>
                        </a:rPr>
                        <a:t>ROEDERER BRUT 2015 1CT X 750ML</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 91.28</a:t>
                      </a:r>
                    </a:p>
                  </a:txBody>
                  <a:tcPr marL="2858" marR="2858" marT="2858" marB="0" anchor="ctr">
                    <a:noFill/>
                  </a:tcPr>
                </a:tc>
                <a:tc>
                  <a:txBody>
                    <a:bodyPr/>
                    <a:lstStyle/>
                    <a:p>
                      <a:pPr algn="ctr">
                        <a:defRPr sz="600">
                          <a:latin typeface="Nexa Book"/>
                        </a:defRPr>
                      </a:pPr>
                      <a:r>
                        <a:rPr sz="600">
                          <a:latin typeface="Nexa Book"/>
                        </a:rPr>
                        <a:t> 81.35</a:t>
                      </a:r>
                    </a:p>
                  </a:txBody>
                  <a:tcPr marL="2858" marR="2858" marT="2858" marB="0" anchor="ctr">
                    <a:noFill/>
                  </a:tcPr>
                </a:tc>
                <a:tc>
                  <a:txBody>
                    <a:bodyPr/>
                    <a:lstStyle/>
                    <a:p>
                      <a:pPr algn="ctr">
                        <a:defRPr sz="600">
                          <a:latin typeface="Nexa Book"/>
                        </a:defRPr>
                      </a:pPr>
                      <a:r>
                        <a:rPr sz="600">
                          <a:latin typeface="Nexa Book"/>
                        </a:rPr>
                        <a:t>2'766</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r>
                        <a:rPr sz="600">
                          <a:latin typeface="Nexa Book"/>
                        </a:rPr>
                        <a:t>170%</a:t>
                      </a:r>
                    </a:p>
                  </a:txBody>
                  <a:tcPr marL="2858" marR="2858" marT="2858" marB="0" anchor="ctr">
                    <a:noFill/>
                  </a:tcPr>
                </a:tc>
                <a:tc>
                  <a:txBody>
                    <a:bodyPr/>
                    <a:lstStyle/>
                    <a:p>
                      <a:pPr algn="ctr">
                        <a:defRPr sz="600">
                          <a:latin typeface="Nexa Book"/>
                        </a:defRPr>
                      </a:pPr>
                      <a:r>
                        <a:rPr sz="600">
                          <a:latin typeface="Nexa Book"/>
                        </a:rPr>
                        <a:t>1489</a:t>
                      </a:r>
                    </a:p>
                  </a:txBody>
                  <a:tcPr marL="2858" marR="2858" marT="2858" marB="0" anchor="ctr">
                    <a:noFill/>
                  </a:tcPr>
                </a:tc>
                <a:tc>
                  <a:txBody>
                    <a:bodyPr/>
                    <a:lstStyle/>
                    <a:p>
                      <a:pPr algn="ctr">
                        <a:defRPr sz="600">
                          <a:latin typeface="Nexa Book"/>
                        </a:defRPr>
                      </a:pPr>
                      <a:r>
                        <a:rPr sz="600">
                          <a:latin typeface="Nexa Book"/>
                        </a:rPr>
                        <a:t>188%</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080251221"/>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lanc De Blanc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GRAND CRU BLC DE BLANCS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38.14</a:t>
                      </a:r>
                    </a:p>
                  </a:txBody>
                  <a:tcPr marL="2858" marR="2858" marT="2858" marB="0" anchor="ctr">
                    <a:noFill/>
                  </a:tcPr>
                </a:tc>
                <a:tc>
                  <a:txBody>
                    <a:bodyPr/>
                    <a:lstStyle/>
                    <a:p>
                      <a:pPr algn="ctr">
                        <a:defRPr sz="600">
                          <a:latin typeface="Nexa Book"/>
                        </a:defRPr>
                      </a:pPr>
                      <a:r>
                        <a:rPr sz="600">
                          <a:latin typeface="Nexa Book"/>
                        </a:rPr>
                        <a:t> 34.24</a:t>
                      </a:r>
                    </a:p>
                  </a:txBody>
                  <a:tcPr marL="2858" marR="2858" marT="2858" marB="0" anchor="ctr">
                    <a:noFill/>
                  </a:tcPr>
                </a:tc>
                <a:tc>
                  <a:txBody>
                    <a:bodyPr/>
                    <a:lstStyle/>
                    <a:p>
                      <a:pPr algn="ctr">
                        <a:defRPr sz="600">
                          <a:latin typeface="Nexa Book"/>
                        </a:defRPr>
                      </a:pPr>
                      <a:r>
                        <a:rPr sz="600">
                          <a:latin typeface="Nexa Book"/>
                        </a:rPr>
                        <a:t>216'977</a:t>
                      </a:r>
                    </a:p>
                  </a:txBody>
                  <a:tcPr marL="2858" marR="2858" marT="2858" marB="0" anchor="ctr">
                    <a:noFill/>
                  </a:tcPr>
                </a:tc>
                <a:tc>
                  <a:txBody>
                    <a:bodyPr/>
                    <a:lstStyle/>
                    <a:p>
                      <a:pPr algn="ctr">
                        <a:defRPr sz="600">
                          <a:latin typeface="Nexa Book"/>
                        </a:defRPr>
                      </a:pPr>
                      <a:r>
                        <a:rPr sz="600">
                          <a:latin typeface="Nexa Book"/>
                        </a:rPr>
                        <a:t>125%</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r>
                        <a:rPr sz="600">
                          <a:latin typeface="Nexa Book"/>
                        </a:rPr>
                        <a:t>128384</a:t>
                      </a:r>
                    </a:p>
                  </a:txBody>
                  <a:tcPr marL="2858" marR="2858" marT="2858" marB="0" anchor="ctr">
                    <a:noFill/>
                  </a:tcPr>
                </a:tc>
                <a:tc>
                  <a:txBody>
                    <a:bodyPr/>
                    <a:lstStyle/>
                    <a:p>
                      <a:pPr algn="ctr">
                        <a:defRPr sz="600">
                          <a:latin typeface="Nexa Book"/>
                        </a:defRPr>
                      </a:pPr>
                      <a:r>
                        <a:rPr sz="600">
                          <a:latin typeface="Nexa Book"/>
                        </a:rPr>
                        <a:t>517%</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LANC DE BLANCS ETUI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52.00</a:t>
                      </a:r>
                    </a:p>
                  </a:txBody>
                  <a:tcPr marL="2858" marR="2858" marT="2858" marB="0" anchor="ctr">
                    <a:noFill/>
                  </a:tcPr>
                </a:tc>
                <a:tc>
                  <a:txBody>
                    <a:bodyPr/>
                    <a:lstStyle/>
                    <a:p>
                      <a:pPr algn="ctr">
                        <a:defRPr sz="600">
                          <a:latin typeface="Nexa Book"/>
                        </a:defRPr>
                      </a:pPr>
                      <a:r>
                        <a:rPr sz="600">
                          <a:latin typeface="Nexa Book"/>
                        </a:rPr>
                        <a:t> 44.10</a:t>
                      </a:r>
                    </a:p>
                  </a:txBody>
                  <a:tcPr marL="2858" marR="2858" marT="2858" marB="0" anchor="ctr">
                    <a:noFill/>
                  </a:tcPr>
                </a:tc>
                <a:tc>
                  <a:txBody>
                    <a:bodyPr/>
                    <a:lstStyle/>
                    <a:p>
                      <a:pPr algn="ctr">
                        <a:defRPr sz="600">
                          <a:latin typeface="Nexa Book"/>
                        </a:defRPr>
                      </a:pPr>
                      <a:r>
                        <a:rPr sz="600">
                          <a:latin typeface="Nexa Book"/>
                        </a:rPr>
                        <a:t>76'780</a:t>
                      </a:r>
                    </a:p>
                  </a:txBody>
                  <a:tcPr marL="2858" marR="2858" marT="2858" marB="0" anchor="ctr">
                    <a:noFill/>
                  </a:tcPr>
                </a:tc>
                <a:tc>
                  <a:txBody>
                    <a:bodyPr/>
                    <a:lstStyle/>
                    <a:p>
                      <a:pPr algn="ctr">
                        <a:defRPr sz="600">
                          <a:latin typeface="Nexa Book"/>
                        </a:defRPr>
                      </a:pPr>
                      <a:r>
                        <a:rPr sz="600">
                          <a:latin typeface="Nexa Book"/>
                        </a:rPr>
                        <a:t>298%</a:t>
                      </a:r>
                    </a:p>
                  </a:txBody>
                  <a:tcPr marL="2858" marR="2858" marT="2858" marB="0" anchor="ctr">
                    <a:noFill/>
                  </a:tcPr>
                </a:tc>
                <a:tc>
                  <a:txBody>
                    <a:bodyPr/>
                    <a:lstStyle/>
                    <a:p>
                      <a:pPr algn="ctr">
                        <a:defRPr sz="600">
                          <a:latin typeface="Nexa Book"/>
                        </a:defRPr>
                      </a:pPr>
                      <a:r>
                        <a:rPr sz="600">
                          <a:latin typeface="Nexa Book"/>
                        </a:rPr>
                        <a:t>358%</a:t>
                      </a:r>
                    </a:p>
                  </a:txBody>
                  <a:tcPr marL="2858" marR="2858" marT="2858" marB="0" anchor="ctr">
                    <a:noFill/>
                  </a:tcPr>
                </a:tc>
                <a:tc>
                  <a:txBody>
                    <a:bodyPr/>
                    <a:lstStyle/>
                    <a:p>
                      <a:pPr algn="ctr">
                        <a:defRPr sz="600">
                          <a:latin typeface="Nexa Book"/>
                        </a:defRPr>
                      </a:pPr>
                      <a:r>
                        <a:rPr sz="600">
                          <a:latin typeface="Nexa Book"/>
                        </a:rPr>
                        <a:t>62685</a:t>
                      </a:r>
                    </a:p>
                  </a:txBody>
                  <a:tcPr marL="2858" marR="2858" marT="2858" marB="0" anchor="ctr">
                    <a:noFill/>
                  </a:tcPr>
                </a:tc>
                <a:tc>
                  <a:txBody>
                    <a:bodyPr/>
                    <a:lstStyle/>
                    <a:p>
                      <a:pPr algn="ctr">
                        <a:defRPr sz="600">
                          <a:latin typeface="Nexa Book"/>
                        </a:defRPr>
                      </a:pPr>
                      <a:r>
                        <a:rPr sz="600">
                          <a:latin typeface="Nexa Book"/>
                        </a:rPr>
                        <a:t>458%</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LANC DE BLANCS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 52.00</a:t>
                      </a:r>
                    </a:p>
                  </a:txBody>
                  <a:tcPr marL="2858" marR="2858" marT="2858" marB="0" anchor="ctr">
                    <a:noFill/>
                  </a:tcPr>
                </a:tc>
                <a:tc>
                  <a:txBody>
                    <a:bodyPr/>
                    <a:lstStyle/>
                    <a:p>
                      <a:pPr algn="ctr">
                        <a:defRPr sz="600">
                          <a:latin typeface="Nexa Book"/>
                        </a:defRPr>
                      </a:pPr>
                      <a:r>
                        <a:rPr sz="600">
                          <a:latin typeface="Nexa Book"/>
                        </a:rPr>
                        <a:t> 44.10</a:t>
                      </a:r>
                    </a:p>
                  </a:txBody>
                  <a:tcPr marL="2858" marR="2858" marT="2858" marB="0" anchor="ctr">
                    <a:noFill/>
                  </a:tcPr>
                </a:tc>
                <a:tc>
                  <a:txBody>
                    <a:bodyPr/>
                    <a:lstStyle/>
                    <a:p>
                      <a:pPr algn="ctr">
                        <a:defRPr sz="600">
                          <a:latin typeface="Nexa Book"/>
                        </a:defRPr>
                      </a:pPr>
                      <a:r>
                        <a:rPr sz="600">
                          <a:latin typeface="Nexa Book"/>
                        </a:rPr>
                        <a:t>54'943</a:t>
                      </a:r>
                    </a:p>
                  </a:txBody>
                  <a:tcPr marL="2858" marR="2858" marT="2858" marB="0" anchor="ctr">
                    <a:noFill/>
                  </a:tcPr>
                </a:tc>
                <a:tc>
                  <a:txBody>
                    <a:bodyPr/>
                    <a:lstStyle/>
                    <a:p>
                      <a:pPr algn="ctr">
                        <a:defRPr sz="600">
                          <a:latin typeface="Nexa Book"/>
                        </a:defRPr>
                      </a:pPr>
                      <a:r>
                        <a:rPr sz="600">
                          <a:latin typeface="Nexa Book"/>
                        </a:rPr>
                        <a:t>166%</a:t>
                      </a:r>
                    </a:p>
                  </a:txBody>
                  <a:tcPr marL="2858" marR="2858" marT="2858" marB="0" anchor="ctr">
                    <a:noFill/>
                  </a:tcPr>
                </a:tc>
                <a:tc>
                  <a:txBody>
                    <a:bodyPr/>
                    <a:lstStyle/>
                    <a:p>
                      <a:pPr algn="ctr">
                        <a:defRPr sz="600">
                          <a:latin typeface="Nexa Book"/>
                        </a:defRPr>
                      </a:pPr>
                      <a:r>
                        <a:rPr sz="600">
                          <a:latin typeface="Nexa Book"/>
                        </a:rPr>
                        <a:t>208%</a:t>
                      </a:r>
                    </a:p>
                  </a:txBody>
                  <a:tcPr marL="2858" marR="2858" marT="2858" marB="0" anchor="ctr">
                    <a:noFill/>
                  </a:tcPr>
                </a:tc>
                <a:tc>
                  <a:txBody>
                    <a:bodyPr/>
                    <a:lstStyle/>
                    <a:p>
                      <a:pPr algn="ctr">
                        <a:defRPr sz="600">
                          <a:latin typeface="Nexa Book"/>
                        </a:defRPr>
                      </a:pPr>
                      <a:r>
                        <a:rPr sz="600">
                          <a:latin typeface="Nexa Book"/>
                        </a:rPr>
                        <a:t>35904</a:t>
                      </a:r>
                    </a:p>
                  </a:txBody>
                  <a:tcPr marL="2858" marR="2858" marT="2858" marB="0" anchor="ctr">
                    <a:noFill/>
                  </a:tcPr>
                </a:tc>
                <a:tc>
                  <a:txBody>
                    <a:bodyPr/>
                    <a:lstStyle/>
                    <a:p>
                      <a:pPr algn="ctr">
                        <a:defRPr sz="600">
                          <a:latin typeface="Nexa Book"/>
                        </a:defRPr>
                      </a:pPr>
                      <a:r>
                        <a:rPr sz="600">
                          <a:latin typeface="Nexa Book"/>
                        </a:rPr>
                        <a:t>392%</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202885728"/>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rut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65"/>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90665">
                <a:tc>
                  <a:txBody>
                    <a:bodyPr/>
                    <a:lstStyle/>
                    <a:p>
                      <a:pPr algn="l">
                        <a:defRPr sz="600">
                          <a:latin typeface="Nexa Book"/>
                        </a:defRPr>
                      </a:pPr>
                      <a:r>
                        <a:rPr sz="600">
                          <a:latin typeface="Nexa Book"/>
                        </a:rPr>
                        <a:t>Heidsieck &amp; Co Monopole</a:t>
                      </a:r>
                    </a:p>
                  </a:txBody>
                  <a:tcPr marL="2858" marR="2858" marT="2858" marB="0" anchor="ctr">
                    <a:noFill/>
                  </a:tcPr>
                </a:tc>
                <a:tc>
                  <a:txBody>
                    <a:bodyPr/>
                    <a:lstStyle/>
                    <a:p>
                      <a:pPr algn="l">
                        <a:defRPr sz="600">
                          <a:latin typeface="Nexa Book"/>
                        </a:defRPr>
                      </a:pPr>
                      <a:r>
                        <a:rPr sz="600">
                          <a:latin typeface="Nexa Book"/>
                        </a:rPr>
                        <a:t>HEIDSIECK MONOPOLE SILVER TOP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 38.14</a:t>
                      </a:r>
                    </a:p>
                  </a:txBody>
                  <a:tcPr marL="2858" marR="2858" marT="2858" marB="0" anchor="ctr">
                    <a:noFill/>
                  </a:tcPr>
                </a:tc>
                <a:tc>
                  <a:txBody>
                    <a:bodyPr/>
                    <a:lstStyle/>
                    <a:p>
                      <a:pPr algn="ctr">
                        <a:defRPr sz="600">
                          <a:latin typeface="Nexa Book"/>
                        </a:defRPr>
                      </a:pPr>
                      <a:r>
                        <a:rPr sz="600">
                          <a:latin typeface="Nexa Book"/>
                        </a:rPr>
                        <a:t> 28.75</a:t>
                      </a:r>
                    </a:p>
                  </a:txBody>
                  <a:tcPr marL="2858" marR="2858" marT="2858" marB="0" anchor="ctr">
                    <a:noFill/>
                  </a:tcPr>
                </a:tc>
                <a:tc>
                  <a:txBody>
                    <a:bodyPr/>
                    <a:lstStyle/>
                    <a:p>
                      <a:pPr algn="ctr">
                        <a:defRPr sz="600">
                          <a:latin typeface="Nexa Book"/>
                        </a:defRPr>
                      </a:pPr>
                      <a:r>
                        <a:rPr sz="600">
                          <a:latin typeface="Nexa Book"/>
                        </a:rPr>
                        <a:t>1'232'130</a:t>
                      </a:r>
                    </a:p>
                  </a:txBody>
                  <a:tcPr marL="2858" marR="2858" marT="2858" marB="0" anchor="ctr">
                    <a:noFill/>
                  </a:tcPr>
                </a:tc>
                <a:tc>
                  <a:txBody>
                    <a:bodyPr/>
                    <a:lstStyle/>
                    <a:p>
                      <a:pPr algn="ctr">
                        <a:defRPr sz="600">
                          <a:latin typeface="Nexa Book"/>
                        </a:defRPr>
                      </a:pPr>
                      <a:r>
                        <a:rPr sz="600">
                          <a:latin typeface="Nexa Book"/>
                        </a:rPr>
                        <a:t>437%</a:t>
                      </a:r>
                    </a:p>
                  </a:txBody>
                  <a:tcPr marL="2858" marR="2858" marT="2858" marB="0" anchor="ctr">
                    <a:noFill/>
                  </a:tcPr>
                </a:tc>
                <a:tc>
                  <a:txBody>
                    <a:bodyPr/>
                    <a:lstStyle/>
                    <a:p>
                      <a:pPr algn="ctr">
                        <a:defRPr sz="600">
                          <a:latin typeface="Nexa Book"/>
                        </a:defRPr>
                      </a:pPr>
                      <a:r>
                        <a:rPr sz="600">
                          <a:latin typeface="Nexa Book"/>
                        </a:rPr>
                        <a:t>594%</a:t>
                      </a:r>
                    </a:p>
                  </a:txBody>
                  <a:tcPr marL="2858" marR="2858" marT="2858" marB="0" anchor="ctr">
                    <a:noFill/>
                  </a:tcPr>
                </a:tc>
                <a:tc>
                  <a:txBody>
                    <a:bodyPr/>
                    <a:lstStyle/>
                    <a:p>
                      <a:pPr algn="ctr">
                        <a:defRPr sz="600">
                          <a:latin typeface="Nexa Book"/>
                        </a:defRPr>
                      </a:pPr>
                      <a:r>
                        <a:rPr sz="600">
                          <a:latin typeface="Nexa Book"/>
                        </a:rPr>
                        <a:t>1088306</a:t>
                      </a:r>
                    </a:p>
                  </a:txBody>
                  <a:tcPr marL="2858" marR="2858" marT="2858" marB="0" anchor="ctr">
                    <a:noFill/>
                  </a:tcPr>
                </a:tc>
                <a:tc>
                  <a:txBody>
                    <a:bodyPr/>
                    <a:lstStyle/>
                    <a:p>
                      <a:pPr algn="ctr">
                        <a:defRPr sz="600">
                          <a:latin typeface="Nexa Book"/>
                        </a:defRPr>
                      </a:pPr>
                      <a:r>
                        <a:rPr sz="600">
                          <a:latin typeface="Nexa Book"/>
                        </a:rPr>
                        <a:t>260%</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90665">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CLASSIC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9.94</a:t>
                      </a:r>
                    </a:p>
                  </a:txBody>
                  <a:tcPr marL="2858" marR="2858" marT="2858" marB="0" anchor="ctr">
                    <a:noFill/>
                  </a:tcPr>
                </a:tc>
                <a:tc>
                  <a:txBody>
                    <a:bodyPr/>
                    <a:lstStyle/>
                    <a:p>
                      <a:pPr algn="ctr">
                        <a:defRPr sz="600">
                          <a:latin typeface="Nexa Book"/>
                        </a:defRPr>
                      </a:pPr>
                      <a:r>
                        <a:rPr sz="600">
                          <a:latin typeface="Nexa Book"/>
                        </a:rPr>
                        <a:t> 44.88</a:t>
                      </a:r>
                    </a:p>
                  </a:txBody>
                  <a:tcPr marL="2858" marR="2858" marT="2858" marB="0" anchor="ctr">
                    <a:noFill/>
                  </a:tcPr>
                </a:tc>
                <a:tc>
                  <a:txBody>
                    <a:bodyPr/>
                    <a:lstStyle/>
                    <a:p>
                      <a:pPr algn="ctr">
                        <a:defRPr sz="600">
                          <a:latin typeface="Nexa Book"/>
                        </a:defRPr>
                      </a:pPr>
                      <a:r>
                        <a:rPr sz="600">
                          <a:latin typeface="Nexa Book"/>
                        </a:rPr>
                        <a:t>388'349</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5%</a:t>
                      </a:r>
                    </a:p>
                  </a:txBody>
                  <a:tcPr marL="2858" marR="2858" marT="2858" marB="0" anchor="ctr">
                    <a:noFill/>
                  </a:tcPr>
                </a:tc>
                <a:tc>
                  <a:txBody>
                    <a:bodyPr/>
                    <a:lstStyle/>
                    <a:p>
                      <a:pPr algn="ctr">
                        <a:defRPr sz="600">
                          <a:latin typeface="Nexa Book"/>
                        </a:defRPr>
                      </a:pPr>
                      <a:r>
                        <a:rPr sz="600">
                          <a:latin typeface="Nexa Book"/>
                        </a:rPr>
                        <a:t>751587</a:t>
                      </a:r>
                    </a:p>
                  </a:txBody>
                  <a:tcPr marL="2858" marR="2858" marT="2858" marB="0" anchor="ctr">
                    <a:noFill/>
                  </a:tcPr>
                </a:tc>
                <a:tc>
                  <a:txBody>
                    <a:bodyPr/>
                    <a:lstStyle/>
                    <a:p>
                      <a:pPr algn="ctr">
                        <a:defRPr sz="600">
                          <a:latin typeface="Nexa Book"/>
                        </a:defRPr>
                      </a:pPr>
                      <a:r>
                        <a:rPr sz="600">
                          <a:latin typeface="Nexa Book"/>
                        </a:rPr>
                        <a:t>1721%</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61.18</a:t>
                      </a:r>
                    </a:p>
                  </a:txBody>
                  <a:tcPr marL="2858" marR="2858" marT="2858" marB="0" anchor="ctr">
                    <a:noFill/>
                  </a:tcPr>
                </a:tc>
                <a:tc>
                  <a:txBody>
                    <a:bodyPr/>
                    <a:lstStyle/>
                    <a:p>
                      <a:pPr algn="ctr">
                        <a:defRPr sz="600">
                          <a:latin typeface="Nexa Book"/>
                        </a:defRPr>
                      </a:pPr>
                      <a:r>
                        <a:rPr sz="600">
                          <a:latin typeface="Nexa Book"/>
                        </a:rPr>
                        <a:t> 55.19</a:t>
                      </a:r>
                    </a:p>
                  </a:txBody>
                  <a:tcPr marL="2858" marR="2858" marT="2858" marB="0" anchor="ctr">
                    <a:noFill/>
                  </a:tcPr>
                </a:tc>
                <a:tc>
                  <a:txBody>
                    <a:bodyPr/>
                    <a:lstStyle/>
                    <a:p>
                      <a:pPr algn="ctr">
                        <a:defRPr sz="600">
                          <a:latin typeface="Nexa Book"/>
                        </a:defRPr>
                      </a:pPr>
                      <a:r>
                        <a:rPr sz="600">
                          <a:latin typeface="Nexa Book"/>
                        </a:rPr>
                        <a:t>1'627'791</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633737</a:t>
                      </a:r>
                    </a:p>
                  </a:txBody>
                  <a:tcPr marL="2858" marR="2858" marT="2858" marB="0" anchor="ctr">
                    <a:noFill/>
                  </a:tcPr>
                </a:tc>
                <a:tc>
                  <a:txBody>
                    <a:bodyPr/>
                    <a:lstStyle/>
                    <a:p>
                      <a:pPr algn="ctr">
                        <a:defRPr sz="600">
                          <a:latin typeface="Nexa Book"/>
                        </a:defRPr>
                      </a:pPr>
                      <a:r>
                        <a:rPr sz="600">
                          <a:latin typeface="Nexa Book"/>
                        </a:rPr>
                        <a:t>381%</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90665">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LA CUVEE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6.60</a:t>
                      </a:r>
                    </a:p>
                  </a:txBody>
                  <a:tcPr marL="2858" marR="2858" marT="2858" marB="0" anchor="ctr">
                    <a:noFill/>
                  </a:tcPr>
                </a:tc>
                <a:tc>
                  <a:txBody>
                    <a:bodyPr/>
                    <a:lstStyle/>
                    <a:p>
                      <a:pPr algn="ctr">
                        <a:defRPr sz="600">
                          <a:latin typeface="Nexa Book"/>
                        </a:defRPr>
                      </a:pPr>
                      <a:r>
                        <a:rPr sz="600">
                          <a:latin typeface="Nexa Book"/>
                        </a:rPr>
                        <a:t> 39.74</a:t>
                      </a:r>
                    </a:p>
                  </a:txBody>
                  <a:tcPr marL="2858" marR="2858" marT="2858" marB="0" anchor="ctr">
                    <a:noFill/>
                  </a:tcPr>
                </a:tc>
                <a:tc>
                  <a:txBody>
                    <a:bodyPr/>
                    <a:lstStyle/>
                    <a:p>
                      <a:pPr algn="ctr">
                        <a:defRPr sz="600">
                          <a:latin typeface="Nexa Book"/>
                        </a:defRPr>
                      </a:pPr>
                      <a:r>
                        <a:rPr sz="600">
                          <a:latin typeface="Nexa Book"/>
                        </a:rPr>
                        <a:t>733'592</a:t>
                      </a:r>
                    </a:p>
                  </a:txBody>
                  <a:tcPr marL="2858" marR="2858" marT="2858" marB="0" anchor="ctr">
                    <a:noFill/>
                  </a:tcPr>
                </a:tc>
                <a:tc>
                  <a:txBody>
                    <a:bodyPr/>
                    <a:lstStyle/>
                    <a:p>
                      <a:pPr algn="ctr">
                        <a:defRPr sz="600">
                          <a:latin typeface="Nexa Book"/>
                        </a:defRPr>
                      </a:pPr>
                      <a:r>
                        <a:rPr sz="600">
                          <a:latin typeface="Nexa Book"/>
                        </a:rPr>
                        <a:t>279%</a:t>
                      </a:r>
                    </a:p>
                  </a:txBody>
                  <a:tcPr marL="2858" marR="2858" marT="2858" marB="0" anchor="ctr">
                    <a:noFill/>
                  </a:tcPr>
                </a:tc>
                <a:tc>
                  <a:txBody>
                    <a:bodyPr/>
                    <a:lstStyle/>
                    <a:p>
                      <a:pPr algn="ctr">
                        <a:defRPr sz="600">
                          <a:latin typeface="Nexa Book"/>
                        </a:defRPr>
                      </a:pPr>
                      <a:r>
                        <a:rPr sz="600">
                          <a:latin typeface="Nexa Book"/>
                        </a:rPr>
                        <a:t>322%</a:t>
                      </a:r>
                    </a:p>
                  </a:txBody>
                  <a:tcPr marL="2858" marR="2858" marT="2858" marB="0" anchor="ctr">
                    <a:noFill/>
                  </a:tcPr>
                </a:tc>
                <a:tc>
                  <a:txBody>
                    <a:bodyPr/>
                    <a:lstStyle/>
                    <a:p>
                      <a:pPr algn="ctr">
                        <a:defRPr sz="600">
                          <a:latin typeface="Nexa Book"/>
                        </a:defRPr>
                      </a:pPr>
                      <a:r>
                        <a:rPr sz="600">
                          <a:latin typeface="Nexa Book"/>
                        </a:rPr>
                        <a:t>590640</a:t>
                      </a:r>
                    </a:p>
                  </a:txBody>
                  <a:tcPr marL="2858" marR="2858" marT="2858" marB="0" anchor="ctr">
                    <a:noFill/>
                  </a:tcPr>
                </a:tc>
                <a:tc>
                  <a:txBody>
                    <a:bodyPr/>
                    <a:lstStyle/>
                    <a:p>
                      <a:pPr algn="ctr">
                        <a:defRPr sz="600">
                          <a:latin typeface="Nexa Book"/>
                        </a:defRPr>
                      </a:pPr>
                      <a:r>
                        <a:rPr sz="600">
                          <a:latin typeface="Nexa Book"/>
                        </a:rPr>
                        <a:t>565%</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90665">
                <a:tc>
                  <a:txBody>
                    <a:bodyPr/>
                    <a:lstStyle/>
                    <a:p>
                      <a:pPr algn="l">
                        <a:defRPr sz="600">
                          <a:latin typeface="Nexa Book"/>
                        </a:defRPr>
                      </a:pPr>
                      <a:r>
                        <a:rPr sz="600">
                          <a:latin typeface="Nexa Book"/>
                        </a:rPr>
                        <a:t>Canard Duchêne</a:t>
                      </a:r>
                    </a:p>
                  </a:txBody>
                  <a:tcPr marL="2858" marR="2858" marT="2858" marB="0" anchor="ctr">
                    <a:noFill/>
                  </a:tcPr>
                </a:tc>
                <a:tc>
                  <a:txBody>
                    <a:bodyPr/>
                    <a:lstStyle/>
                    <a:p>
                      <a:pPr algn="l">
                        <a:defRPr sz="600">
                          <a:latin typeface="Nexa Book"/>
                        </a:defRPr>
                      </a:pPr>
                      <a:r>
                        <a:rPr sz="600">
                          <a:latin typeface="Nexa Book"/>
                        </a:rPr>
                        <a:t>CANARD DUCHENE CUVEE LEONIE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6.12</a:t>
                      </a:r>
                    </a:p>
                  </a:txBody>
                  <a:tcPr marL="2858" marR="2858" marT="2858" marB="0" anchor="ctr">
                    <a:noFill/>
                  </a:tcPr>
                </a:tc>
                <a:tc>
                  <a:txBody>
                    <a:bodyPr/>
                    <a:lstStyle/>
                    <a:p>
                      <a:pPr algn="ctr">
                        <a:defRPr sz="600">
                          <a:latin typeface="Nexa Book"/>
                        </a:defRPr>
                      </a:pPr>
                      <a:r>
                        <a:rPr sz="600">
                          <a:latin typeface="Nexa Book"/>
                        </a:rPr>
                        <a:t> 28.00</a:t>
                      </a:r>
                    </a:p>
                  </a:txBody>
                  <a:tcPr marL="2858" marR="2858" marT="2858" marB="0" anchor="ctr">
                    <a:noFill/>
                  </a:tcPr>
                </a:tc>
                <a:tc>
                  <a:txBody>
                    <a:bodyPr/>
                    <a:lstStyle/>
                    <a:p>
                      <a:pPr algn="ctr">
                        <a:defRPr sz="600">
                          <a:latin typeface="Nexa Book"/>
                        </a:defRPr>
                      </a:pPr>
                      <a:r>
                        <a:rPr sz="600">
                          <a:latin typeface="Nexa Book"/>
                        </a:rPr>
                        <a:t>627'093</a:t>
                      </a:r>
                    </a:p>
                  </a:txBody>
                  <a:tcPr marL="2858" marR="2858" marT="2858" marB="0" anchor="ctr">
                    <a:noFill/>
                  </a:tcPr>
                </a:tc>
                <a:tc>
                  <a:txBody>
                    <a:bodyPr/>
                    <a:lstStyle/>
                    <a:p>
                      <a:pPr algn="ctr">
                        <a:defRPr sz="600">
                          <a:latin typeface="Nexa Book"/>
                        </a:defRPr>
                      </a:pPr>
                      <a:r>
                        <a:rPr sz="600">
                          <a:latin typeface="Nexa Book"/>
                        </a:rPr>
                        <a:t>465%</a:t>
                      </a:r>
                    </a:p>
                  </a:txBody>
                  <a:tcPr marL="2858" marR="2858" marT="2858" marB="0" anchor="ctr">
                    <a:noFill/>
                  </a:tcPr>
                </a:tc>
                <a:tc>
                  <a:txBody>
                    <a:bodyPr/>
                    <a:lstStyle/>
                    <a:p>
                      <a:pPr algn="ctr">
                        <a:defRPr sz="600">
                          <a:latin typeface="Nexa Book"/>
                        </a:defRPr>
                      </a:pPr>
                      <a:r>
                        <a:rPr sz="600">
                          <a:latin typeface="Nexa Book"/>
                        </a:rPr>
                        <a:t>615%</a:t>
                      </a:r>
                    </a:p>
                  </a:txBody>
                  <a:tcPr marL="2858" marR="2858" marT="2858" marB="0" anchor="ctr">
                    <a:noFill/>
                  </a:tcPr>
                </a:tc>
                <a:tc>
                  <a:txBody>
                    <a:bodyPr/>
                    <a:lstStyle/>
                    <a:p>
                      <a:pPr algn="ctr">
                        <a:defRPr sz="600">
                          <a:latin typeface="Nexa Book"/>
                        </a:defRPr>
                      </a:pPr>
                      <a:r>
                        <a:rPr sz="600">
                          <a:latin typeface="Nexa Book"/>
                        </a:rPr>
                        <a:t>538344</a:t>
                      </a:r>
                    </a:p>
                  </a:txBody>
                  <a:tcPr marL="2858" marR="2858" marT="2858" marB="0" anchor="ctr">
                    <a:noFill/>
                  </a:tcPr>
                </a:tc>
                <a:tc>
                  <a:txBody>
                    <a:bodyPr/>
                    <a:lstStyle/>
                    <a:p>
                      <a:pPr algn="ctr">
                        <a:defRPr sz="600">
                          <a:latin typeface="Nexa Book"/>
                        </a:defRPr>
                      </a:pPr>
                      <a:r>
                        <a:rPr sz="600">
                          <a:latin typeface="Nexa Book"/>
                        </a:rPr>
                        <a:t>295%</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90665">
                <a:tc>
                  <a:txBody>
                    <a:bodyPr/>
                    <a:lstStyle/>
                    <a:p>
                      <a:pPr algn="l">
                        <a:defRPr sz="600">
                          <a:latin typeface="Nexa Book"/>
                        </a:defRPr>
                      </a:pPr>
                      <a:r>
                        <a:rPr sz="600">
                          <a:latin typeface="Nexa Book"/>
                        </a:rPr>
                        <a:t>Taittinger</a:t>
                      </a:r>
                    </a:p>
                  </a:txBody>
                  <a:tcPr marL="2858" marR="2858" marT="2858" marB="0" anchor="ctr">
                    <a:noFill/>
                  </a:tcPr>
                </a:tc>
                <a:tc>
                  <a:txBody>
                    <a:bodyPr/>
                    <a:lstStyle/>
                    <a:p>
                      <a:pPr algn="l">
                        <a:defRPr sz="600">
                          <a:latin typeface="Nexa Book"/>
                        </a:defRPr>
                      </a:pPr>
                      <a:r>
                        <a:rPr sz="600">
                          <a:latin typeface="Nexa Book"/>
                        </a:rPr>
                        <a:t>TAITTINGER PRESTIGE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 49.07</a:t>
                      </a:r>
                    </a:p>
                  </a:txBody>
                  <a:tcPr marL="2858" marR="2858" marT="2858" marB="0" anchor="ctr">
                    <a:noFill/>
                  </a:tcPr>
                </a:tc>
                <a:tc>
                  <a:txBody>
                    <a:bodyPr/>
                    <a:lstStyle/>
                    <a:p>
                      <a:pPr algn="ctr">
                        <a:defRPr sz="600">
                          <a:latin typeface="Nexa Book"/>
                        </a:defRPr>
                      </a:pPr>
                      <a:r>
                        <a:rPr sz="600">
                          <a:latin typeface="Nexa Book"/>
                        </a:rPr>
                        <a:t> 44.09</a:t>
                      </a:r>
                    </a:p>
                  </a:txBody>
                  <a:tcPr marL="2858" marR="2858" marT="2858" marB="0" anchor="ctr">
                    <a:noFill/>
                  </a:tcPr>
                </a:tc>
                <a:tc>
                  <a:txBody>
                    <a:bodyPr/>
                    <a:lstStyle/>
                    <a:p>
                      <a:pPr algn="ctr">
                        <a:defRPr sz="600">
                          <a:latin typeface="Nexa Book"/>
                        </a:defRPr>
                      </a:pPr>
                      <a:r>
                        <a:rPr sz="600">
                          <a:latin typeface="Nexa Book"/>
                        </a:rPr>
                        <a:t>601'980</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182%</a:t>
                      </a:r>
                    </a:p>
                  </a:txBody>
                  <a:tcPr marL="2858" marR="2858" marT="2858" marB="0" anchor="ctr">
                    <a:noFill/>
                  </a:tcPr>
                </a:tc>
                <a:tc>
                  <a:txBody>
                    <a:bodyPr/>
                    <a:lstStyle/>
                    <a:p>
                      <a:pPr algn="ctr">
                        <a:defRPr sz="600">
                          <a:latin typeface="Nexa Book"/>
                        </a:defRPr>
                      </a:pPr>
                      <a:r>
                        <a:rPr sz="600">
                          <a:latin typeface="Nexa Book"/>
                        </a:rPr>
                        <a:t>407739</a:t>
                      </a:r>
                    </a:p>
                  </a:txBody>
                  <a:tcPr marL="2858" marR="2858" marT="2858" marB="0" anchor="ctr">
                    <a:noFill/>
                  </a:tcPr>
                </a:tc>
                <a:tc>
                  <a:txBody>
                    <a:bodyPr/>
                    <a:lstStyle/>
                    <a:p>
                      <a:pPr algn="ctr">
                        <a:defRPr sz="600">
                          <a:latin typeface="Nexa Book"/>
                        </a:defRPr>
                      </a:pPr>
                      <a:r>
                        <a:rPr sz="600">
                          <a:latin typeface="Nexa Book"/>
                        </a:rPr>
                        <a:t>599%</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90665">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RUT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35.00</a:t>
                      </a:r>
                    </a:p>
                  </a:txBody>
                  <a:tcPr marL="2858" marR="2858" marT="2858" marB="0" anchor="ctr">
                    <a:noFill/>
                  </a:tcPr>
                </a:tc>
                <a:tc>
                  <a:txBody>
                    <a:bodyPr/>
                    <a:lstStyle/>
                    <a:p>
                      <a:pPr algn="ctr">
                        <a:defRPr sz="600">
                          <a:latin typeface="Nexa Book"/>
                        </a:defRPr>
                      </a:pPr>
                      <a:r>
                        <a:rPr sz="600">
                          <a:latin typeface="Nexa Book"/>
                        </a:rPr>
                        <a:t> 29.52</a:t>
                      </a:r>
                    </a:p>
                  </a:txBody>
                  <a:tcPr marL="2858" marR="2858" marT="2858" marB="0" anchor="ctr">
                    <a:noFill/>
                  </a:tcPr>
                </a:tc>
                <a:tc>
                  <a:txBody>
                    <a:bodyPr/>
                    <a:lstStyle/>
                    <a:p>
                      <a:pPr algn="ctr">
                        <a:defRPr sz="600">
                          <a:latin typeface="Nexa Book"/>
                        </a:defRPr>
                      </a:pPr>
                      <a:r>
                        <a:rPr sz="600">
                          <a:latin typeface="Nexa Book"/>
                        </a:rPr>
                        <a:t>593'24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352578</a:t>
                      </a:r>
                    </a:p>
                  </a:txBody>
                  <a:tcPr marL="2858" marR="2858" marT="2858" marB="0" anchor="ctr">
                    <a:noFill/>
                  </a:tcPr>
                </a:tc>
                <a:tc>
                  <a:txBody>
                    <a:bodyPr/>
                    <a:lstStyle/>
                    <a:p>
                      <a:pPr algn="ctr">
                        <a:defRPr sz="600">
                          <a:latin typeface="Nexa Book"/>
                        </a:defRPr>
                      </a:pPr>
                      <a:r>
                        <a:rPr sz="600">
                          <a:latin typeface="Nexa Book"/>
                        </a:rPr>
                        <a:t>31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90665">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TETE CUVEE BRUT P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1%</a:t>
                      </a:r>
                    </a:p>
                  </a:txBody>
                  <a:tcPr marL="2858" marR="2858" marT="2858" marB="0" anchor="ctr">
                    <a:noFill/>
                  </a:tcPr>
                </a:tc>
                <a:tc>
                  <a:txBody>
                    <a:bodyPr/>
                    <a:lstStyle/>
                    <a:p>
                      <a:pPr algn="ctr">
                        <a:defRPr sz="600">
                          <a:latin typeface="Nexa Book"/>
                        </a:defRPr>
                      </a:pPr>
                      <a:r>
                        <a:rPr sz="600">
                          <a:latin typeface="Nexa Book"/>
                        </a:rPr>
                        <a:t> 39.75</a:t>
                      </a:r>
                    </a:p>
                  </a:txBody>
                  <a:tcPr marL="2858" marR="2858" marT="2858" marB="0" anchor="ctr">
                    <a:noFill/>
                  </a:tcPr>
                </a:tc>
                <a:tc>
                  <a:txBody>
                    <a:bodyPr/>
                    <a:lstStyle/>
                    <a:p>
                      <a:pPr algn="ctr">
                        <a:defRPr sz="600">
                          <a:latin typeface="Nexa Book"/>
                        </a:defRPr>
                      </a:pPr>
                      <a:r>
                        <a:rPr sz="600">
                          <a:latin typeface="Nexa Book"/>
                        </a:rPr>
                        <a:t> 35.01</a:t>
                      </a:r>
                    </a:p>
                  </a:txBody>
                  <a:tcPr marL="2858" marR="2858" marT="2858" marB="0" anchor="ctr">
                    <a:noFill/>
                  </a:tcPr>
                </a:tc>
                <a:tc>
                  <a:txBody>
                    <a:bodyPr/>
                    <a:lstStyle/>
                    <a:p>
                      <a:pPr algn="ctr">
                        <a:defRPr sz="600">
                          <a:latin typeface="Nexa Book"/>
                        </a:defRPr>
                      </a:pPr>
                      <a:r>
                        <a:rPr sz="600">
                          <a:latin typeface="Nexa Book"/>
                        </a:rPr>
                        <a:t>465'086</a:t>
                      </a:r>
                    </a:p>
                  </a:txBody>
                  <a:tcPr marL="2858" marR="2858" marT="2858" marB="0" anchor="ctr">
                    <a:noFill/>
                  </a:tcPr>
                </a:tc>
                <a:tc>
                  <a:txBody>
                    <a:bodyPr/>
                    <a:lstStyle/>
                    <a:p>
                      <a:pPr algn="ctr">
                        <a:defRPr sz="600">
                          <a:latin typeface="Nexa Book"/>
                        </a:defRPr>
                      </a:pPr>
                      <a:r>
                        <a:rPr sz="600">
                          <a:latin typeface="Nexa Book"/>
                        </a:rPr>
                        <a:t>208%</a:t>
                      </a:r>
                    </a:p>
                  </a:txBody>
                  <a:tcPr marL="2858" marR="2858" marT="2858" marB="0" anchor="ctr">
                    <a:noFill/>
                  </a:tcPr>
                </a:tc>
                <a:tc>
                  <a:txBody>
                    <a:bodyPr/>
                    <a:lstStyle/>
                    <a:p>
                      <a:pPr algn="ctr">
                        <a:defRPr sz="600">
                          <a:latin typeface="Nexa Book"/>
                        </a:defRPr>
                      </a:pPr>
                      <a:r>
                        <a:rPr sz="600">
                          <a:latin typeface="Nexa Book"/>
                        </a:rPr>
                        <a:t>243%</a:t>
                      </a:r>
                    </a:p>
                  </a:txBody>
                  <a:tcPr marL="2858" marR="2858" marT="2858" marB="0" anchor="ctr">
                    <a:noFill/>
                  </a:tcPr>
                </a:tc>
                <a:tc>
                  <a:txBody>
                    <a:bodyPr/>
                    <a:lstStyle/>
                    <a:p>
                      <a:pPr algn="ctr">
                        <a:defRPr sz="600">
                          <a:latin typeface="Nexa Book"/>
                        </a:defRPr>
                      </a:pPr>
                      <a:r>
                        <a:rPr sz="600">
                          <a:latin typeface="Nexa Book"/>
                        </a:rPr>
                        <a:t>340968</a:t>
                      </a:r>
                    </a:p>
                  </a:txBody>
                  <a:tcPr marL="2858" marR="2858" marT="2858" marB="0" anchor="ctr">
                    <a:noFill/>
                  </a:tcPr>
                </a:tc>
                <a:tc>
                  <a:txBody>
                    <a:bodyPr/>
                    <a:lstStyle/>
                    <a:p>
                      <a:pPr algn="ctr">
                        <a:defRPr sz="600">
                          <a:latin typeface="Nexa Book"/>
                        </a:defRPr>
                      </a:pPr>
                      <a:r>
                        <a:rPr sz="600">
                          <a:latin typeface="Nexa Book"/>
                        </a:rPr>
                        <a:t>555%</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90665">
                <a:tc>
                  <a:txBody>
                    <a:bodyPr/>
                    <a:lstStyle/>
                    <a:p>
                      <a:pPr algn="l">
                        <a:defRPr sz="600">
                          <a:latin typeface="Nexa Book"/>
                        </a:defRPr>
                      </a:pPr>
                      <a:r>
                        <a:rPr sz="600">
                          <a:latin typeface="Nexa Book"/>
                        </a:rPr>
                        <a:t>Bollinger</a:t>
                      </a:r>
                    </a:p>
                  </a:txBody>
                  <a:tcPr marL="2858" marR="2858" marT="2858" marB="0" anchor="ctr">
                    <a:noFill/>
                  </a:tcPr>
                </a:tc>
                <a:tc>
                  <a:txBody>
                    <a:bodyPr/>
                    <a:lstStyle/>
                    <a:p>
                      <a:pPr algn="l">
                        <a:defRPr sz="600">
                          <a:latin typeface="Nexa Book"/>
                        </a:defRPr>
                      </a:pPr>
                      <a:r>
                        <a:rPr sz="600">
                          <a:latin typeface="Nexa Book"/>
                        </a:rPr>
                        <a:t>BOLLINGER SPECIAL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1.48</a:t>
                      </a:r>
                    </a:p>
                  </a:txBody>
                  <a:tcPr marL="2858" marR="2858" marT="2858" marB="0" anchor="ctr">
                    <a:noFill/>
                  </a:tcPr>
                </a:tc>
                <a:tc>
                  <a:txBody>
                    <a:bodyPr/>
                    <a:lstStyle/>
                    <a:p>
                      <a:pPr algn="ctr">
                        <a:defRPr sz="600">
                          <a:latin typeface="Nexa Book"/>
                        </a:defRPr>
                      </a:pPr>
                      <a:r>
                        <a:rPr sz="600">
                          <a:latin typeface="Nexa Book"/>
                        </a:rPr>
                        <a:t> 55.22</a:t>
                      </a:r>
                    </a:p>
                  </a:txBody>
                  <a:tcPr marL="2858" marR="2858" marT="2858" marB="0" anchor="ctr">
                    <a:noFill/>
                  </a:tcPr>
                </a:tc>
                <a:tc>
                  <a:txBody>
                    <a:bodyPr/>
                    <a:lstStyle/>
                    <a:p>
                      <a:pPr algn="ctr">
                        <a:defRPr sz="600">
                          <a:latin typeface="Nexa Book"/>
                        </a:defRPr>
                      </a:pPr>
                      <a:r>
                        <a:rPr sz="600">
                          <a:latin typeface="Nexa Book"/>
                        </a:rPr>
                        <a:t>452'222</a:t>
                      </a:r>
                    </a:p>
                  </a:txBody>
                  <a:tcPr marL="2858" marR="2858" marT="2858" marB="0" anchor="ctr">
                    <a:noFill/>
                  </a:tcPr>
                </a:tc>
                <a:tc>
                  <a:txBody>
                    <a:bodyPr/>
                    <a:lstStyle/>
                    <a:p>
                      <a:pPr algn="ctr">
                        <a:defRPr sz="600">
                          <a:latin typeface="Nexa Book"/>
                        </a:defRPr>
                      </a:pPr>
                      <a:r>
                        <a:rPr sz="600">
                          <a:latin typeface="Nexa Book"/>
                        </a:rPr>
                        <a:t>138%</a:t>
                      </a:r>
                    </a:p>
                  </a:txBody>
                  <a:tcPr marL="2858" marR="2858" marT="2858" marB="0" anchor="ctr">
                    <a:noFill/>
                  </a:tcPr>
                </a:tc>
                <a:tc>
                  <a:txBody>
                    <a:bodyPr/>
                    <a:lstStyle/>
                    <a:p>
                      <a:pPr algn="ctr">
                        <a:defRPr sz="600">
                          <a:latin typeface="Nexa Book"/>
                        </a:defRPr>
                      </a:pPr>
                      <a:r>
                        <a:rPr sz="600">
                          <a:latin typeface="Nexa Book"/>
                        </a:rPr>
                        <a:t>161%</a:t>
                      </a:r>
                    </a:p>
                  </a:txBody>
                  <a:tcPr marL="2858" marR="2858" marT="2858" marB="0" anchor="ctr">
                    <a:noFill/>
                  </a:tcPr>
                </a:tc>
                <a:tc>
                  <a:txBody>
                    <a:bodyPr/>
                    <a:lstStyle/>
                    <a:p>
                      <a:pPr algn="ctr">
                        <a:defRPr sz="600">
                          <a:latin typeface="Nexa Book"/>
                        </a:defRPr>
                      </a:pPr>
                      <a:r>
                        <a:rPr sz="600">
                          <a:latin typeface="Nexa Book"/>
                        </a:rPr>
                        <a:t>285167</a:t>
                      </a:r>
                    </a:p>
                  </a:txBody>
                  <a:tcPr marL="2858" marR="2858" marT="2858" marB="0" anchor="ctr">
                    <a:noFill/>
                  </a:tcPr>
                </a:tc>
                <a:tc>
                  <a:txBody>
                    <a:bodyPr/>
                    <a:lstStyle/>
                    <a:p>
                      <a:pPr algn="ctr">
                        <a:defRPr sz="600">
                          <a:latin typeface="Nexa Book"/>
                        </a:defRPr>
                      </a:pPr>
                      <a:r>
                        <a:rPr sz="600">
                          <a:latin typeface="Nexa Book"/>
                        </a:rPr>
                        <a:t>565%</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90665">
                <a:tc>
                  <a:txBody>
                    <a:bodyPr/>
                    <a:lstStyle/>
                    <a:p>
                      <a:pPr algn="l">
                        <a:defRPr sz="600">
                          <a:latin typeface="Nexa Book"/>
                        </a:defRPr>
                      </a:pPr>
                      <a:r>
                        <a:rPr sz="600">
                          <a:latin typeface="Nexa Book"/>
                        </a:rPr>
                        <a:t>Ayala</a:t>
                      </a:r>
                    </a:p>
                  </a:txBody>
                  <a:tcPr marL="2858" marR="2858" marT="2858" marB="0" anchor="ctr">
                    <a:noFill/>
                  </a:tcPr>
                </a:tc>
                <a:tc>
                  <a:txBody>
                    <a:bodyPr/>
                    <a:lstStyle/>
                    <a:p>
                      <a:pPr algn="l">
                        <a:defRPr sz="600">
                          <a:latin typeface="Nexa Book"/>
                        </a:defRPr>
                      </a:pPr>
                      <a:r>
                        <a:rPr sz="600">
                          <a:latin typeface="Nexa Book"/>
                        </a:rPr>
                        <a:t>AYALA BRUT MAJEUR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0.89</a:t>
                      </a:r>
                    </a:p>
                  </a:txBody>
                  <a:tcPr marL="2858" marR="2858" marT="2858" marB="0" anchor="ctr">
                    <a:noFill/>
                  </a:tcPr>
                </a:tc>
                <a:tc>
                  <a:txBody>
                    <a:bodyPr/>
                    <a:lstStyle/>
                    <a:p>
                      <a:pPr algn="ctr">
                        <a:defRPr sz="600">
                          <a:latin typeface="Nexa Book"/>
                        </a:defRPr>
                      </a:pPr>
                      <a:r>
                        <a:rPr sz="600">
                          <a:latin typeface="Nexa Book"/>
                        </a:rPr>
                        <a:t> 36.68</a:t>
                      </a:r>
                    </a:p>
                  </a:txBody>
                  <a:tcPr marL="2858" marR="2858" marT="2858" marB="0" anchor="ctr">
                    <a:noFill/>
                  </a:tcPr>
                </a:tc>
                <a:tc>
                  <a:txBody>
                    <a:bodyPr/>
                    <a:lstStyle/>
                    <a:p>
                      <a:pPr algn="ctr">
                        <a:defRPr sz="600">
                          <a:latin typeface="Nexa Book"/>
                        </a:defRPr>
                      </a:pPr>
                      <a:r>
                        <a:rPr sz="600">
                          <a:latin typeface="Nexa Book"/>
                        </a:rPr>
                        <a:t>643'429</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76%</a:t>
                      </a:r>
                    </a:p>
                  </a:txBody>
                  <a:tcPr marL="2858" marR="2858" marT="2858" marB="0" anchor="ctr">
                    <a:noFill/>
                  </a:tcPr>
                </a:tc>
                <a:tc>
                  <a:txBody>
                    <a:bodyPr/>
                    <a:lstStyle/>
                    <a:p>
                      <a:pPr algn="ctr">
                        <a:defRPr sz="600">
                          <a:latin typeface="Nexa Book"/>
                        </a:defRPr>
                      </a:pPr>
                      <a:r>
                        <a:rPr sz="600">
                          <a:latin typeface="Nexa Book"/>
                        </a:rPr>
                        <a:t>261904</a:t>
                      </a:r>
                    </a:p>
                  </a:txBody>
                  <a:tcPr marL="2858" marR="2858" marT="2858" marB="0" anchor="ctr">
                    <a:noFill/>
                  </a:tcPr>
                </a:tc>
                <a:tc>
                  <a:txBody>
                    <a:bodyPr/>
                    <a:lstStyle/>
                    <a:p>
                      <a:pPr algn="ctr">
                        <a:defRPr sz="600">
                          <a:latin typeface="Nexa Book"/>
                        </a:defRPr>
                      </a:pPr>
                      <a:r>
                        <a:rPr sz="600">
                          <a:latin typeface="Nexa Book"/>
                        </a:rPr>
                        <a:t>358%</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90665">
                <a:tc>
                  <a:txBody>
                    <a:bodyPr/>
                    <a:lstStyle/>
                    <a:p>
                      <a:pPr algn="l">
                        <a:defRPr sz="600">
                          <a:latin typeface="Nexa Book"/>
                        </a:defRPr>
                      </a:pPr>
                      <a:r>
                        <a:rPr sz="600">
                          <a:latin typeface="Nexa Book"/>
                        </a:rPr>
                        <a:t>Besserat De Bellefon</a:t>
                      </a:r>
                    </a:p>
                  </a:txBody>
                  <a:tcPr marL="2858" marR="2858" marT="2858" marB="0" anchor="ctr">
                    <a:noFill/>
                  </a:tcPr>
                </a:tc>
                <a:tc>
                  <a:txBody>
                    <a:bodyPr/>
                    <a:lstStyle/>
                    <a:p>
                      <a:pPr algn="l">
                        <a:defRPr sz="600">
                          <a:latin typeface="Nexa Book"/>
                        </a:defRPr>
                      </a:pPr>
                      <a:r>
                        <a:rPr sz="600">
                          <a:latin typeface="Nexa Book"/>
                        </a:rPr>
                        <a:t>BESSERAT BELLEFON BLEU BRUT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39.66</a:t>
                      </a:r>
                    </a:p>
                  </a:txBody>
                  <a:tcPr marL="2858" marR="2858" marT="2858" marB="0" anchor="ctr">
                    <a:noFill/>
                  </a:tcPr>
                </a:tc>
                <a:tc>
                  <a:txBody>
                    <a:bodyPr/>
                    <a:lstStyle/>
                    <a:p>
                      <a:pPr algn="ctr">
                        <a:defRPr sz="600">
                          <a:latin typeface="Nexa Book"/>
                        </a:defRPr>
                      </a:pPr>
                      <a:r>
                        <a:rPr sz="600">
                          <a:latin typeface="Nexa Book"/>
                        </a:rPr>
                        <a:t> 35.58</a:t>
                      </a:r>
                    </a:p>
                  </a:txBody>
                  <a:tcPr marL="2858" marR="2858" marT="2858" marB="0" anchor="ctr">
                    <a:noFill/>
                  </a:tcPr>
                </a:tc>
                <a:tc>
                  <a:txBody>
                    <a:bodyPr/>
                    <a:lstStyle/>
                    <a:p>
                      <a:pPr algn="ctr">
                        <a:defRPr sz="600">
                          <a:latin typeface="Nexa Book"/>
                        </a:defRPr>
                      </a:pPr>
                      <a:r>
                        <a:rPr sz="600">
                          <a:latin typeface="Nexa Book"/>
                        </a:rPr>
                        <a:t>387'593</a:t>
                      </a:r>
                    </a:p>
                  </a:txBody>
                  <a:tcPr marL="2858" marR="2858" marT="2858" marB="0" anchor="ctr">
                    <a:noFill/>
                  </a:tcPr>
                </a:tc>
                <a:tc>
                  <a:txBody>
                    <a:bodyPr/>
                    <a:lstStyle/>
                    <a:p>
                      <a:pPr algn="ctr">
                        <a:defRPr sz="600">
                          <a:latin typeface="Nexa Book"/>
                        </a:defRPr>
                      </a:pPr>
                      <a:r>
                        <a:rPr sz="600">
                          <a:latin typeface="Nexa Book"/>
                        </a:rPr>
                        <a:t>146%</a:t>
                      </a:r>
                    </a:p>
                  </a:txBody>
                  <a:tcPr marL="2858" marR="2858" marT="2858" marB="0" anchor="ctr">
                    <a:noFill/>
                  </a:tcPr>
                </a:tc>
                <a:tc>
                  <a:txBody>
                    <a:bodyPr/>
                    <a:lstStyle/>
                    <a:p>
                      <a:pPr algn="ctr">
                        <a:defRPr sz="600">
                          <a:latin typeface="Nexa Book"/>
                        </a:defRPr>
                      </a:pPr>
                      <a:r>
                        <a:rPr sz="600">
                          <a:latin typeface="Nexa Book"/>
                        </a:rPr>
                        <a:t>170%</a:t>
                      </a:r>
                    </a:p>
                  </a:txBody>
                  <a:tcPr marL="2858" marR="2858" marT="2858" marB="0" anchor="ctr">
                    <a:noFill/>
                  </a:tcPr>
                </a:tc>
                <a:tc>
                  <a:txBody>
                    <a:bodyPr/>
                    <a:lstStyle/>
                    <a:p>
                      <a:pPr algn="ctr">
                        <a:defRPr sz="600">
                          <a:latin typeface="Nexa Book"/>
                        </a:defRPr>
                      </a:pPr>
                      <a:r>
                        <a:rPr sz="600">
                          <a:latin typeface="Nexa Book"/>
                        </a:rPr>
                        <a:t>254820</a:t>
                      </a:r>
                    </a:p>
                  </a:txBody>
                  <a:tcPr marL="2858" marR="2858" marT="2858" marB="0" anchor="ctr">
                    <a:noFill/>
                  </a:tcPr>
                </a:tc>
                <a:tc>
                  <a:txBody>
                    <a:bodyPr/>
                    <a:lstStyle/>
                    <a:p>
                      <a:pPr algn="ctr">
                        <a:defRPr sz="600">
                          <a:latin typeface="Nexa Book"/>
                        </a:defRPr>
                      </a:pPr>
                      <a:r>
                        <a:rPr sz="600">
                          <a:latin typeface="Nexa Book"/>
                        </a:rPr>
                        <a:t>58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SECOND SKIN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64.92</a:t>
                      </a:r>
                    </a:p>
                  </a:txBody>
                  <a:tcPr marL="2858" marR="2858" marT="2858" marB="0" anchor="ctr">
                    <a:noFill/>
                  </a:tcPr>
                </a:tc>
                <a:tc>
                  <a:txBody>
                    <a:bodyPr/>
                    <a:lstStyle/>
                    <a:p>
                      <a:pPr algn="ctr">
                        <a:defRPr sz="600">
                          <a:latin typeface="Nexa Book"/>
                        </a:defRPr>
                      </a:pPr>
                      <a:r>
                        <a:rPr sz="600">
                          <a:latin typeface="Nexa Book"/>
                        </a:rPr>
                        <a:t> 58.70</a:t>
                      </a:r>
                    </a:p>
                  </a:txBody>
                  <a:tcPr marL="2858" marR="2858" marT="2858" marB="0" anchor="ctr">
                    <a:noFill/>
                  </a:tcPr>
                </a:tc>
                <a:tc>
                  <a:txBody>
                    <a:bodyPr/>
                    <a:lstStyle/>
                    <a:p>
                      <a:pPr algn="ctr">
                        <a:defRPr sz="600">
                          <a:latin typeface="Nexa Book"/>
                        </a:defRPr>
                      </a:pPr>
                      <a:r>
                        <a:rPr sz="600">
                          <a:latin typeface="Nexa Book"/>
                        </a:rPr>
                        <a:t>437'926</a:t>
                      </a:r>
                    </a:p>
                  </a:txBody>
                  <a:tcPr marL="2858" marR="2858" marT="2858" marB="0" anchor="ctr">
                    <a:noFill/>
                  </a:tcPr>
                </a:tc>
                <a:tc>
                  <a:txBody>
                    <a:bodyPr/>
                    <a:lstStyle/>
                    <a:p>
                      <a:pPr algn="ctr">
                        <a:defRPr sz="600">
                          <a:latin typeface="Nexa Book"/>
                        </a:defRPr>
                      </a:pPr>
                      <a:r>
                        <a:rPr sz="600">
                          <a:latin typeface="Nexa Book"/>
                        </a:rPr>
                        <a:t>87%</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225946</a:t>
                      </a:r>
                    </a:p>
                  </a:txBody>
                  <a:tcPr marL="2858" marR="2858" marT="2858" marB="0" anchor="ctr">
                    <a:noFill/>
                  </a:tcPr>
                </a:tc>
                <a:tc>
                  <a:txBody>
                    <a:bodyPr/>
                    <a:lstStyle/>
                    <a:p>
                      <a:pPr algn="ctr">
                        <a:defRPr sz="600">
                          <a:latin typeface="Nexa Book"/>
                        </a:defRPr>
                      </a:pPr>
                      <a:r>
                        <a:rPr sz="600">
                          <a:latin typeface="Nexa Book"/>
                        </a:rPr>
                        <a:t>49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90665">
                <a:tc>
                  <a:txBody>
                    <a:bodyPr/>
                    <a:lstStyle/>
                    <a:p>
                      <a:pPr algn="l">
                        <a:defRPr sz="600">
                          <a:latin typeface="Nexa Book"/>
                        </a:defRPr>
                      </a:pPr>
                      <a:r>
                        <a:rPr sz="600">
                          <a:latin typeface="Nexa Book"/>
                        </a:rPr>
                        <a:t>Pommery</a:t>
                      </a:r>
                    </a:p>
                  </a:txBody>
                  <a:tcPr marL="2858" marR="2858" marT="2858" marB="0" anchor="ctr">
                    <a:noFill/>
                  </a:tcPr>
                </a:tc>
                <a:tc>
                  <a:txBody>
                    <a:bodyPr/>
                    <a:lstStyle/>
                    <a:p>
                      <a:pPr algn="l">
                        <a:defRPr sz="600">
                          <a:latin typeface="Nexa Book"/>
                        </a:defRPr>
                      </a:pPr>
                      <a:r>
                        <a:rPr sz="600">
                          <a:latin typeface="Nexa Book"/>
                        </a:rPr>
                        <a:t>POMMERY SILVER BRU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47.05</a:t>
                      </a:r>
                    </a:p>
                  </a:txBody>
                  <a:tcPr marL="2858" marR="2858" marT="2858" marB="0" anchor="ctr">
                    <a:noFill/>
                  </a:tcPr>
                </a:tc>
                <a:tc>
                  <a:txBody>
                    <a:bodyPr/>
                    <a:lstStyle/>
                    <a:p>
                      <a:pPr algn="ctr">
                        <a:defRPr sz="600">
                          <a:latin typeface="Nexa Book"/>
                        </a:defRPr>
                      </a:pPr>
                      <a:r>
                        <a:rPr sz="600">
                          <a:latin typeface="Nexa Book"/>
                        </a:rPr>
                        <a:t> 40.59</a:t>
                      </a:r>
                    </a:p>
                  </a:txBody>
                  <a:tcPr marL="2858" marR="2858" marT="2858" marB="0" anchor="ctr">
                    <a:noFill/>
                  </a:tcPr>
                </a:tc>
                <a:tc>
                  <a:txBody>
                    <a:bodyPr/>
                    <a:lstStyle/>
                    <a:p>
                      <a:pPr algn="ctr">
                        <a:defRPr sz="600">
                          <a:latin typeface="Nexa Book"/>
                        </a:defRPr>
                      </a:pPr>
                      <a:r>
                        <a:rPr sz="600">
                          <a:latin typeface="Nexa Book"/>
                        </a:rPr>
                        <a:t>284'540</a:t>
                      </a:r>
                    </a:p>
                  </a:txBody>
                  <a:tcPr marL="2858" marR="2858" marT="2858" marB="0" anchor="ctr">
                    <a:noFill/>
                  </a:tcPr>
                </a:tc>
                <a:tc>
                  <a:txBody>
                    <a:bodyPr/>
                    <a:lstStyle/>
                    <a:p>
                      <a:pPr algn="ctr">
                        <a:defRPr sz="600">
                          <a:latin typeface="Nexa Book"/>
                        </a:defRPr>
                      </a:pPr>
                      <a:r>
                        <a:rPr sz="600">
                          <a:latin typeface="Nexa Book"/>
                        </a:rPr>
                        <a:t>223%</a:t>
                      </a:r>
                    </a:p>
                  </a:txBody>
                  <a:tcPr marL="2858" marR="2858" marT="2858" marB="0" anchor="ctr">
                    <a:noFill/>
                  </a:tcPr>
                </a:tc>
                <a:tc>
                  <a:txBody>
                    <a:bodyPr/>
                    <a:lstStyle/>
                    <a:p>
                      <a:pPr algn="ctr">
                        <a:defRPr sz="600">
                          <a:latin typeface="Nexa Book"/>
                        </a:defRPr>
                      </a:pPr>
                      <a:r>
                        <a:rPr sz="600">
                          <a:latin typeface="Nexa Book"/>
                        </a:rPr>
                        <a:t>263%</a:t>
                      </a:r>
                    </a:p>
                  </a:txBody>
                  <a:tcPr marL="2858" marR="2858" marT="2858" marB="0" anchor="ctr">
                    <a:noFill/>
                  </a:tcPr>
                </a:tc>
                <a:tc>
                  <a:txBody>
                    <a:bodyPr/>
                    <a:lstStyle/>
                    <a:p>
                      <a:pPr algn="ctr">
                        <a:defRPr sz="600">
                          <a:latin typeface="Nexa Book"/>
                        </a:defRPr>
                      </a:pPr>
                      <a:r>
                        <a:rPr sz="600">
                          <a:latin typeface="Nexa Book"/>
                        </a:rPr>
                        <a:t>216433</a:t>
                      </a:r>
                    </a:p>
                  </a:txBody>
                  <a:tcPr marL="2858" marR="2858" marT="2858" marB="0" anchor="ctr">
                    <a:noFill/>
                  </a:tcPr>
                </a:tc>
                <a:tc>
                  <a:txBody>
                    <a:bodyPr/>
                    <a:lstStyle/>
                    <a:p>
                      <a:pPr algn="ctr">
                        <a:defRPr sz="600">
                          <a:latin typeface="Nexa Book"/>
                        </a:defRPr>
                      </a:pPr>
                      <a:r>
                        <a:rPr sz="600">
                          <a:latin typeface="Nexa Book"/>
                        </a:rPr>
                        <a:t>471%</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90665">
                <a:tc>
                  <a:txBody>
                    <a:bodyPr/>
                    <a:lstStyle/>
                    <a:p>
                      <a:pPr algn="l">
                        <a:defRPr sz="600">
                          <a:latin typeface="Nexa Book"/>
                        </a:defRPr>
                      </a:pPr>
                      <a:r>
                        <a:rPr sz="600">
                          <a:latin typeface="Nexa Book"/>
                        </a:rPr>
                        <a:t>Campari: All Others</a:t>
                      </a:r>
                    </a:p>
                  </a:txBody>
                  <a:tcPr marL="2858" marR="2858" marT="2858" marB="0" anchor="ctr">
                    <a:noFill/>
                  </a:tcPr>
                </a:tc>
                <a:tc>
                  <a:txBody>
                    <a:bodyPr/>
                    <a:lstStyle/>
                    <a:p>
                      <a:pPr algn="l">
                        <a:defRPr sz="600">
                          <a:latin typeface="Nexa Book"/>
                        </a:defRPr>
                      </a:pPr>
                      <a:r>
                        <a:rPr sz="600">
                          <a:latin typeface="Nexa Book"/>
                        </a:rPr>
                        <a:t>CHAMPAGNE LALLIER SERIE R.021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 39.98</a:t>
                      </a:r>
                    </a:p>
                  </a:txBody>
                  <a:tcPr marL="2858" marR="2858" marT="2858" marB="0" anchor="ctr">
                    <a:noFill/>
                  </a:tcPr>
                </a:tc>
                <a:tc>
                  <a:txBody>
                    <a:bodyPr/>
                    <a:lstStyle/>
                    <a:p>
                      <a:pPr algn="ctr">
                        <a:defRPr sz="600">
                          <a:latin typeface="Nexa Book"/>
                        </a:defRPr>
                      </a:pPr>
                      <a:r>
                        <a:rPr sz="600">
                          <a:latin typeface="Nexa Book"/>
                        </a:rPr>
                        <a:t> 35.95</a:t>
                      </a:r>
                    </a:p>
                  </a:txBody>
                  <a:tcPr marL="2858" marR="2858" marT="2858" marB="0" anchor="ctr">
                    <a:noFill/>
                  </a:tcPr>
                </a:tc>
                <a:tc>
                  <a:txBody>
                    <a:bodyPr/>
                    <a:lstStyle/>
                    <a:p>
                      <a:pPr algn="ctr">
                        <a:defRPr sz="600">
                          <a:latin typeface="Nexa Book"/>
                        </a:defRPr>
                      </a:pPr>
                      <a:r>
                        <a:rPr sz="600">
                          <a:latin typeface="Nexa Book"/>
                        </a:rPr>
                        <a:t>228'375</a:t>
                      </a:r>
                    </a:p>
                  </a:txBody>
                  <a:tcPr marL="2858" marR="2858" marT="2858" marB="0" anchor="ctr">
                    <a:noFill/>
                  </a:tcPr>
                </a:tc>
                <a:tc>
                  <a:txBody>
                    <a:bodyPr/>
                    <a:lstStyle/>
                    <a:p>
                      <a:pPr algn="ctr">
                        <a:defRPr sz="600">
                          <a:latin typeface="Nexa Book"/>
                        </a:defRPr>
                      </a:pPr>
                      <a:r>
                        <a:rPr sz="600">
                          <a:latin typeface="Nexa Book"/>
                        </a:rPr>
                        <a:t>438%</a:t>
                      </a:r>
                    </a:p>
                  </a:txBody>
                  <a:tcPr marL="2858" marR="2858" marT="2858" marB="0" anchor="ctr">
                    <a:noFill/>
                  </a:tcPr>
                </a:tc>
                <a:tc>
                  <a:txBody>
                    <a:bodyPr/>
                    <a:lstStyle/>
                    <a:p>
                      <a:pPr algn="ctr">
                        <a:defRPr sz="600">
                          <a:latin typeface="Nexa Book"/>
                        </a:defRPr>
                      </a:pPr>
                      <a:r>
                        <a:rPr sz="600">
                          <a:latin typeface="Nexa Book"/>
                        </a:rPr>
                        <a:t>480%</a:t>
                      </a:r>
                    </a:p>
                  </a:txBody>
                  <a:tcPr marL="2858" marR="2858" marT="2858" marB="0" anchor="ctr">
                    <a:noFill/>
                  </a:tcPr>
                </a:tc>
                <a:tc>
                  <a:txBody>
                    <a:bodyPr/>
                    <a:lstStyle/>
                    <a:p>
                      <a:pPr algn="ctr">
                        <a:defRPr sz="600">
                          <a:latin typeface="Nexa Book"/>
                        </a:defRPr>
                      </a:pPr>
                      <a:r>
                        <a:rPr sz="600">
                          <a:latin typeface="Nexa Book"/>
                        </a:rPr>
                        <a:t>203377</a:t>
                      </a:r>
                    </a:p>
                  </a:txBody>
                  <a:tcPr marL="2858" marR="2858" marT="2858" marB="0" anchor="ctr">
                    <a:noFill/>
                  </a:tcPr>
                </a:tc>
                <a:tc>
                  <a:txBody>
                    <a:bodyPr/>
                    <a:lstStyle/>
                    <a:p>
                      <a:pPr algn="ctr">
                        <a:defRPr sz="600">
                          <a:latin typeface="Nexa Book"/>
                        </a:defRPr>
                      </a:pPr>
                      <a:r>
                        <a:rPr sz="600">
                          <a:latin typeface="Nexa Book"/>
                        </a:rPr>
                        <a:t>789%</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90665">
                <a:tc>
                  <a:txBody>
                    <a:bodyPr/>
                    <a:lstStyle/>
                    <a:p>
                      <a:pPr algn="l">
                        <a:defRPr sz="600">
                          <a:latin typeface="Nexa Book"/>
                        </a:defRPr>
                      </a:pPr>
                      <a:r>
                        <a:rPr sz="600">
                          <a:latin typeface="Nexa Book"/>
                        </a:rPr>
                        <a:t>Perrier Jouet</a:t>
                      </a:r>
                    </a:p>
                  </a:txBody>
                  <a:tcPr marL="2858" marR="2858" marT="2858" marB="0" anchor="ctr">
                    <a:noFill/>
                  </a:tcPr>
                </a:tc>
                <a:tc>
                  <a:txBody>
                    <a:bodyPr/>
                    <a:lstStyle/>
                    <a:p>
                      <a:pPr algn="l">
                        <a:defRPr sz="600">
                          <a:latin typeface="Nexa Book"/>
                        </a:defRPr>
                      </a:pPr>
                      <a:r>
                        <a:rPr sz="600">
                          <a:latin typeface="Nexa Book"/>
                        </a:rPr>
                        <a:t>PERRIER JOUET GRAND BRUT SHAP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 55.50</a:t>
                      </a:r>
                    </a:p>
                  </a:txBody>
                  <a:tcPr marL="2858" marR="2858" marT="2858" marB="0" anchor="ctr">
                    <a:noFill/>
                  </a:tcPr>
                </a:tc>
                <a:tc>
                  <a:txBody>
                    <a:bodyPr/>
                    <a:lstStyle/>
                    <a:p>
                      <a:pPr algn="ctr">
                        <a:defRPr sz="600">
                          <a:latin typeface="Nexa Book"/>
                        </a:defRPr>
                      </a:pPr>
                      <a:r>
                        <a:rPr sz="600">
                          <a:latin typeface="Nexa Book"/>
                        </a:rPr>
                        <a:t> 49.03</a:t>
                      </a:r>
                    </a:p>
                  </a:txBody>
                  <a:tcPr marL="2858" marR="2858" marT="2858" marB="0" anchor="ctr">
                    <a:noFill/>
                  </a:tcPr>
                </a:tc>
                <a:tc>
                  <a:txBody>
                    <a:bodyPr/>
                    <a:lstStyle/>
                    <a:p>
                      <a:pPr algn="ctr">
                        <a:defRPr sz="600">
                          <a:latin typeface="Nexa Book"/>
                        </a:defRPr>
                      </a:pPr>
                      <a:r>
                        <a:rPr sz="600">
                          <a:latin typeface="Nexa Book"/>
                        </a:rPr>
                        <a:t>287'287</a:t>
                      </a:r>
                    </a:p>
                  </a:txBody>
                  <a:tcPr marL="2858" marR="2858" marT="2858" marB="0" anchor="ctr">
                    <a:noFill/>
                  </a:tcPr>
                </a:tc>
                <a:tc>
                  <a:txBody>
                    <a:bodyPr/>
                    <a:lstStyle/>
                    <a:p>
                      <a:pPr algn="ctr">
                        <a:defRPr sz="600">
                          <a:latin typeface="Nexa Book"/>
                        </a:defRPr>
                      </a:pPr>
                      <a:r>
                        <a:rPr sz="600">
                          <a:latin typeface="Nexa Book"/>
                        </a:rPr>
                        <a:t>195%</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195256</a:t>
                      </a:r>
                    </a:p>
                  </a:txBody>
                  <a:tcPr marL="2858" marR="2858" marT="2858" marB="0" anchor="ctr">
                    <a:noFill/>
                  </a:tcPr>
                </a:tc>
                <a:tc>
                  <a:txBody>
                    <a:bodyPr/>
                    <a:lstStyle/>
                    <a:p>
                      <a:pPr algn="ctr">
                        <a:defRPr sz="600">
                          <a:latin typeface="Nexa Book"/>
                        </a:defRPr>
                      </a:pPr>
                      <a:r>
                        <a:rPr sz="600">
                          <a:latin typeface="Nexa Book"/>
                        </a:rPr>
                        <a:t>546%</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90665">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MG RUINART BRUT SECOND SKIN 1CT X 150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146.76</a:t>
                      </a:r>
                    </a:p>
                  </a:txBody>
                  <a:tcPr marL="2858" marR="2858" marT="2858" marB="0" anchor="ctr">
                    <a:noFill/>
                  </a:tcPr>
                </a:tc>
                <a:tc>
                  <a:txBody>
                    <a:bodyPr/>
                    <a:lstStyle/>
                    <a:p>
                      <a:pPr algn="ctr">
                        <a:defRPr sz="600">
                          <a:latin typeface="Nexa Book"/>
                        </a:defRPr>
                      </a:pPr>
                      <a:r>
                        <a:rPr sz="600">
                          <a:latin typeface="Nexa Book"/>
                        </a:rPr>
                        <a:t> 132.59</a:t>
                      </a:r>
                    </a:p>
                  </a:txBody>
                  <a:tcPr marL="2858" marR="2858" marT="2858" marB="0" anchor="ctr">
                    <a:noFill/>
                  </a:tcPr>
                </a:tc>
                <a:tc>
                  <a:txBody>
                    <a:bodyPr/>
                    <a:lstStyle/>
                    <a:p>
                      <a:pPr algn="ctr">
                        <a:defRPr sz="600">
                          <a:latin typeface="Nexa Book"/>
                        </a:defRPr>
                      </a:pPr>
                      <a:r>
                        <a:rPr sz="600">
                          <a:latin typeface="Nexa Book"/>
                        </a:rPr>
                        <a:t>254'698</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88%</a:t>
                      </a:r>
                    </a:p>
                  </a:txBody>
                  <a:tcPr marL="2858" marR="2858" marT="2858" marB="0" anchor="ctr">
                    <a:noFill/>
                  </a:tcPr>
                </a:tc>
                <a:tc>
                  <a:txBody>
                    <a:bodyPr/>
                    <a:lstStyle/>
                    <a:p>
                      <a:pPr algn="ctr">
                        <a:defRPr sz="600">
                          <a:latin typeface="Nexa Book"/>
                        </a:defRPr>
                      </a:pPr>
                      <a:r>
                        <a:rPr sz="600">
                          <a:latin typeface="Nexa Book"/>
                        </a:rPr>
                        <a:t>109975</a:t>
                      </a:r>
                    </a:p>
                  </a:txBody>
                  <a:tcPr marL="2858" marR="2858" marT="2858" marB="0" anchor="ctr">
                    <a:noFill/>
                  </a:tcPr>
                </a:tc>
                <a:tc>
                  <a:txBody>
                    <a:bodyPr/>
                    <a:lstStyle/>
                    <a:p>
                      <a:pPr algn="ctr">
                        <a:defRPr sz="600">
                          <a:latin typeface="Nexa Book"/>
                        </a:defRPr>
                      </a:pPr>
                      <a:r>
                        <a:rPr sz="600">
                          <a:latin typeface="Nexa Book"/>
                        </a:rPr>
                        <a:t>39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90665">
                <a:tc>
                  <a:txBody>
                    <a:bodyPr/>
                    <a:lstStyle/>
                    <a:p>
                      <a:pPr algn="l">
                        <a:defRPr sz="600">
                          <a:latin typeface="Nexa Book"/>
                        </a:defRPr>
                      </a:pPr>
                      <a:r>
                        <a:rPr sz="600">
                          <a:latin typeface="Nexa Book"/>
                        </a:rPr>
                        <a:t>Moët &amp; Chandon</a:t>
                      </a:r>
                    </a:p>
                  </a:txBody>
                  <a:tcPr marL="2858" marR="2858" marT="2858" marB="0" anchor="ctr">
                    <a:noFill/>
                  </a:tcPr>
                </a:tc>
                <a:tc>
                  <a:txBody>
                    <a:bodyPr/>
                    <a:lstStyle/>
                    <a:p>
                      <a:pPr algn="l">
                        <a:defRPr sz="600">
                          <a:latin typeface="Nexa Book"/>
                        </a:defRPr>
                      </a:pPr>
                      <a:r>
                        <a:rPr sz="600">
                          <a:latin typeface="Nexa Book"/>
                        </a:rPr>
                        <a:t>MOET &amp; CHANDON RES IMPERIAL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 49.90</a:t>
                      </a:r>
                    </a:p>
                  </a:txBody>
                  <a:tcPr marL="2858" marR="2858" marT="2858" marB="0" anchor="ctr">
                    <a:noFill/>
                  </a:tcPr>
                </a:tc>
                <a:tc>
                  <a:txBody>
                    <a:bodyPr/>
                    <a:lstStyle/>
                    <a:p>
                      <a:pPr algn="ctr">
                        <a:defRPr sz="600">
                          <a:latin typeface="Nexa Book"/>
                        </a:defRPr>
                      </a:pPr>
                      <a:r>
                        <a:rPr sz="600">
                          <a:latin typeface="Nexa Book"/>
                        </a:rPr>
                        <a:t> 44.93</a:t>
                      </a:r>
                    </a:p>
                  </a:txBody>
                  <a:tcPr marL="2858" marR="2858" marT="2858" marB="0" anchor="ctr">
                    <a:noFill/>
                  </a:tcPr>
                </a:tc>
                <a:tc>
                  <a:txBody>
                    <a:bodyPr/>
                    <a:lstStyle/>
                    <a:p>
                      <a:pPr algn="ctr">
                        <a:defRPr sz="600">
                          <a:latin typeface="Nexa Book"/>
                        </a:defRPr>
                      </a:pPr>
                      <a:r>
                        <a:rPr sz="600">
                          <a:latin typeface="Nexa Book"/>
                        </a:rPr>
                        <a:t>239'613</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91261</a:t>
                      </a:r>
                    </a:p>
                  </a:txBody>
                  <a:tcPr marL="2858" marR="2858" marT="2858" marB="0" anchor="ctr">
                    <a:noFill/>
                  </a:tcPr>
                </a:tc>
                <a:tc>
                  <a:txBody>
                    <a:bodyPr/>
                    <a:lstStyle/>
                    <a:p>
                      <a:pPr algn="ctr">
                        <a:defRPr sz="600">
                          <a:latin typeface="Nexa Book"/>
                        </a:defRPr>
                      </a:pPr>
                      <a:r>
                        <a:rPr sz="600">
                          <a:latin typeface="Nexa Book"/>
                        </a:rPr>
                        <a:t>334%</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27073681"/>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Italien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8.39</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137'902</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63901</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Bottega</a:t>
                      </a:r>
                    </a:p>
                  </a:txBody>
                  <a:tcPr marL="2858" marR="2858" marT="2858" marB="0" anchor="ctr">
                    <a:noFill/>
                  </a:tcPr>
                </a:tc>
                <a:tc>
                  <a:txBody>
                    <a:bodyPr/>
                    <a:lstStyle/>
                    <a:p>
                      <a:pPr algn="l">
                        <a:defRPr sz="600">
                          <a:latin typeface="Nexa Book"/>
                        </a:defRPr>
                      </a:pPr>
                      <a:r>
                        <a:rPr sz="600">
                          <a:latin typeface="Nexa Book"/>
                        </a:rPr>
                        <a:t>PROSECCO VINO DEI POETI ITA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81</a:t>
                      </a:r>
                    </a:p>
                  </a:txBody>
                  <a:tcPr marL="2858" marR="2858" marT="2858" marB="0" anchor="ctr">
                    <a:noFill/>
                  </a:tcPr>
                </a:tc>
                <a:tc>
                  <a:txBody>
                    <a:bodyPr/>
                    <a:lstStyle/>
                    <a:p>
                      <a:pPr algn="ctr">
                        <a:defRPr sz="600">
                          <a:latin typeface="Nexa Book"/>
                        </a:defRPr>
                      </a:pPr>
                      <a:r>
                        <a:rPr sz="600">
                          <a:latin typeface="Nexa Book"/>
                        </a:rPr>
                        <a:t>65'682</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27857</a:t>
                      </a:r>
                    </a:p>
                  </a:txBody>
                  <a:tcPr marL="2858" marR="2858" marT="2858" marB="0" anchor="ctr">
                    <a:noFill/>
                  </a:tcPr>
                </a:tc>
                <a:tc>
                  <a:txBody>
                    <a:bodyPr/>
                    <a:lstStyle/>
                    <a:p>
                      <a:pPr algn="ctr">
                        <a:defRPr sz="600">
                          <a:latin typeface="Nexa Book"/>
                        </a:defRPr>
                      </a:pPr>
                      <a:r>
                        <a:rPr sz="600">
                          <a:latin typeface="Nexa Book"/>
                        </a:rPr>
                        <a:t>38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9141623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lanc De Blancs | NICOLAS PA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GRAND CRU BLC DE BLANCS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38.20</a:t>
                      </a:r>
                    </a:p>
                  </a:txBody>
                  <a:tcPr marL="2858" marR="2858" marT="2858" marB="0" anchor="ctr">
                    <a:noFill/>
                  </a:tcPr>
                </a:tc>
                <a:tc>
                  <a:txBody>
                    <a:bodyPr/>
                    <a:lstStyle/>
                    <a:p>
                      <a:pPr algn="ctr">
                        <a:defRPr sz="600">
                          <a:latin typeface="Nexa Book"/>
                        </a:defRPr>
                      </a:pPr>
                      <a:r>
                        <a:rPr sz="600">
                          <a:latin typeface="Nexa Book"/>
                        </a:rPr>
                        <a:t> 34.19</a:t>
                      </a:r>
                    </a:p>
                  </a:txBody>
                  <a:tcPr marL="2858" marR="2858" marT="2858" marB="0" anchor="ctr">
                    <a:noFill/>
                  </a:tcPr>
                </a:tc>
                <a:tc>
                  <a:txBody>
                    <a:bodyPr/>
                    <a:lstStyle/>
                    <a:p>
                      <a:pPr algn="ctr">
                        <a:defRPr sz="600">
                          <a:latin typeface="Nexa Book"/>
                        </a:defRPr>
                      </a:pPr>
                      <a:r>
                        <a:rPr sz="600">
                          <a:latin typeface="Nexa Book"/>
                        </a:rPr>
                        <a:t>23'21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r>
                        <a:rPr sz="600">
                          <a:latin typeface="Nexa Book"/>
                        </a:rPr>
                        <a:t>12961</a:t>
                      </a:r>
                    </a:p>
                  </a:txBody>
                  <a:tcPr marL="2858" marR="2858" marT="2858" marB="0" anchor="ctr">
                    <a:noFill/>
                  </a:tcPr>
                </a:tc>
                <a:tc>
                  <a:txBody>
                    <a:bodyPr/>
                    <a:lstStyle/>
                    <a:p>
                      <a:pPr algn="ctr">
                        <a:defRPr sz="600">
                          <a:latin typeface="Nexa Book"/>
                        </a:defRPr>
                      </a:pPr>
                      <a:r>
                        <a:rPr sz="600">
                          <a:latin typeface="Nexa Book"/>
                        </a:rPr>
                        <a:t>472%</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De Bligny</a:t>
                      </a:r>
                    </a:p>
                  </a:txBody>
                  <a:tcPr marL="2858" marR="2858" marT="2858" marB="0" anchor="ctr">
                    <a:noFill/>
                  </a:tcPr>
                </a:tc>
                <a:tc>
                  <a:txBody>
                    <a:bodyPr/>
                    <a:lstStyle/>
                    <a:p>
                      <a:pPr algn="l">
                        <a:defRPr sz="600">
                          <a:latin typeface="Nexa Book"/>
                        </a:defRPr>
                      </a:pPr>
                      <a:r>
                        <a:rPr sz="600">
                          <a:latin typeface="Nexa Book"/>
                        </a:rPr>
                        <a:t>CHAMPAGNE CH DE BLIGNY BLC/BLC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43.75</a:t>
                      </a:r>
                    </a:p>
                  </a:txBody>
                  <a:tcPr marL="2858" marR="2858" marT="2858" marB="0" anchor="ctr">
                    <a:noFill/>
                  </a:tcPr>
                </a:tc>
                <a:tc>
                  <a:txBody>
                    <a:bodyPr/>
                    <a:lstStyle/>
                    <a:p>
                      <a:pPr algn="ctr">
                        <a:defRPr sz="600">
                          <a:latin typeface="Nexa Book"/>
                        </a:defRPr>
                      </a:pPr>
                      <a:r>
                        <a:rPr sz="600">
                          <a:latin typeface="Nexa Book"/>
                        </a:rPr>
                        <a:t> 37.03</a:t>
                      </a:r>
                    </a:p>
                  </a:txBody>
                  <a:tcPr marL="2858" marR="2858" marT="2858" marB="0" anchor="ctr">
                    <a:noFill/>
                  </a:tcPr>
                </a:tc>
                <a:tc>
                  <a:txBody>
                    <a:bodyPr/>
                    <a:lstStyle/>
                    <a:p>
                      <a:pPr algn="ctr">
                        <a:defRPr sz="600">
                          <a:latin typeface="Nexa Book"/>
                        </a:defRPr>
                      </a:pPr>
                      <a:r>
                        <a:rPr sz="600">
                          <a:latin typeface="Nexa Book"/>
                        </a:rPr>
                        <a:t>6'258</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168%</a:t>
                      </a:r>
                    </a:p>
                  </a:txBody>
                  <a:tcPr marL="2858" marR="2858" marT="2858" marB="0" anchor="ctr">
                    <a:noFill/>
                  </a:tcPr>
                </a:tc>
                <a:tc>
                  <a:txBody>
                    <a:bodyPr/>
                    <a:lstStyle/>
                    <a:p>
                      <a:pPr algn="ctr">
                        <a:defRPr sz="600">
                          <a:latin typeface="Nexa Book"/>
                        </a:defRPr>
                      </a:pPr>
                      <a:r>
                        <a:rPr sz="600">
                          <a:latin typeface="Nexa Book"/>
                        </a:rPr>
                        <a:t>5306</a:t>
                      </a:r>
                    </a:p>
                  </a:txBody>
                  <a:tcPr marL="2858" marR="2858" marT="2858" marB="0" anchor="ctr">
                    <a:noFill/>
                  </a:tcPr>
                </a:tc>
                <a:tc>
                  <a:txBody>
                    <a:bodyPr/>
                    <a:lstStyle/>
                    <a:p>
                      <a:pPr algn="ctr">
                        <a:defRPr sz="600">
                          <a:latin typeface="Nexa Book"/>
                        </a:defRPr>
                      </a:pPr>
                      <a:r>
                        <a:rPr sz="600">
                          <a:latin typeface="Nexa Book"/>
                        </a:rPr>
                        <a:t>38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LANC DE BLANCS ETUI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52.00</a:t>
                      </a:r>
                    </a:p>
                  </a:txBody>
                  <a:tcPr marL="2858" marR="2858" marT="2858" marB="0" anchor="ctr">
                    <a:noFill/>
                  </a:tcPr>
                </a:tc>
                <a:tc>
                  <a:txBody>
                    <a:bodyPr/>
                    <a:lstStyle/>
                    <a:p>
                      <a:pPr algn="ctr">
                        <a:defRPr sz="600">
                          <a:latin typeface="Nexa Book"/>
                        </a:defRPr>
                      </a:pPr>
                      <a:r>
                        <a:rPr sz="600">
                          <a:latin typeface="Nexa Book"/>
                        </a:rPr>
                        <a:t> 44.03</a:t>
                      </a:r>
                    </a:p>
                  </a:txBody>
                  <a:tcPr marL="2858" marR="2858" marT="2858" marB="0" anchor="ctr">
                    <a:noFill/>
                  </a:tcPr>
                </a:tc>
                <a:tc>
                  <a:txBody>
                    <a:bodyPr/>
                    <a:lstStyle/>
                    <a:p>
                      <a:pPr algn="ctr">
                        <a:defRPr sz="600">
                          <a:latin typeface="Nexa Book"/>
                        </a:defRPr>
                      </a:pPr>
                      <a:r>
                        <a:rPr sz="600">
                          <a:latin typeface="Nexa Book"/>
                        </a:rPr>
                        <a:t>6'693</a:t>
                      </a:r>
                    </a:p>
                  </a:txBody>
                  <a:tcPr marL="2858" marR="2858" marT="2858" marB="0" anchor="ctr">
                    <a:noFill/>
                  </a:tcPr>
                </a:tc>
                <a:tc>
                  <a:txBody>
                    <a:bodyPr/>
                    <a:lstStyle/>
                    <a:p>
                      <a:pPr algn="ctr">
                        <a:defRPr sz="600">
                          <a:latin typeface="Nexa Book"/>
                        </a:defRPr>
                      </a:pPr>
                      <a:r>
                        <a:rPr sz="600">
                          <a:latin typeface="Nexa Book"/>
                        </a:rPr>
                        <a:t>138%</a:t>
                      </a:r>
                    </a:p>
                  </a:txBody>
                  <a:tcPr marL="2858" marR="2858" marT="2858" marB="0" anchor="ctr">
                    <a:noFill/>
                  </a:tcPr>
                </a:tc>
                <a:tc>
                  <a:txBody>
                    <a:bodyPr/>
                    <a:lstStyle/>
                    <a:p>
                      <a:pPr algn="ctr">
                        <a:defRPr sz="600">
                          <a:latin typeface="Nexa Book"/>
                        </a:defRPr>
                      </a:pPr>
                      <a:r>
                        <a:rPr sz="600">
                          <a:latin typeface="Nexa Book"/>
                        </a:rPr>
                        <a:t>180%</a:t>
                      </a:r>
                    </a:p>
                  </a:txBody>
                  <a:tcPr marL="2858" marR="2858" marT="2858" marB="0" anchor="ctr">
                    <a:noFill/>
                  </a:tcPr>
                </a:tc>
                <a:tc>
                  <a:txBody>
                    <a:bodyPr/>
                    <a:lstStyle/>
                    <a:p>
                      <a:pPr algn="ctr">
                        <a:defRPr sz="600">
                          <a:latin typeface="Nexa Book"/>
                        </a:defRPr>
                      </a:pPr>
                      <a:r>
                        <a:rPr sz="600">
                          <a:latin typeface="Nexa Book"/>
                        </a:rPr>
                        <a:t>3937</a:t>
                      </a:r>
                    </a:p>
                  </a:txBody>
                  <a:tcPr marL="2858" marR="2858" marT="2858" marB="0" anchor="ctr">
                    <a:noFill/>
                  </a:tcPr>
                </a:tc>
                <a:tc>
                  <a:txBody>
                    <a:bodyPr/>
                    <a:lstStyle/>
                    <a:p>
                      <a:pPr algn="ctr">
                        <a:defRPr sz="600">
                          <a:latin typeface="Nexa Book"/>
                        </a:defRPr>
                      </a:pPr>
                      <a:r>
                        <a:rPr sz="600">
                          <a:latin typeface="Nexa Book"/>
                        </a:rPr>
                        <a:t>331%</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21770475"/>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Italiens | NICOLAS PA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All Others</a:t>
                      </a:r>
                    </a:p>
                  </a:txBody>
                  <a:tcPr marL="2858" marR="2858" marT="2858" marB="0" anchor="ctr">
                    <a:noFill/>
                  </a:tcPr>
                </a:tc>
                <a:tc>
                  <a:txBody>
                    <a:bodyPr/>
                    <a:lstStyle/>
                    <a:p>
                      <a:pPr algn="l">
                        <a:defRPr sz="600">
                          <a:latin typeface="Nexa Book"/>
                        </a:defRPr>
                      </a:pPr>
                      <a:r>
                        <a:rPr sz="600">
                          <a:latin typeface="Nexa Book"/>
                        </a:rPr>
                        <a:t>PROSECCO CARLO V CUVEE DEL ITA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 8.40</a:t>
                      </a:r>
                    </a:p>
                  </a:txBody>
                  <a:tcPr marL="2858" marR="2858" marT="2858" marB="0" anchor="ctr">
                    <a:noFill/>
                  </a:tcPr>
                </a:tc>
                <a:tc>
                  <a:txBody>
                    <a:bodyPr/>
                    <a:lstStyle/>
                    <a:p>
                      <a:pPr algn="ctr">
                        <a:defRPr sz="600">
                          <a:latin typeface="Nexa Book"/>
                        </a:defRPr>
                      </a:pPr>
                      <a:r>
                        <a:rPr sz="600">
                          <a:latin typeface="Nexa Book"/>
                        </a:rPr>
                        <a:t> 6.70</a:t>
                      </a:r>
                    </a:p>
                  </a:txBody>
                  <a:tcPr marL="2858" marR="2858" marT="2858" marB="0" anchor="ctr">
                    <a:noFill/>
                  </a:tcPr>
                </a:tc>
                <a:tc>
                  <a:txBody>
                    <a:bodyPr/>
                    <a:lstStyle/>
                    <a:p>
                      <a:pPr algn="ctr">
                        <a:defRPr sz="600">
                          <a:latin typeface="Nexa Book"/>
                        </a:defRPr>
                      </a:pPr>
                      <a:r>
                        <a:rPr sz="600">
                          <a:latin typeface="Nexa Book"/>
                        </a:rPr>
                        <a:t>30'852</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r>
                        <a:rPr sz="600">
                          <a:latin typeface="Nexa Book"/>
                        </a:rPr>
                        <a:t>17739</a:t>
                      </a:r>
                    </a:p>
                  </a:txBody>
                  <a:tcPr marL="2858" marR="2858" marT="2858" marB="0" anchor="ctr">
                    <a:noFill/>
                  </a:tcPr>
                </a:tc>
                <a:tc>
                  <a:txBody>
                    <a:bodyPr/>
                    <a:lstStyle/>
                    <a:p>
                      <a:pPr algn="ctr">
                        <a:defRPr sz="600">
                          <a:latin typeface="Nexa Book"/>
                        </a:defRPr>
                      </a:pPr>
                      <a:r>
                        <a:rPr sz="600">
                          <a:latin typeface="Nexa Book"/>
                        </a:rPr>
                        <a:t>228%</a:t>
                      </a:r>
                    </a:p>
                  </a:txBody>
                  <a:tcPr marL="2858" marR="2858" marT="2858" marB="0" anchor="ctr">
                    <a:noFill/>
                  </a:tcPr>
                </a:tc>
                <a:tc>
                  <a:txBody>
                    <a:bodyPr/>
                    <a:lstStyle/>
                    <a:p>
                      <a:pPr algn="ctr">
                        <a:defRPr sz="600">
                          <a:latin typeface="Nexa Book"/>
                        </a:defRPr>
                      </a:pPr>
                      <a:r>
                        <a:rPr sz="600">
                          <a:latin typeface="Nexa Book"/>
                        </a:rPr>
                        <a:t>5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300045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illesime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Dom Perigno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8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Roeder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6566120"/>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illesimes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3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285.17</a:t>
                      </a:r>
                    </a:p>
                  </a:txBody>
                  <a:tcPr marL="2858" marR="2858" marT="2858" marB="0" anchor="ctr">
                    <a:noFill/>
                  </a:tcPr>
                </a:tc>
                <a:tc>
                  <a:txBody>
                    <a:bodyPr/>
                    <a:lstStyle/>
                    <a:p>
                      <a:pPr algn="ctr">
                        <a:defRPr sz="600">
                          <a:latin typeface="Nexa Book"/>
                        </a:defRPr>
                      </a:pPr>
                      <a:r>
                        <a:rPr sz="600">
                          <a:latin typeface="Nexa Book"/>
                        </a:rPr>
                        <a:t> 240.00</a:t>
                      </a:r>
                    </a:p>
                  </a:txBody>
                  <a:tcPr marL="2858" marR="2858" marT="2858" marB="0" anchor="ctr">
                    <a:noFill/>
                  </a:tcPr>
                </a:tc>
                <a:tc>
                  <a:txBody>
                    <a:bodyPr/>
                    <a:lstStyle/>
                    <a:p>
                      <a:pPr algn="ctr">
                        <a:defRPr sz="600">
                          <a:latin typeface="Nexa Book"/>
                        </a:defRPr>
                      </a:pPr>
                      <a:r>
                        <a:rPr sz="600">
                          <a:latin typeface="Nexa Book"/>
                        </a:rPr>
                        <a:t>9'12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142%</a:t>
                      </a:r>
                    </a:p>
                  </a:txBody>
                  <a:tcPr marL="2858" marR="2858" marT="2858" marB="0" anchor="ctr">
                    <a:noFill/>
                  </a:tcPr>
                </a:tc>
                <a:tc>
                  <a:txBody>
                    <a:bodyPr/>
                    <a:lstStyle/>
                    <a:p>
                      <a:pPr algn="ctr">
                        <a:defRPr sz="600">
                          <a:latin typeface="Nexa Book"/>
                        </a:defRPr>
                      </a:pPr>
                      <a:r>
                        <a:rPr sz="600">
                          <a:latin typeface="Nexa Book"/>
                        </a:rPr>
                        <a:t>4555</a:t>
                      </a:r>
                    </a:p>
                  </a:txBody>
                  <a:tcPr marL="2858" marR="2858" marT="2858" marB="0" anchor="ctr">
                    <a:noFill/>
                  </a:tcPr>
                </a:tc>
                <a:tc>
                  <a:txBody>
                    <a:bodyPr/>
                    <a:lstStyle/>
                    <a:p>
                      <a:pPr algn="ctr">
                        <a:defRPr sz="600">
                          <a:latin typeface="Nexa Book"/>
                        </a:defRPr>
                      </a:pPr>
                      <a:r>
                        <a:rPr sz="600">
                          <a:latin typeface="Nexa Book"/>
                        </a:rPr>
                        <a:t>159%</a:t>
                      </a:r>
                    </a:p>
                  </a:txBody>
                  <a:tcPr marL="2858" marR="2858" marT="2858" marB="0" anchor="ctr">
                    <a:noFill/>
                  </a:tcPr>
                </a:tc>
                <a:tc>
                  <a:txBody>
                    <a:bodyPr/>
                    <a:lstStyle/>
                    <a:p>
                      <a:pPr algn="ctr">
                        <a:defRPr sz="600">
                          <a:latin typeface="Nexa Book"/>
                        </a:defRPr>
                      </a:pPr>
                      <a:r>
                        <a:rPr sz="600">
                          <a:latin typeface="Nexa Book"/>
                        </a:rPr>
                        <a:t>3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BRUT MILLESIME 2015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6.00</a:t>
                      </a:r>
                    </a:p>
                  </a:txBody>
                  <a:tcPr marL="2858" marR="2858" marT="2858" marB="0" anchor="ctr">
                    <a:noFill/>
                  </a:tcPr>
                </a:tc>
                <a:tc>
                  <a:txBody>
                    <a:bodyPr/>
                    <a:lstStyle/>
                    <a:p>
                      <a:pPr algn="ctr">
                        <a:defRPr sz="600">
                          <a:latin typeface="Nexa Book"/>
                        </a:defRPr>
                      </a:pPr>
                      <a:r>
                        <a:rPr sz="600">
                          <a:latin typeface="Nexa Book"/>
                        </a:rPr>
                        <a:t>4'392</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2912</a:t>
                      </a:r>
                    </a:p>
                  </a:txBody>
                  <a:tcPr marL="2858" marR="2858" marT="2858" marB="0" anchor="ctr">
                    <a:noFill/>
                  </a:tcPr>
                </a:tc>
                <a:tc>
                  <a:txBody>
                    <a:bodyPr/>
                    <a:lstStyle/>
                    <a:p>
                      <a:pPr algn="ctr">
                        <a:defRPr sz="600">
                          <a:latin typeface="Nexa Book"/>
                        </a:defRPr>
                      </a:pPr>
                      <a:r>
                        <a:rPr sz="600">
                          <a:latin typeface="Nexa Book"/>
                        </a:rPr>
                        <a:t>786%</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475995718"/>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Bourgogne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 14.84</a:t>
                      </a:r>
                    </a:p>
                  </a:txBody>
                  <a:tcPr marL="2858" marR="2858" marT="2858" marB="0" anchor="ctr">
                    <a:noFill/>
                  </a:tcPr>
                </a:tc>
                <a:tc>
                  <a:txBody>
                    <a:bodyPr/>
                    <a:lstStyle/>
                    <a:p>
                      <a:pPr algn="ctr">
                        <a:defRPr sz="600">
                          <a:latin typeface="Nexa Book"/>
                        </a:defRPr>
                      </a:pPr>
                      <a:r>
                        <a:rPr sz="600">
                          <a:latin typeface="Nexa Book"/>
                        </a:rPr>
                        <a:t> 11.10</a:t>
                      </a:r>
                    </a:p>
                  </a:txBody>
                  <a:tcPr marL="2858" marR="2858" marT="2858" marB="0" anchor="ctr">
                    <a:noFill/>
                  </a:tcPr>
                </a:tc>
                <a:tc>
                  <a:txBody>
                    <a:bodyPr/>
                    <a:lstStyle/>
                    <a:p>
                      <a:pPr algn="ctr">
                        <a:defRPr sz="600">
                          <a:latin typeface="Nexa Book"/>
                        </a:defRPr>
                      </a:pPr>
                      <a:r>
                        <a:rPr sz="600">
                          <a:latin typeface="Nexa Book"/>
                        </a:rPr>
                        <a:t>12'872</a:t>
                      </a:r>
                    </a:p>
                  </a:txBody>
                  <a:tcPr marL="2858" marR="2858" marT="2858" marB="0" anchor="ctr">
                    <a:noFill/>
                  </a:tcPr>
                </a:tc>
                <a:tc>
                  <a:txBody>
                    <a:bodyPr/>
                    <a:lstStyle/>
                    <a:p>
                      <a:pPr algn="ctr">
                        <a:defRPr sz="600">
                          <a:latin typeface="Nexa Book"/>
                        </a:defRPr>
                      </a:pPr>
                      <a:r>
                        <a:rPr sz="600">
                          <a:latin typeface="Nexa Book"/>
                        </a:rPr>
                        <a:t>108%</a:t>
                      </a:r>
                    </a:p>
                  </a:txBody>
                  <a:tcPr marL="2858" marR="2858" marT="2858" marB="0" anchor="ctr">
                    <a:noFill/>
                  </a:tcPr>
                </a:tc>
                <a:tc>
                  <a:txBody>
                    <a:bodyPr/>
                    <a:lstStyle/>
                    <a:p>
                      <a:pPr algn="ctr">
                        <a:defRPr sz="600">
                          <a:latin typeface="Nexa Book"/>
                        </a:defRPr>
                      </a:pPr>
                      <a:r>
                        <a:rPr sz="600">
                          <a:latin typeface="Nexa Book"/>
                        </a:rPr>
                        <a:t>174%</a:t>
                      </a:r>
                    </a:p>
                  </a:txBody>
                  <a:tcPr marL="2858" marR="2858" marT="2858" marB="0" anchor="ctr">
                    <a:noFill/>
                  </a:tcPr>
                </a:tc>
                <a:tc>
                  <a:txBody>
                    <a:bodyPr/>
                    <a:lstStyle/>
                    <a:p>
                      <a:pPr algn="ctr">
                        <a:defRPr sz="600">
                          <a:latin typeface="Nexa Book"/>
                        </a:defRPr>
                      </a:pPr>
                      <a:r>
                        <a:rPr sz="600">
                          <a:latin typeface="Nexa Book"/>
                        </a:rPr>
                        <a:t>7221</a:t>
                      </a:r>
                    </a:p>
                  </a:txBody>
                  <a:tcPr marL="2858" marR="2858" marT="2858" marB="0" anchor="ctr">
                    <a:noFill/>
                  </a:tcPr>
                </a:tc>
                <a:tc>
                  <a:txBody>
                    <a:bodyPr/>
                    <a:lstStyle/>
                    <a:p>
                      <a:pPr algn="ctr">
                        <a:defRPr sz="600">
                          <a:latin typeface="Nexa Book"/>
                        </a:defRPr>
                      </a:pPr>
                      <a:r>
                        <a:rPr sz="600">
                          <a:latin typeface="Nexa Book"/>
                        </a:rPr>
                        <a:t>163%</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383159439"/>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xtra Brut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 35.50</a:t>
                      </a:r>
                    </a:p>
                  </a:txBody>
                  <a:tcPr marL="2858" marR="2858" marT="2858" marB="0" anchor="ctr">
                    <a:noFill/>
                  </a:tcPr>
                </a:tc>
                <a:tc>
                  <a:txBody>
                    <a:bodyPr/>
                    <a:lstStyle/>
                    <a:p>
                      <a:pPr algn="ctr">
                        <a:defRPr sz="600">
                          <a:latin typeface="Nexa Book"/>
                        </a:defRPr>
                      </a:pPr>
                      <a:r>
                        <a:rPr sz="600">
                          <a:latin typeface="Nexa Book"/>
                        </a:rPr>
                        <a:t> 29.08</a:t>
                      </a:r>
                    </a:p>
                  </a:txBody>
                  <a:tcPr marL="2858" marR="2858" marT="2858" marB="0" anchor="ctr">
                    <a:noFill/>
                  </a:tcPr>
                </a:tc>
                <a:tc>
                  <a:txBody>
                    <a:bodyPr/>
                    <a:lstStyle/>
                    <a:p>
                      <a:pPr algn="ctr">
                        <a:defRPr sz="600">
                          <a:latin typeface="Nexa Book"/>
                        </a:defRPr>
                      </a:pPr>
                      <a:r>
                        <a:rPr sz="600">
                          <a:latin typeface="Nexa Book"/>
                        </a:rPr>
                        <a:t>19'775</a:t>
                      </a:r>
                    </a:p>
                  </a:txBody>
                  <a:tcPr marL="2858" marR="2858" marT="2858" marB="0" anchor="ctr">
                    <a:noFill/>
                  </a:tcPr>
                </a:tc>
                <a:tc>
                  <a:txBody>
                    <a:bodyPr/>
                    <a:lstStyle/>
                    <a:p>
                      <a:pPr algn="ctr">
                        <a:defRPr sz="600">
                          <a:latin typeface="Nexa Book"/>
                        </a:defRPr>
                      </a:pPr>
                      <a:r>
                        <a:rPr sz="600">
                          <a:latin typeface="Nexa Book"/>
                        </a:rPr>
                        <a:t>306%</a:t>
                      </a:r>
                    </a:p>
                  </a:txBody>
                  <a:tcPr marL="2858" marR="2858" marT="2858" marB="0" anchor="ctr">
                    <a:noFill/>
                  </a:tcPr>
                </a:tc>
                <a:tc>
                  <a:txBody>
                    <a:bodyPr/>
                    <a:lstStyle/>
                    <a:p>
                      <a:pPr algn="ctr">
                        <a:defRPr sz="600">
                          <a:latin typeface="Nexa Book"/>
                        </a:defRPr>
                      </a:pPr>
                      <a:r>
                        <a:rPr sz="600">
                          <a:latin typeface="Nexa Book"/>
                        </a:rPr>
                        <a:t>394%</a:t>
                      </a:r>
                    </a:p>
                  </a:txBody>
                  <a:tcPr marL="2858" marR="2858" marT="2858" marB="0" anchor="ctr">
                    <a:noFill/>
                  </a:tcPr>
                </a:tc>
                <a:tc>
                  <a:txBody>
                    <a:bodyPr/>
                    <a:lstStyle/>
                    <a:p>
                      <a:pPr algn="ctr">
                        <a:defRPr sz="600">
                          <a:latin typeface="Nexa Book"/>
                        </a:defRPr>
                      </a:pPr>
                      <a:r>
                        <a:rPr sz="600">
                          <a:latin typeface="Nexa Book"/>
                        </a:rPr>
                        <a:t>15946</a:t>
                      </a:r>
                    </a:p>
                  </a:txBody>
                  <a:tcPr marL="2858" marR="2858" marT="2858" marB="0" anchor="ctr">
                    <a:noFill/>
                  </a:tcPr>
                </a:tc>
                <a:tc>
                  <a:txBody>
                    <a:bodyPr/>
                    <a:lstStyle/>
                    <a:p>
                      <a:pPr algn="ctr">
                        <a:defRPr sz="600">
                          <a:latin typeface="Nexa Book"/>
                        </a:defRPr>
                      </a:pPr>
                      <a:r>
                        <a:rPr sz="600">
                          <a:latin typeface="Nexa Book"/>
                        </a:rPr>
                        <a:t>34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299817708"/>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NICOLAS ES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r>
                        <a:rPr sz="600">
                          <a:latin typeface="Nexa Book"/>
                        </a:rPr>
                        <a:t> 33.25</a:t>
                      </a:r>
                    </a:p>
                  </a:txBody>
                  <a:tcPr marL="2858" marR="2858" marT="2858" marB="0" anchor="ctr">
                    <a:noFill/>
                  </a:tcPr>
                </a:tc>
                <a:tc>
                  <a:txBody>
                    <a:bodyPr/>
                    <a:lstStyle/>
                    <a:p>
                      <a:pPr algn="ctr">
                        <a:defRPr sz="600">
                          <a:latin typeface="Nexa Book"/>
                        </a:defRPr>
                      </a:pPr>
                      <a:r>
                        <a:rPr sz="600">
                          <a:latin typeface="Nexa Book"/>
                        </a:rPr>
                        <a:t> 29.21</a:t>
                      </a:r>
                    </a:p>
                  </a:txBody>
                  <a:tcPr marL="2858" marR="2858" marT="2858" marB="0" anchor="ctr">
                    <a:noFill/>
                  </a:tcPr>
                </a:tc>
                <a:tc>
                  <a:txBody>
                    <a:bodyPr/>
                    <a:lstStyle/>
                    <a:p>
                      <a:pPr algn="ctr">
                        <a:defRPr sz="600">
                          <a:latin typeface="Nexa Book"/>
                        </a:defRPr>
                      </a:pPr>
                      <a:r>
                        <a:rPr sz="600">
                          <a:latin typeface="Nexa Book"/>
                        </a:rPr>
                        <a:t>21'0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105%</a:t>
                      </a:r>
                    </a:p>
                  </a:txBody>
                  <a:tcPr marL="2858" marR="2858" marT="2858" marB="0" anchor="ctr">
                    <a:noFill/>
                  </a:tcPr>
                </a:tc>
                <a:tc>
                  <a:txBody>
                    <a:bodyPr/>
                    <a:lstStyle/>
                    <a:p>
                      <a:pPr algn="ctr">
                        <a:defRPr sz="600">
                          <a:latin typeface="Nexa Book"/>
                        </a:defRPr>
                      </a:pPr>
                      <a:r>
                        <a:rPr sz="600">
                          <a:latin typeface="Nexa Book"/>
                        </a:rPr>
                        <a:t>12068</a:t>
                      </a:r>
                    </a:p>
                  </a:txBody>
                  <a:tcPr marL="2858" marR="2858" marT="2858" marB="0" anchor="ctr">
                    <a:noFill/>
                  </a:tcPr>
                </a:tc>
                <a:tc>
                  <a:txBody>
                    <a:bodyPr/>
                    <a:lstStyle/>
                    <a:p>
                      <a:pPr algn="ctr">
                        <a:defRPr sz="600">
                          <a:latin typeface="Nexa Book"/>
                        </a:defRPr>
                      </a:pPr>
                      <a:r>
                        <a:rPr sz="600">
                          <a:latin typeface="Nexa Book"/>
                        </a:rPr>
                        <a:t>37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57329286"/>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Val De Loire | NICOLAS ES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28</a:t>
                      </a:r>
                    </a:p>
                  </a:txBody>
                  <a:tcPr marL="2858" marR="2858" marT="2858" marB="0" anchor="ctr">
                    <a:noFill/>
                  </a:tcPr>
                </a:tc>
                <a:tc>
                  <a:txBody>
                    <a:bodyPr/>
                    <a:lstStyle/>
                    <a:p>
                      <a:pPr algn="ctr">
                        <a:defRPr sz="600">
                          <a:latin typeface="Nexa Book"/>
                        </a:defRPr>
                      </a:pPr>
                      <a:r>
                        <a:rPr sz="600">
                          <a:latin typeface="Nexa Book"/>
                        </a:rPr>
                        <a:t>689</a:t>
                      </a:r>
                    </a:p>
                  </a:txBody>
                  <a:tcPr marL="2858" marR="2858" marT="2858" marB="0" anchor="ctr">
                    <a:noFill/>
                  </a:tcPr>
                </a:tc>
                <a:tc>
                  <a:txBody>
                    <a:bodyPr/>
                    <a:lstStyle/>
                    <a:p>
                      <a:pPr algn="ctr">
                        <a:defRPr sz="600">
                          <a:latin typeface="Nexa Book"/>
                        </a:defRPr>
                      </a:pPr>
                      <a:r>
                        <a:rPr sz="600">
                          <a:latin typeface="Nexa Book"/>
                        </a:rPr>
                        <a:t>113%</a:t>
                      </a:r>
                    </a:p>
                  </a:txBody>
                  <a:tcPr marL="2858" marR="2858" marT="2858" marB="0" anchor="ctr">
                    <a:noFill/>
                  </a:tcPr>
                </a:tc>
                <a:tc>
                  <a:txBody>
                    <a:bodyPr/>
                    <a:lstStyle/>
                    <a:p>
                      <a:pPr algn="ctr">
                        <a:defRPr sz="600">
                          <a:latin typeface="Nexa Book"/>
                        </a:defRPr>
                      </a:pPr>
                      <a:r>
                        <a:rPr sz="600">
                          <a:latin typeface="Nexa Book"/>
                        </a:rPr>
                        <a:t>189%</a:t>
                      </a:r>
                    </a:p>
                  </a:txBody>
                  <a:tcPr marL="2858" marR="2858" marT="2858" marB="0" anchor="ctr">
                    <a:noFill/>
                  </a:tcPr>
                </a:tc>
                <a:tc>
                  <a:txBody>
                    <a:bodyPr/>
                    <a:lstStyle/>
                    <a:p>
                      <a:pPr algn="ctr">
                        <a:defRPr sz="600">
                          <a:latin typeface="Nexa Book"/>
                        </a:defRPr>
                      </a:pPr>
                      <a:r>
                        <a:rPr sz="600">
                          <a:latin typeface="Nexa Book"/>
                        </a:rPr>
                        <a:t>365</a:t>
                      </a:r>
                    </a:p>
                  </a:txBody>
                  <a:tcPr marL="2858" marR="2858" marT="2858" marB="0" anchor="ctr">
                    <a:noFill/>
                  </a:tcPr>
                </a:tc>
                <a:tc>
                  <a:txBody>
                    <a:bodyPr/>
                    <a:lstStyle/>
                    <a:p>
                      <a:pPr algn="ctr">
                        <a:defRPr sz="600">
                          <a:latin typeface="Nexa Book"/>
                        </a:defRPr>
                      </a:pPr>
                      <a:r>
                        <a:rPr sz="600">
                          <a:latin typeface="Nexa Book"/>
                        </a:rPr>
                        <a:t>148%</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De Chanceny</a:t>
                      </a:r>
                    </a:p>
                  </a:txBody>
                  <a:tcPr marL="2858" marR="2858" marT="2858" marB="0" anchor="ctr">
                    <a:noFill/>
                  </a:tcPr>
                </a:tc>
                <a:tc>
                  <a:txBody>
                    <a:bodyPr/>
                    <a:lstStyle/>
                    <a:p>
                      <a:pPr algn="l">
                        <a:defRPr sz="600">
                          <a:latin typeface="Nexa Book"/>
                        </a:defRPr>
                      </a:pPr>
                      <a:r>
                        <a:rPr sz="600">
                          <a:latin typeface="Nexa Book"/>
                        </a:rPr>
                        <a:t>CREMANT LOIRE NATURE 2015AC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1.95</a:t>
                      </a:r>
                    </a:p>
                  </a:txBody>
                  <a:tcPr marL="2858" marR="2858" marT="2858" marB="0" anchor="ctr">
                    <a:noFill/>
                  </a:tcPr>
                </a:tc>
                <a:tc>
                  <a:txBody>
                    <a:bodyPr/>
                    <a:lstStyle/>
                    <a:p>
                      <a:pPr algn="ctr">
                        <a:defRPr sz="600">
                          <a:latin typeface="Nexa Book"/>
                        </a:defRPr>
                      </a:pPr>
                      <a:r>
                        <a:rPr sz="600">
                          <a:latin typeface="Nexa Book"/>
                        </a:rPr>
                        <a:t>454</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893130719"/>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lanc De Blancs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GRAND CRU BLC DE BLANCS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 38.16</a:t>
                      </a:r>
                    </a:p>
                  </a:txBody>
                  <a:tcPr marL="2858" marR="2858" marT="2858" marB="0" anchor="ctr">
                    <a:noFill/>
                  </a:tcPr>
                </a:tc>
                <a:tc>
                  <a:txBody>
                    <a:bodyPr/>
                    <a:lstStyle/>
                    <a:p>
                      <a:pPr algn="ctr">
                        <a:defRPr sz="600">
                          <a:latin typeface="Nexa Book"/>
                        </a:defRPr>
                      </a:pPr>
                      <a:r>
                        <a:rPr sz="600">
                          <a:latin typeface="Nexa Book"/>
                        </a:rPr>
                        <a:t> 34.26</a:t>
                      </a:r>
                    </a:p>
                  </a:txBody>
                  <a:tcPr marL="2858" marR="2858" marT="2858" marB="0" anchor="ctr">
                    <a:noFill/>
                  </a:tcPr>
                </a:tc>
                <a:tc>
                  <a:txBody>
                    <a:bodyPr/>
                    <a:lstStyle/>
                    <a:p>
                      <a:pPr algn="ctr">
                        <a:defRPr sz="600">
                          <a:latin typeface="Nexa Book"/>
                        </a:defRPr>
                      </a:pPr>
                      <a:r>
                        <a:rPr sz="600">
                          <a:latin typeface="Nexa Book"/>
                        </a:rPr>
                        <a:t>82'509</a:t>
                      </a:r>
                    </a:p>
                  </a:txBody>
                  <a:tcPr marL="2858" marR="2858" marT="2858" marB="0" anchor="ctr">
                    <a:noFill/>
                  </a:tcPr>
                </a:tc>
                <a:tc>
                  <a:txBody>
                    <a:bodyPr/>
                    <a:lstStyle/>
                    <a:p>
                      <a:pPr algn="ctr">
                        <a:defRPr sz="600">
                          <a:latin typeface="Nexa Book"/>
                        </a:defRPr>
                      </a:pPr>
                      <a:r>
                        <a:rPr sz="600">
                          <a:latin typeface="Nexa Book"/>
                        </a:rPr>
                        <a:t>134%</a:t>
                      </a:r>
                    </a:p>
                  </a:txBody>
                  <a:tcPr marL="2858" marR="2858" marT="2858" marB="0" anchor="ctr">
                    <a:noFill/>
                  </a:tcPr>
                </a:tc>
                <a:tc>
                  <a:txBody>
                    <a:bodyPr/>
                    <a:lstStyle/>
                    <a:p>
                      <a:pPr algn="ctr">
                        <a:defRPr sz="600">
                          <a:latin typeface="Nexa Book"/>
                        </a:defRPr>
                      </a:pPr>
                      <a:r>
                        <a:rPr sz="600">
                          <a:latin typeface="Nexa Book"/>
                        </a:rPr>
                        <a:t>157%</a:t>
                      </a:r>
                    </a:p>
                  </a:txBody>
                  <a:tcPr marL="2858" marR="2858" marT="2858" marB="0" anchor="ctr">
                    <a:noFill/>
                  </a:tcPr>
                </a:tc>
                <a:tc>
                  <a:txBody>
                    <a:bodyPr/>
                    <a:lstStyle/>
                    <a:p>
                      <a:pPr algn="ctr">
                        <a:defRPr sz="600">
                          <a:latin typeface="Nexa Book"/>
                        </a:defRPr>
                      </a:pPr>
                      <a:r>
                        <a:rPr sz="600">
                          <a:latin typeface="Nexa Book"/>
                        </a:rPr>
                        <a:t>49843</a:t>
                      </a:r>
                    </a:p>
                  </a:txBody>
                  <a:tcPr marL="2858" marR="2858" marT="2858" marB="0" anchor="ctr">
                    <a:noFill/>
                  </a:tcPr>
                </a:tc>
                <a:tc>
                  <a:txBody>
                    <a:bodyPr/>
                    <a:lstStyle/>
                    <a:p>
                      <a:pPr algn="ctr">
                        <a:defRPr sz="600">
                          <a:latin typeface="Nexa Book"/>
                        </a:defRPr>
                      </a:pPr>
                      <a:r>
                        <a:rPr sz="600">
                          <a:latin typeface="Nexa Book"/>
                        </a:rPr>
                        <a:t>57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Henriot</a:t>
                      </a:r>
                    </a:p>
                  </a:txBody>
                  <a:tcPr marL="2858" marR="2858" marT="2858" marB="0" anchor="ctr">
                    <a:noFill/>
                  </a:tcPr>
                </a:tc>
                <a:tc>
                  <a:txBody>
                    <a:bodyPr/>
                    <a:lstStyle/>
                    <a:p>
                      <a:pPr algn="l">
                        <a:defRPr sz="600">
                          <a:latin typeface="Nexa Book"/>
                        </a:defRPr>
                      </a:pPr>
                      <a:r>
                        <a:rPr sz="600">
                          <a:latin typeface="Nexa Book"/>
                        </a:rPr>
                        <a:t>HENRIOT BLANC DE BLANCS 1CT X 750ML</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 52.00</a:t>
                      </a:r>
                    </a:p>
                  </a:txBody>
                  <a:tcPr marL="2858" marR="2858" marT="2858" marB="0" anchor="ctr">
                    <a:noFill/>
                  </a:tcPr>
                </a:tc>
                <a:tc>
                  <a:txBody>
                    <a:bodyPr/>
                    <a:lstStyle/>
                    <a:p>
                      <a:pPr algn="ctr">
                        <a:defRPr sz="600">
                          <a:latin typeface="Nexa Book"/>
                        </a:defRPr>
                      </a:pPr>
                      <a:r>
                        <a:rPr sz="600">
                          <a:latin typeface="Nexa Book"/>
                        </a:rPr>
                        <a:t> 44.04</a:t>
                      </a:r>
                    </a:p>
                  </a:txBody>
                  <a:tcPr marL="2858" marR="2858" marT="2858" marB="0" anchor="ctr">
                    <a:noFill/>
                  </a:tcPr>
                </a:tc>
                <a:tc>
                  <a:txBody>
                    <a:bodyPr/>
                    <a:lstStyle/>
                    <a:p>
                      <a:pPr algn="ctr">
                        <a:defRPr sz="600">
                          <a:latin typeface="Nexa Book"/>
                        </a:defRPr>
                      </a:pPr>
                      <a:r>
                        <a:rPr sz="600">
                          <a:latin typeface="Nexa Book"/>
                        </a:rPr>
                        <a:t>23'562</a:t>
                      </a:r>
                    </a:p>
                  </a:txBody>
                  <a:tcPr marL="2858" marR="2858" marT="2858" marB="0" anchor="ctr">
                    <a:noFill/>
                  </a:tcPr>
                </a:tc>
                <a:tc>
                  <a:txBody>
                    <a:bodyPr/>
                    <a:lstStyle/>
                    <a:p>
                      <a:pPr algn="ctr">
                        <a:defRPr sz="600">
                          <a:latin typeface="Nexa Book"/>
                        </a:defRPr>
                      </a:pPr>
                      <a:r>
                        <a:rPr sz="600">
                          <a:latin typeface="Nexa Book"/>
                        </a:rPr>
                        <a:t>153%</a:t>
                      </a:r>
                    </a:p>
                  </a:txBody>
                  <a:tcPr marL="2858" marR="2858" marT="2858" marB="0" anchor="ctr">
                    <a:noFill/>
                  </a:tcPr>
                </a:tc>
                <a:tc>
                  <a:txBody>
                    <a:bodyPr/>
                    <a:lstStyle/>
                    <a:p>
                      <a:pPr algn="ctr">
                        <a:defRPr sz="600">
                          <a:latin typeface="Nexa Book"/>
                        </a:defRPr>
                      </a:pPr>
                      <a:r>
                        <a:rPr sz="600">
                          <a:latin typeface="Nexa Book"/>
                        </a:rPr>
                        <a:t>197%</a:t>
                      </a:r>
                    </a:p>
                  </a:txBody>
                  <a:tcPr marL="2858" marR="2858" marT="2858" marB="0" anchor="ctr">
                    <a:noFill/>
                  </a:tcPr>
                </a:tc>
                <a:tc>
                  <a:txBody>
                    <a:bodyPr/>
                    <a:lstStyle/>
                    <a:p>
                      <a:pPr algn="ctr">
                        <a:defRPr sz="600">
                          <a:latin typeface="Nexa Book"/>
                        </a:defRPr>
                      </a:pPr>
                      <a:r>
                        <a:rPr sz="600">
                          <a:latin typeface="Nexa Book"/>
                        </a:rPr>
                        <a:t>14774</a:t>
                      </a:r>
                    </a:p>
                  </a:txBody>
                  <a:tcPr marL="2858" marR="2858" marT="2858" marB="0" anchor="ctr">
                    <a:noFill/>
                  </a:tcPr>
                </a:tc>
                <a:tc>
                  <a:txBody>
                    <a:bodyPr/>
                    <a:lstStyle/>
                    <a:p>
                      <a:pPr algn="ctr">
                        <a:defRPr sz="600">
                          <a:latin typeface="Nexa Book"/>
                        </a:defRPr>
                      </a:pPr>
                      <a:r>
                        <a:rPr sz="600">
                          <a:latin typeface="Nexa Book"/>
                        </a:rPr>
                        <a:t>346%</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593503529"/>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Bourgogne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Patriarche</a:t>
                      </a:r>
                    </a:p>
                  </a:txBody>
                  <a:tcPr marL="2858" marR="2858" marT="2858" marB="0" anchor="ctr">
                    <a:noFill/>
                  </a:tcPr>
                </a:tc>
                <a:tc>
                  <a:txBody>
                    <a:bodyPr/>
                    <a:lstStyle/>
                    <a:p>
                      <a:pPr algn="l">
                        <a:defRPr sz="600">
                          <a:latin typeface="Nexa Book"/>
                        </a:defRPr>
                      </a:pPr>
                      <a:r>
                        <a:rPr sz="600">
                          <a:latin typeface="Nexa Book"/>
                        </a:rPr>
                        <a:t>CREMANT BOURG PATRIARCHE AC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14.76</a:t>
                      </a:r>
                    </a:p>
                  </a:txBody>
                  <a:tcPr marL="2858" marR="2858" marT="2858" marB="0" anchor="ctr">
                    <a:noFill/>
                  </a:tcPr>
                </a:tc>
                <a:tc>
                  <a:txBody>
                    <a:bodyPr/>
                    <a:lstStyle/>
                    <a:p>
                      <a:pPr algn="ctr">
                        <a:defRPr sz="600">
                          <a:latin typeface="Nexa Book"/>
                        </a:defRPr>
                      </a:pPr>
                      <a:r>
                        <a:rPr sz="600">
                          <a:latin typeface="Nexa Book"/>
                        </a:rPr>
                        <a:t> 11.14</a:t>
                      </a:r>
                    </a:p>
                  </a:txBody>
                  <a:tcPr marL="2858" marR="2858" marT="2858" marB="0" anchor="ctr">
                    <a:noFill/>
                  </a:tcPr>
                </a:tc>
                <a:tc>
                  <a:txBody>
                    <a:bodyPr/>
                    <a:lstStyle/>
                    <a:p>
                      <a:pPr algn="ctr">
                        <a:defRPr sz="600">
                          <a:latin typeface="Nexa Book"/>
                        </a:defRPr>
                      </a:pPr>
                      <a:r>
                        <a:rPr sz="600">
                          <a:latin typeface="Nexa Book"/>
                        </a:rPr>
                        <a:t>39'713</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148%</a:t>
                      </a:r>
                    </a:p>
                  </a:txBody>
                  <a:tcPr marL="2858" marR="2858" marT="2858" marB="0" anchor="ctr">
                    <a:noFill/>
                  </a:tcPr>
                </a:tc>
                <a:tc>
                  <a:txBody>
                    <a:bodyPr/>
                    <a:lstStyle/>
                    <a:p>
                      <a:pPr algn="ctr">
                        <a:defRPr sz="600">
                          <a:latin typeface="Nexa Book"/>
                        </a:defRPr>
                      </a:pPr>
                      <a:r>
                        <a:rPr sz="600">
                          <a:latin typeface="Nexa Book"/>
                        </a:rPr>
                        <a:t>20843</a:t>
                      </a:r>
                    </a:p>
                  </a:txBody>
                  <a:tcPr marL="2858" marR="2858" marT="2858" marB="0" anchor="ctr">
                    <a:noFill/>
                  </a:tcPr>
                </a:tc>
                <a:tc>
                  <a:txBody>
                    <a:bodyPr/>
                    <a:lstStyle/>
                    <a:p>
                      <a:pPr algn="ctr">
                        <a:defRPr sz="600">
                          <a:latin typeface="Nexa Book"/>
                        </a:defRPr>
                      </a:pPr>
                      <a:r>
                        <a:rPr sz="600">
                          <a:latin typeface="Nexa Book"/>
                        </a:rPr>
                        <a:t>161%</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32114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Val De Loire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27'127</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14035</a:t>
                      </a:r>
                    </a:p>
                  </a:txBody>
                  <a:tcPr marL="2858" marR="2858" marT="2858" marB="0" anchor="ctr">
                    <a:noFill/>
                  </a:tcPr>
                </a:tc>
                <a:tc>
                  <a:txBody>
                    <a:bodyPr/>
                    <a:lstStyle/>
                    <a:p>
                      <a:pPr algn="ctr">
                        <a:defRPr sz="600">
                          <a:latin typeface="Nexa Book"/>
                        </a:defRPr>
                      </a:pPr>
                      <a:r>
                        <a:rPr sz="600">
                          <a:latin typeface="Nexa Book"/>
                        </a:rPr>
                        <a:t>320%</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De Chanceny</a:t>
                      </a:r>
                    </a:p>
                  </a:txBody>
                  <a:tcPr marL="2858" marR="2858" marT="2858" marB="0" anchor="ctr">
                    <a:noFill/>
                  </a:tcPr>
                </a:tc>
                <a:tc>
                  <a:txBody>
                    <a:bodyPr/>
                    <a:lstStyle/>
                    <a:p>
                      <a:pPr algn="l">
                        <a:defRPr sz="600">
                          <a:latin typeface="Nexa Book"/>
                        </a:defRPr>
                      </a:pPr>
                      <a:r>
                        <a:rPr sz="600">
                          <a:latin typeface="Nexa Book"/>
                        </a:rPr>
                        <a:t>CREMANT LOIRE NATURE 2015AC 1CT X 750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4.48</a:t>
                      </a:r>
                    </a:p>
                  </a:txBody>
                  <a:tcPr marL="2858" marR="2858" marT="2858" marB="0" anchor="ctr">
                    <a:noFill/>
                  </a:tcPr>
                </a:tc>
                <a:tc>
                  <a:txBody>
                    <a:bodyPr/>
                    <a:lstStyle/>
                    <a:p>
                      <a:pPr algn="ctr">
                        <a:defRPr sz="600">
                          <a:latin typeface="Nexa Book"/>
                        </a:defRPr>
                      </a:pPr>
                      <a:r>
                        <a:rPr sz="600">
                          <a:latin typeface="Nexa Book"/>
                        </a:rPr>
                        <a:t> 11.74</a:t>
                      </a:r>
                    </a:p>
                  </a:txBody>
                  <a:tcPr marL="2858" marR="2858" marT="2858" marB="0" anchor="ctr">
                    <a:noFill/>
                  </a:tcPr>
                </a:tc>
                <a:tc>
                  <a:txBody>
                    <a:bodyPr/>
                    <a:lstStyle/>
                    <a:p>
                      <a:pPr algn="ctr">
                        <a:defRPr sz="600">
                          <a:latin typeface="Nexa Book"/>
                        </a:defRPr>
                      </a:pPr>
                      <a:r>
                        <a:rPr sz="600">
                          <a:latin typeface="Nexa Book"/>
                        </a:rPr>
                        <a:t>13'975</a:t>
                      </a:r>
                    </a:p>
                  </a:txBody>
                  <a:tcPr marL="2858" marR="2858" marT="2858" marB="0" anchor="ctr">
                    <a:noFill/>
                  </a:tcPr>
                </a:tc>
                <a:tc>
                  <a:txBody>
                    <a:bodyPr/>
                    <a:lstStyle/>
                    <a:p>
                      <a:pPr algn="ctr">
                        <a:defRPr sz="600">
                          <a:latin typeface="Nexa Book"/>
                        </a:defRPr>
                      </a:pPr>
                      <a:r>
                        <a:rPr sz="600">
                          <a:latin typeface="Nexa Book"/>
                        </a:rPr>
                        <a:t>261%</a:t>
                      </a:r>
                    </a:p>
                  </a:txBody>
                  <a:tcPr marL="2858" marR="2858" marT="2858" marB="0" anchor="ctr">
                    <a:noFill/>
                  </a:tcPr>
                </a:tc>
                <a:tc>
                  <a:txBody>
                    <a:bodyPr/>
                    <a:lstStyle/>
                    <a:p>
                      <a:pPr algn="ctr">
                        <a:defRPr sz="600">
                          <a:latin typeface="Nexa Book"/>
                        </a:defRPr>
                      </a:pPr>
                      <a:r>
                        <a:rPr sz="600">
                          <a:latin typeface="Nexa Book"/>
                        </a:rPr>
                        <a:t>338%</a:t>
                      </a:r>
                    </a:p>
                  </a:txBody>
                  <a:tcPr marL="2858" marR="2858" marT="2858" marB="0" anchor="ctr">
                    <a:noFill/>
                  </a:tcPr>
                </a:tc>
                <a:tc>
                  <a:txBody>
                    <a:bodyPr/>
                    <a:lstStyle/>
                    <a:p>
                      <a:pPr algn="ctr">
                        <a:defRPr sz="600">
                          <a:latin typeface="Nexa Book"/>
                        </a:defRPr>
                      </a:pPr>
                      <a:r>
                        <a:rPr sz="600">
                          <a:latin typeface="Nexa Book"/>
                        </a:rPr>
                        <a:t>11100</a:t>
                      </a:r>
                    </a:p>
                  </a:txBody>
                  <a:tcPr marL="2858" marR="2858" marT="2858" marB="0" anchor="ctr">
                    <a:noFill/>
                  </a:tcPr>
                </a:tc>
                <a:tc>
                  <a:txBody>
                    <a:bodyPr/>
                    <a:lstStyle/>
                    <a:p>
                      <a:pPr algn="ctr">
                        <a:defRPr sz="600">
                          <a:latin typeface="Nexa Book"/>
                        </a:defRPr>
                      </a:pPr>
                      <a:r>
                        <a:rPr sz="600">
                          <a:latin typeface="Nexa Book"/>
                        </a:rPr>
                        <a:t>317%</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762950378"/>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osés | CA B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NUE)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 93.19</a:t>
                      </a:r>
                    </a:p>
                  </a:txBody>
                  <a:tcPr marL="2858" marR="2858" marT="2858" marB="0" anchor="ctr">
                    <a:noFill/>
                  </a:tcPr>
                </a:tc>
                <a:tc>
                  <a:txBody>
                    <a:bodyPr/>
                    <a:lstStyle/>
                    <a:p>
                      <a:pPr algn="ctr">
                        <a:defRPr sz="600">
                          <a:latin typeface="Nexa Book"/>
                        </a:defRPr>
                      </a:pPr>
                      <a:r>
                        <a:rPr sz="600">
                          <a:latin typeface="Nexa Book"/>
                        </a:rPr>
                        <a:t> 84.23</a:t>
                      </a:r>
                    </a:p>
                  </a:txBody>
                  <a:tcPr marL="2858" marR="2858" marT="2858" marB="0" anchor="ctr">
                    <a:noFill/>
                  </a:tcPr>
                </a:tc>
                <a:tc>
                  <a:txBody>
                    <a:bodyPr/>
                    <a:lstStyle/>
                    <a:p>
                      <a:pPr algn="ctr">
                        <a:defRPr sz="600">
                          <a:latin typeface="Nexa Book"/>
                        </a:defRPr>
                      </a:pPr>
                      <a:r>
                        <a:rPr sz="600">
                          <a:latin typeface="Nexa Book"/>
                        </a:rPr>
                        <a:t>44'307</a:t>
                      </a:r>
                    </a:p>
                  </a:txBody>
                  <a:tcPr marL="2858" marR="2858" marT="2858" marB="0" anchor="ctr">
                    <a:noFill/>
                  </a:tcPr>
                </a:tc>
                <a:tc>
                  <a:txBody>
                    <a:bodyPr/>
                    <a:lstStyle/>
                    <a:p>
                      <a:pPr algn="ctr">
                        <a:defRPr sz="600">
                          <a:latin typeface="Nexa Book"/>
                        </a:defRPr>
                      </a:pPr>
                      <a:r>
                        <a:rPr sz="600">
                          <a:latin typeface="Nexa Book"/>
                        </a:rPr>
                        <a:t>240%</a:t>
                      </a:r>
                    </a:p>
                  </a:txBody>
                  <a:tcPr marL="2858" marR="2858" marT="2858" marB="0" anchor="ctr">
                    <a:noFill/>
                  </a:tcPr>
                </a:tc>
                <a:tc>
                  <a:txBody>
                    <a:bodyPr/>
                    <a:lstStyle/>
                    <a:p>
                      <a:pPr algn="ctr">
                        <a:defRPr sz="600">
                          <a:latin typeface="Nexa Book"/>
                        </a:defRPr>
                      </a:pPr>
                      <a:r>
                        <a:rPr sz="600">
                          <a:latin typeface="Nexa Book"/>
                        </a:rPr>
                        <a:t>269%</a:t>
                      </a:r>
                    </a:p>
                  </a:txBody>
                  <a:tcPr marL="2858" marR="2858" marT="2858" marB="0" anchor="ctr">
                    <a:noFill/>
                  </a:tcPr>
                </a:tc>
                <a:tc>
                  <a:txBody>
                    <a:bodyPr/>
                    <a:lstStyle/>
                    <a:p>
                      <a:pPr algn="ctr">
                        <a:defRPr sz="600">
                          <a:latin typeface="Nexa Book"/>
                        </a:defRPr>
                      </a:pPr>
                      <a:r>
                        <a:rPr sz="600">
                          <a:latin typeface="Nexa Book"/>
                        </a:rPr>
                        <a:t>32730</a:t>
                      </a:r>
                    </a:p>
                  </a:txBody>
                  <a:tcPr marL="2858" marR="2858" marT="2858" marB="0" anchor="ctr">
                    <a:noFill/>
                  </a:tcPr>
                </a:tc>
                <a:tc>
                  <a:txBody>
                    <a:bodyPr/>
                    <a:lstStyle/>
                    <a:p>
                      <a:pPr algn="ctr">
                        <a:defRPr sz="600">
                          <a:latin typeface="Nexa Book"/>
                        </a:defRPr>
                      </a:pPr>
                      <a:r>
                        <a:rPr sz="600">
                          <a:latin typeface="Nexa Book"/>
                        </a:rPr>
                        <a:t>817%</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ROSE PRES SPECIALE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5.93</a:t>
                      </a:r>
                    </a:p>
                  </a:txBody>
                  <a:tcPr marL="2858" marR="2858" marT="2858" marB="0" anchor="ctr">
                    <a:noFill/>
                  </a:tcPr>
                </a:tc>
                <a:tc>
                  <a:txBody>
                    <a:bodyPr/>
                    <a:lstStyle/>
                    <a:p>
                      <a:pPr algn="ctr">
                        <a:defRPr sz="600">
                          <a:latin typeface="Nexa Book"/>
                        </a:defRPr>
                      </a:pPr>
                      <a:r>
                        <a:rPr sz="600">
                          <a:latin typeface="Nexa Book"/>
                        </a:rPr>
                        <a:t>37'731</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248%</a:t>
                      </a:r>
                    </a:p>
                  </a:txBody>
                  <a:tcPr marL="2858" marR="2858" marT="2858" marB="0" anchor="ctr">
                    <a:noFill/>
                  </a:tcPr>
                </a:tc>
                <a:tc>
                  <a:txBody>
                    <a:bodyPr/>
                    <a:lstStyle/>
                    <a:p>
                      <a:pPr algn="ctr">
                        <a:defRPr sz="600">
                          <a:latin typeface="Nexa Book"/>
                        </a:defRPr>
                      </a:pPr>
                      <a:r>
                        <a:rPr sz="600">
                          <a:latin typeface="Nexa Book"/>
                        </a:rPr>
                        <a:t>27057</a:t>
                      </a:r>
                    </a:p>
                  </a:txBody>
                  <a:tcPr marL="2858" marR="2858" marT="2858" marB="0" anchor="ctr">
                    <a:noFill/>
                  </a:tcPr>
                </a:tc>
                <a:tc>
                  <a:txBody>
                    <a:bodyPr/>
                    <a:lstStyle/>
                    <a:p>
                      <a:pPr algn="ctr">
                        <a:defRPr sz="600">
                          <a:latin typeface="Nexa Book"/>
                        </a:defRPr>
                      </a:pPr>
                      <a:r>
                        <a:rPr sz="600">
                          <a:latin typeface="Nexa Book"/>
                        </a:rPr>
                        <a:t>664%</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ROSE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63.72</a:t>
                      </a:r>
                    </a:p>
                  </a:txBody>
                  <a:tcPr marL="2858" marR="2858" marT="2858" marB="0" anchor="ctr">
                    <a:noFill/>
                  </a:tcPr>
                </a:tc>
                <a:tc>
                  <a:txBody>
                    <a:bodyPr/>
                    <a:lstStyle/>
                    <a:p>
                      <a:pPr algn="ctr">
                        <a:defRPr sz="600">
                          <a:latin typeface="Nexa Book"/>
                        </a:defRPr>
                      </a:pPr>
                      <a:r>
                        <a:rPr sz="600">
                          <a:latin typeface="Nexa Book"/>
                        </a:rPr>
                        <a:t> 55.63</a:t>
                      </a:r>
                    </a:p>
                  </a:txBody>
                  <a:tcPr marL="2858" marR="2858" marT="2858" marB="0" anchor="ctr">
                    <a:noFill/>
                  </a:tcPr>
                </a:tc>
                <a:tc>
                  <a:txBody>
                    <a:bodyPr/>
                    <a:lstStyle/>
                    <a:p>
                      <a:pPr algn="ctr">
                        <a:defRPr sz="600">
                          <a:latin typeface="Nexa Book"/>
                        </a:defRPr>
                      </a:pPr>
                      <a:r>
                        <a:rPr sz="600">
                          <a:latin typeface="Nexa Book"/>
                        </a:rPr>
                        <a:t>27'814</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79%</a:t>
                      </a:r>
                    </a:p>
                  </a:txBody>
                  <a:tcPr marL="2858" marR="2858" marT="2858" marB="0" anchor="ctr">
                    <a:noFill/>
                  </a:tcPr>
                </a:tc>
                <a:tc>
                  <a:txBody>
                    <a:bodyPr/>
                    <a:lstStyle/>
                    <a:p>
                      <a:pPr algn="ctr">
                        <a:defRPr sz="600">
                          <a:latin typeface="Nexa Book"/>
                        </a:defRPr>
                      </a:pPr>
                      <a:r>
                        <a:rPr sz="600">
                          <a:latin typeface="Nexa Book"/>
                        </a:rPr>
                        <a:t>21392</a:t>
                      </a:r>
                    </a:p>
                  </a:txBody>
                  <a:tcPr marL="2858" marR="2858" marT="2858" marB="0" anchor="ctr">
                    <a:noFill/>
                  </a:tcPr>
                </a:tc>
                <a:tc>
                  <a:txBody>
                    <a:bodyPr/>
                    <a:lstStyle/>
                    <a:p>
                      <a:pPr algn="ctr">
                        <a:defRPr sz="600">
                          <a:latin typeface="Nexa Book"/>
                        </a:defRPr>
                      </a:pPr>
                      <a:r>
                        <a:rPr sz="600">
                          <a:latin typeface="Nexa Book"/>
                        </a:rPr>
                        <a:t>531%</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ROSE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 87.87</a:t>
                      </a:r>
                    </a:p>
                  </a:txBody>
                  <a:tcPr marL="2858" marR="2858" marT="2858" marB="0" anchor="ctr">
                    <a:noFill/>
                  </a:tcPr>
                </a:tc>
                <a:tc>
                  <a:txBody>
                    <a:bodyPr/>
                    <a:lstStyle/>
                    <a:p>
                      <a:pPr algn="ctr">
                        <a:defRPr sz="600">
                          <a:latin typeface="Nexa Book"/>
                        </a:defRPr>
                      </a:pPr>
                      <a:r>
                        <a:rPr sz="600">
                          <a:latin typeface="Nexa Book"/>
                        </a:rPr>
                        <a:t> 76.74</a:t>
                      </a:r>
                    </a:p>
                  </a:txBody>
                  <a:tcPr marL="2858" marR="2858" marT="2858" marB="0" anchor="ctr">
                    <a:noFill/>
                  </a:tcPr>
                </a:tc>
                <a:tc>
                  <a:txBody>
                    <a:bodyPr/>
                    <a:lstStyle/>
                    <a:p>
                      <a:pPr algn="ctr">
                        <a:defRPr sz="600">
                          <a:latin typeface="Nexa Book"/>
                        </a:defRPr>
                      </a:pPr>
                      <a:r>
                        <a:rPr sz="600">
                          <a:latin typeface="Nexa Book"/>
                        </a:rPr>
                        <a:t>27'243</a:t>
                      </a:r>
                    </a:p>
                  </a:txBody>
                  <a:tcPr marL="2858" marR="2858" marT="2858" marB="0" anchor="ctr">
                    <a:noFill/>
                  </a:tcPr>
                </a:tc>
                <a:tc>
                  <a:txBody>
                    <a:bodyPr/>
                    <a:lstStyle/>
                    <a:p>
                      <a:pPr algn="ctr">
                        <a:defRPr sz="600">
                          <a:latin typeface="Nexa Book"/>
                        </a:defRPr>
                      </a:pPr>
                      <a:r>
                        <a:rPr sz="600">
                          <a:latin typeface="Nexa Book"/>
                        </a:rPr>
                        <a:t>258%</a:t>
                      </a:r>
                    </a:p>
                  </a:txBody>
                  <a:tcPr marL="2858" marR="2858" marT="2858" marB="0" anchor="ctr">
                    <a:noFill/>
                  </a:tcPr>
                </a:tc>
                <a:tc>
                  <a:txBody>
                    <a:bodyPr/>
                    <a:lstStyle/>
                    <a:p>
                      <a:pPr algn="ctr">
                        <a:defRPr sz="600">
                          <a:latin typeface="Nexa Book"/>
                        </a:defRPr>
                      </a:pPr>
                      <a:r>
                        <a:rPr sz="600">
                          <a:latin typeface="Nexa Book"/>
                        </a:rPr>
                        <a:t>300%</a:t>
                      </a:r>
                    </a:p>
                  </a:txBody>
                  <a:tcPr marL="2858" marR="2858" marT="2858" marB="0" anchor="ctr">
                    <a:noFill/>
                  </a:tcPr>
                </a:tc>
                <a:tc>
                  <a:txBody>
                    <a:bodyPr/>
                    <a:lstStyle/>
                    <a:p>
                      <a:pPr algn="ctr">
                        <a:defRPr sz="600">
                          <a:latin typeface="Nexa Book"/>
                        </a:defRPr>
                      </a:pPr>
                      <a:r>
                        <a:rPr sz="600">
                          <a:latin typeface="Nexa Book"/>
                        </a:rPr>
                        <a:t>20200</a:t>
                      </a:r>
                    </a:p>
                  </a:txBody>
                  <a:tcPr marL="2858" marR="2858" marT="2858" marB="0" anchor="ctr">
                    <a:noFill/>
                  </a:tcPr>
                </a:tc>
                <a:tc>
                  <a:txBody>
                    <a:bodyPr/>
                    <a:lstStyle/>
                    <a:p>
                      <a:pPr algn="ctr">
                        <a:defRPr sz="600">
                          <a:latin typeface="Nexa Book"/>
                        </a:defRPr>
                      </a:pPr>
                      <a:r>
                        <a:rPr sz="600">
                          <a:latin typeface="Nexa Book"/>
                        </a:rPr>
                        <a:t>604%</a:t>
                      </a:r>
                    </a:p>
                  </a:txBody>
                  <a:tcPr marL="2858" marR="2858" marT="2858" marB="0" anchor="ctr">
                    <a:noFill/>
                  </a:tcPr>
                </a:tc>
                <a:tc>
                  <a:txBody>
                    <a:bodyPr/>
                    <a:lstStyle/>
                    <a:p>
                      <a:pPr algn="ctr">
                        <a:defRPr sz="600">
                          <a:latin typeface="Nexa Book"/>
                        </a:defRPr>
                      </a:pPr>
                      <a:r>
                        <a:rPr sz="600">
                          <a:latin typeface="Nexa Book"/>
                        </a:rPr>
                        <a:t>3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SECOND SKIN 1CT X 750ML</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 97.86</a:t>
                      </a:r>
                    </a:p>
                  </a:txBody>
                  <a:tcPr marL="2858" marR="2858" marT="2858" marB="0" anchor="ctr">
                    <a:noFill/>
                  </a:tcPr>
                </a:tc>
                <a:tc>
                  <a:txBody>
                    <a:bodyPr/>
                    <a:lstStyle/>
                    <a:p>
                      <a:pPr algn="ctr">
                        <a:defRPr sz="600">
                          <a:latin typeface="Nexa Book"/>
                        </a:defRPr>
                      </a:pPr>
                      <a:r>
                        <a:rPr sz="600">
                          <a:latin typeface="Nexa Book"/>
                        </a:rPr>
                        <a:t> 88.47</a:t>
                      </a:r>
                    </a:p>
                  </a:txBody>
                  <a:tcPr marL="2858" marR="2858" marT="2858" marB="0" anchor="ctr">
                    <a:noFill/>
                  </a:tcPr>
                </a:tc>
                <a:tc>
                  <a:txBody>
                    <a:bodyPr/>
                    <a:lstStyle/>
                    <a:p>
                      <a:pPr algn="ctr">
                        <a:defRPr sz="600">
                          <a:latin typeface="Nexa Book"/>
                        </a:defRPr>
                      </a:pPr>
                      <a:r>
                        <a:rPr sz="600">
                          <a:latin typeface="Nexa Book"/>
                        </a:rPr>
                        <a:t>19'463</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r>
                        <a:rPr sz="600">
                          <a:latin typeface="Nexa Book"/>
                        </a:rPr>
                        <a:t>215%</a:t>
                      </a:r>
                    </a:p>
                  </a:txBody>
                  <a:tcPr marL="2858" marR="2858" marT="2858" marB="0" anchor="ctr">
                    <a:noFill/>
                  </a:tcPr>
                </a:tc>
                <a:tc>
                  <a:txBody>
                    <a:bodyPr/>
                    <a:lstStyle/>
                    <a:p>
                      <a:pPr algn="ctr">
                        <a:defRPr sz="600">
                          <a:latin typeface="Nexa Book"/>
                        </a:defRPr>
                      </a:pPr>
                      <a:r>
                        <a:rPr sz="600">
                          <a:latin typeface="Nexa Book"/>
                        </a:rPr>
                        <a:t>13517</a:t>
                      </a:r>
                    </a:p>
                  </a:txBody>
                  <a:tcPr marL="2858" marR="2858" marT="2858" marB="0" anchor="ctr">
                    <a:noFill/>
                  </a:tcPr>
                </a:tc>
                <a:tc>
                  <a:txBody>
                    <a:bodyPr/>
                    <a:lstStyle/>
                    <a:p>
                      <a:pPr algn="ctr">
                        <a:defRPr sz="600">
                          <a:latin typeface="Nexa Book"/>
                        </a:defRPr>
                      </a:pPr>
                      <a:r>
                        <a:rPr sz="600">
                          <a:latin typeface="Nexa Book"/>
                        </a:rPr>
                        <a:t>760%</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6489414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xtra Brut | CA 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Nicolas Feuillatte</a:t>
                      </a:r>
                    </a:p>
                  </a:txBody>
                  <a:tcPr marL="2858" marR="2858" marT="2858" marB="0" anchor="ctr">
                    <a:noFill/>
                  </a:tcPr>
                </a:tc>
                <a:tc>
                  <a:txBody>
                    <a:bodyPr/>
                    <a:lstStyle/>
                    <a:p>
                      <a:pPr algn="l">
                        <a:defRPr sz="600">
                          <a:latin typeface="Nexa Book"/>
                        </a:defRPr>
                      </a:pPr>
                      <a:r>
                        <a:rPr sz="600">
                          <a:latin typeface="Nexa Book"/>
                        </a:rPr>
                        <a:t>NICOLAS FEUILLATTE RES EX BRUT 1CT X 750ML</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 35.50</a:t>
                      </a:r>
                    </a:p>
                  </a:txBody>
                  <a:tcPr marL="2858" marR="2858" marT="2858" marB="0" anchor="ctr">
                    <a:noFill/>
                  </a:tcPr>
                </a:tc>
                <a:tc>
                  <a:txBody>
                    <a:bodyPr/>
                    <a:lstStyle/>
                    <a:p>
                      <a:pPr algn="ctr">
                        <a:defRPr sz="600">
                          <a:latin typeface="Nexa Book"/>
                        </a:defRPr>
                      </a:pPr>
                      <a:r>
                        <a:rPr sz="600">
                          <a:latin typeface="Nexa Book"/>
                        </a:rPr>
                        <a:t> 29.12</a:t>
                      </a:r>
                    </a:p>
                  </a:txBody>
                  <a:tcPr marL="2858" marR="2858" marT="2858" marB="0" anchor="ctr">
                    <a:noFill/>
                  </a:tcPr>
                </a:tc>
                <a:tc>
                  <a:txBody>
                    <a:bodyPr/>
                    <a:lstStyle/>
                    <a:p>
                      <a:pPr algn="ctr">
                        <a:defRPr sz="600">
                          <a:latin typeface="Nexa Book"/>
                        </a:defRPr>
                      </a:pPr>
                      <a:r>
                        <a:rPr sz="600">
                          <a:latin typeface="Nexa Book"/>
                        </a:rPr>
                        <a:t>265'085</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345%</a:t>
                      </a:r>
                    </a:p>
                  </a:txBody>
                  <a:tcPr marL="2858" marR="2858" marT="2858" marB="0" anchor="ctr">
                    <a:noFill/>
                  </a:tcPr>
                </a:tc>
                <a:tc>
                  <a:txBody>
                    <a:bodyPr/>
                    <a:lstStyle/>
                    <a:p>
                      <a:pPr algn="ctr">
                        <a:defRPr sz="600">
                          <a:latin typeface="Nexa Book"/>
                        </a:defRPr>
                      </a:pPr>
                      <a:r>
                        <a:rPr sz="600">
                          <a:latin typeface="Nexa Book"/>
                        </a:rPr>
                        <a:t>205756</a:t>
                      </a:r>
                    </a:p>
                  </a:txBody>
                  <a:tcPr marL="2858" marR="2858" marT="2858" marB="0" anchor="ctr">
                    <a:noFill/>
                  </a:tcPr>
                </a:tc>
                <a:tc>
                  <a:txBody>
                    <a:bodyPr/>
                    <a:lstStyle/>
                    <a:p>
                      <a:pPr algn="ctr">
                        <a:defRPr sz="600">
                          <a:latin typeface="Nexa Book"/>
                        </a:defRPr>
                      </a:pPr>
                      <a:r>
                        <a:rPr sz="600">
                          <a:latin typeface="Nexa Book"/>
                        </a:rPr>
                        <a:t>36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042402236"/>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illesimes | CA 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BRUT MILLESIME 2015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76%</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6.00</a:t>
                      </a:r>
                    </a:p>
                  </a:txBody>
                  <a:tcPr marL="2858" marR="2858" marT="2858" marB="0" anchor="ctr">
                    <a:noFill/>
                  </a:tcPr>
                </a:tc>
                <a:tc>
                  <a:txBody>
                    <a:bodyPr/>
                    <a:lstStyle/>
                    <a:p>
                      <a:pPr algn="ctr">
                        <a:defRPr sz="600">
                          <a:latin typeface="Nexa Book"/>
                        </a:defRPr>
                      </a:pPr>
                      <a:r>
                        <a:rPr sz="600">
                          <a:latin typeface="Nexa Book"/>
                        </a:rPr>
                        <a:t>27'645</a:t>
                      </a:r>
                    </a:p>
                  </a:txBody>
                  <a:tcPr marL="2858" marR="2858" marT="2858" marB="0" anchor="ctr">
                    <a:noFill/>
                  </a:tcPr>
                </a:tc>
                <a:tc>
                  <a:txBody>
                    <a:bodyPr/>
                    <a:lstStyle/>
                    <a:p>
                      <a:pPr algn="ctr">
                        <a:defRPr sz="600">
                          <a:latin typeface="Nexa Book"/>
                        </a:defRPr>
                      </a:pPr>
                      <a:r>
                        <a:rPr sz="600">
                          <a:latin typeface="Nexa Book"/>
                        </a:rPr>
                        <a:t>533%</a:t>
                      </a:r>
                    </a:p>
                  </a:txBody>
                  <a:tcPr marL="2858" marR="2858" marT="2858" marB="0" anchor="ctr">
                    <a:noFill/>
                  </a:tcPr>
                </a:tc>
                <a:tc>
                  <a:txBody>
                    <a:bodyPr/>
                    <a:lstStyle/>
                    <a:p>
                      <a:pPr algn="ctr">
                        <a:defRPr sz="600">
                          <a:latin typeface="Nexa Book"/>
                        </a:defRPr>
                      </a:pPr>
                      <a:r>
                        <a:rPr sz="600">
                          <a:latin typeface="Nexa Book"/>
                        </a:rPr>
                        <a:t>632%</a:t>
                      </a:r>
                    </a:p>
                  </a:txBody>
                  <a:tcPr marL="2858" marR="2858" marT="2858" marB="0" anchor="ctr">
                    <a:noFill/>
                  </a:tcPr>
                </a:tc>
                <a:tc>
                  <a:txBody>
                    <a:bodyPr/>
                    <a:lstStyle/>
                    <a:p>
                      <a:pPr algn="ctr">
                        <a:defRPr sz="600">
                          <a:latin typeface="Nexa Book"/>
                        </a:defRPr>
                      </a:pPr>
                      <a:r>
                        <a:rPr sz="600">
                          <a:latin typeface="Nexa Book"/>
                        </a:rPr>
                        <a:t>24325</a:t>
                      </a:r>
                    </a:p>
                  </a:txBody>
                  <a:tcPr marL="2858" marR="2858" marT="2858" marB="0" anchor="ctr">
                    <a:noFill/>
                  </a:tcPr>
                </a:tc>
                <a:tc>
                  <a:txBody>
                    <a:bodyPr/>
                    <a:lstStyle/>
                    <a:p>
                      <a:pPr algn="ctr">
                        <a:defRPr sz="600">
                          <a:latin typeface="Nexa Book"/>
                        </a:defRPr>
                      </a:pPr>
                      <a:r>
                        <a:rPr sz="600">
                          <a:latin typeface="Nexa Book"/>
                        </a:rPr>
                        <a:t>52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3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284.44</a:t>
                      </a:r>
                    </a:p>
                  </a:txBody>
                  <a:tcPr marL="2858" marR="2858" marT="2858" marB="0" anchor="ctr">
                    <a:noFill/>
                  </a:tcPr>
                </a:tc>
                <a:tc>
                  <a:txBody>
                    <a:bodyPr/>
                    <a:lstStyle/>
                    <a:p>
                      <a:pPr algn="ctr">
                        <a:defRPr sz="600">
                          <a:latin typeface="Nexa Book"/>
                        </a:defRPr>
                      </a:pPr>
                      <a:r>
                        <a:rPr sz="600">
                          <a:latin typeface="Nexa Book"/>
                        </a:rPr>
                        <a:t> 239.80</a:t>
                      </a:r>
                    </a:p>
                  </a:txBody>
                  <a:tcPr marL="2858" marR="2858" marT="2858" marB="0" anchor="ctr">
                    <a:noFill/>
                  </a:tcPr>
                </a:tc>
                <a:tc>
                  <a:txBody>
                    <a:bodyPr/>
                    <a:lstStyle/>
                    <a:p>
                      <a:pPr algn="ctr">
                        <a:defRPr sz="600">
                          <a:latin typeface="Nexa Book"/>
                        </a:defRPr>
                      </a:pPr>
                      <a:r>
                        <a:rPr sz="600">
                          <a:latin typeface="Nexa Book"/>
                        </a:rPr>
                        <a:t>28'536</a:t>
                      </a:r>
                    </a:p>
                  </a:txBody>
                  <a:tcPr marL="2858" marR="2858" marT="2858" marB="0" anchor="ctr">
                    <a:noFill/>
                  </a:tcPr>
                </a:tc>
                <a:tc>
                  <a:txBody>
                    <a:bodyPr/>
                    <a:lstStyle/>
                    <a:p>
                      <a:pPr algn="ctr">
                        <a:defRPr sz="600">
                          <a:latin typeface="Nexa Book"/>
                        </a:defRPr>
                      </a:pPr>
                      <a:r>
                        <a:rPr sz="600">
                          <a:latin typeface="Nexa Book"/>
                        </a:rPr>
                        <a:t>173%</a:t>
                      </a:r>
                    </a:p>
                  </a:txBody>
                  <a:tcPr marL="2858" marR="2858" marT="2858" marB="0" anchor="ctr">
                    <a:noFill/>
                  </a:tcPr>
                </a:tc>
                <a:tc>
                  <a:txBody>
                    <a:bodyPr/>
                    <a:lstStyle/>
                    <a:p>
                      <a:pPr algn="ctr">
                        <a:defRPr sz="600">
                          <a:latin typeface="Nexa Book"/>
                        </a:defRPr>
                      </a:pPr>
                      <a:r>
                        <a:rPr sz="600">
                          <a:latin typeface="Nexa Book"/>
                        </a:rPr>
                        <a:t>230%</a:t>
                      </a:r>
                    </a:p>
                  </a:txBody>
                  <a:tcPr marL="2858" marR="2858" marT="2858" marB="0" anchor="ctr">
                    <a:noFill/>
                  </a:tcPr>
                </a:tc>
                <a:tc>
                  <a:txBody>
                    <a:bodyPr/>
                    <a:lstStyle/>
                    <a:p>
                      <a:pPr algn="ctr">
                        <a:defRPr sz="600">
                          <a:latin typeface="Nexa Book"/>
                        </a:defRPr>
                      </a:pPr>
                      <a:r>
                        <a:rPr sz="600">
                          <a:latin typeface="Nexa Book"/>
                        </a:rPr>
                        <a:t>18271</a:t>
                      </a:r>
                    </a:p>
                  </a:txBody>
                  <a:tcPr marL="2858" marR="2858" marT="2858" marB="0" anchor="ctr">
                    <a:noFill/>
                  </a:tcPr>
                </a:tc>
                <a:tc>
                  <a:txBody>
                    <a:bodyPr/>
                    <a:lstStyle/>
                    <a:p>
                      <a:pPr algn="ctr">
                        <a:defRPr sz="600">
                          <a:latin typeface="Nexa Book"/>
                        </a:defRPr>
                      </a:pPr>
                      <a:r>
                        <a:rPr sz="600">
                          <a:latin typeface="Nexa Book"/>
                        </a:rPr>
                        <a:t>312%</a:t>
                      </a:r>
                    </a:p>
                  </a:txBody>
                  <a:tcPr marL="2858" marR="2858" marT="2858" marB="0" anchor="ctr">
                    <a:noFill/>
                  </a:tcPr>
                </a:tc>
                <a:tc>
                  <a:txBody>
                    <a:bodyPr/>
                    <a:lstStyle/>
                    <a:p>
                      <a:pPr algn="ctr">
                        <a:defRPr sz="600">
                          <a:latin typeface="Nexa Book"/>
                        </a:defRPr>
                      </a:pPr>
                      <a:r>
                        <a:rPr sz="600">
                          <a:latin typeface="Nexa Book"/>
                        </a:rPr>
                        <a:t>3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BRUT (NUE) 2015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93.43</a:t>
                      </a:r>
                    </a:p>
                  </a:txBody>
                  <a:tcPr marL="2858" marR="2858" marT="2858" marB="0" anchor="ctr">
                    <a:noFill/>
                  </a:tcPr>
                </a:tc>
                <a:tc>
                  <a:txBody>
                    <a:bodyPr/>
                    <a:lstStyle/>
                    <a:p>
                      <a:pPr algn="ctr">
                        <a:defRPr sz="600">
                          <a:latin typeface="Nexa Book"/>
                        </a:defRPr>
                      </a:pPr>
                      <a:r>
                        <a:rPr sz="600">
                          <a:latin typeface="Nexa Book"/>
                        </a:rPr>
                        <a:t> 84.79</a:t>
                      </a:r>
                    </a:p>
                  </a:txBody>
                  <a:tcPr marL="2858" marR="2858" marT="2858" marB="0" anchor="ctr">
                    <a:noFill/>
                  </a:tcPr>
                </a:tc>
                <a:tc>
                  <a:txBody>
                    <a:bodyPr/>
                    <a:lstStyle/>
                    <a:p>
                      <a:pPr algn="ctr">
                        <a:defRPr sz="600">
                          <a:latin typeface="Nexa Book"/>
                        </a:defRPr>
                      </a:pPr>
                      <a:r>
                        <a:rPr sz="600">
                          <a:latin typeface="Nexa Book"/>
                        </a:rPr>
                        <a:t>11'955</a:t>
                      </a:r>
                    </a:p>
                  </a:txBody>
                  <a:tcPr marL="2858" marR="2858" marT="2858" marB="0" anchor="ctr">
                    <a:noFill/>
                  </a:tcPr>
                </a:tc>
                <a:tc>
                  <a:txBody>
                    <a:bodyPr/>
                    <a:lstStyle/>
                    <a:p>
                      <a:pPr algn="ctr">
                        <a:defRPr sz="600">
                          <a:latin typeface="Nexa Book"/>
                        </a:defRPr>
                      </a:pPr>
                      <a:r>
                        <a:rPr sz="600">
                          <a:latin typeface="Nexa Book"/>
                        </a:rPr>
                        <a:t>515%</a:t>
                      </a:r>
                    </a:p>
                  </a:txBody>
                  <a:tcPr marL="2858" marR="2858" marT="2858" marB="0" anchor="ctr">
                    <a:noFill/>
                  </a:tcPr>
                </a:tc>
                <a:tc>
                  <a:txBody>
                    <a:bodyPr/>
                    <a:lstStyle/>
                    <a:p>
                      <a:pPr algn="ctr">
                        <a:defRPr sz="600">
                          <a:latin typeface="Nexa Book"/>
                        </a:defRPr>
                      </a:pPr>
                      <a:r>
                        <a:rPr sz="600">
                          <a:latin typeface="Nexa Book"/>
                        </a:rPr>
                        <a:t>671%</a:t>
                      </a:r>
                    </a:p>
                  </a:txBody>
                  <a:tcPr marL="2858" marR="2858" marT="2858" marB="0" anchor="ctr">
                    <a:noFill/>
                  </a:tcPr>
                </a:tc>
                <a:tc>
                  <a:txBody>
                    <a:bodyPr/>
                    <a:lstStyle/>
                    <a:p>
                      <a:pPr algn="ctr">
                        <a:defRPr sz="600">
                          <a:latin typeface="Nexa Book"/>
                        </a:defRPr>
                      </a:pPr>
                      <a:r>
                        <a:rPr sz="600">
                          <a:latin typeface="Nexa Book"/>
                        </a:rPr>
                        <a:t>10169</a:t>
                      </a:r>
                    </a:p>
                  </a:txBody>
                  <a:tcPr marL="2858" marR="2858" marT="2858" marB="0" anchor="ctr">
                    <a:noFill/>
                  </a:tcPr>
                </a:tc>
                <a:tc>
                  <a:txBody>
                    <a:bodyPr/>
                    <a:lstStyle/>
                    <a:p>
                      <a:pPr algn="ctr">
                        <a:defRPr sz="600">
                          <a:latin typeface="Nexa Book"/>
                        </a:defRPr>
                      </a:pPr>
                      <a:r>
                        <a:rPr sz="600">
                          <a:latin typeface="Nexa Book"/>
                        </a:rPr>
                        <a:t>340%</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8644813"/>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osés | CA 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NU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93.00</a:t>
                      </a:r>
                    </a:p>
                  </a:txBody>
                  <a:tcPr marL="2858" marR="2858" marT="2858" marB="0" anchor="ctr">
                    <a:noFill/>
                  </a:tcPr>
                </a:tc>
                <a:tc>
                  <a:txBody>
                    <a:bodyPr/>
                    <a:lstStyle/>
                    <a:p>
                      <a:pPr algn="ctr">
                        <a:defRPr sz="600">
                          <a:latin typeface="Nexa Book"/>
                        </a:defRPr>
                      </a:pPr>
                      <a:r>
                        <a:rPr sz="600">
                          <a:latin typeface="Nexa Book"/>
                        </a:rPr>
                        <a:t> 84.26</a:t>
                      </a:r>
                    </a:p>
                  </a:txBody>
                  <a:tcPr marL="2858" marR="2858" marT="2858" marB="0" anchor="ctr">
                    <a:noFill/>
                  </a:tcPr>
                </a:tc>
                <a:tc>
                  <a:txBody>
                    <a:bodyPr/>
                    <a:lstStyle/>
                    <a:p>
                      <a:pPr algn="ctr">
                        <a:defRPr sz="600">
                          <a:latin typeface="Nexa Book"/>
                        </a:defRPr>
                      </a:pPr>
                      <a:r>
                        <a:rPr sz="600">
                          <a:latin typeface="Nexa Book"/>
                        </a:rPr>
                        <a:t>71'449</a:t>
                      </a:r>
                    </a:p>
                  </a:txBody>
                  <a:tcPr marL="2858" marR="2858" marT="2858" marB="0" anchor="ctr">
                    <a:noFill/>
                  </a:tcPr>
                </a:tc>
                <a:tc>
                  <a:txBody>
                    <a:bodyPr/>
                    <a:lstStyle/>
                    <a:p>
                      <a:pPr algn="ctr">
                        <a:defRPr sz="600">
                          <a:latin typeface="Nexa Book"/>
                        </a:defRPr>
                      </a:pPr>
                      <a:r>
                        <a:rPr sz="600">
                          <a:latin typeface="Nexa Book"/>
                        </a:rPr>
                        <a:t>229%</a:t>
                      </a:r>
                    </a:p>
                  </a:txBody>
                  <a:tcPr marL="2858" marR="2858" marT="2858" marB="0" anchor="ctr">
                    <a:noFill/>
                  </a:tcPr>
                </a:tc>
                <a:tc>
                  <a:txBody>
                    <a:bodyPr/>
                    <a:lstStyle/>
                    <a:p>
                      <a:pPr algn="ctr">
                        <a:defRPr sz="600">
                          <a:latin typeface="Nexa Book"/>
                        </a:defRPr>
                      </a:pPr>
                      <a:r>
                        <a:rPr sz="600">
                          <a:latin typeface="Nexa Book"/>
                        </a:rPr>
                        <a:t>260%</a:t>
                      </a:r>
                    </a:p>
                  </a:txBody>
                  <a:tcPr marL="2858" marR="2858" marT="2858" marB="0" anchor="ctr">
                    <a:noFill/>
                  </a:tcPr>
                </a:tc>
                <a:tc>
                  <a:txBody>
                    <a:bodyPr/>
                    <a:lstStyle/>
                    <a:p>
                      <a:pPr algn="ctr">
                        <a:defRPr sz="600">
                          <a:latin typeface="Nexa Book"/>
                        </a:defRPr>
                      </a:pPr>
                      <a:r>
                        <a:rPr sz="600">
                          <a:latin typeface="Nexa Book"/>
                        </a:rPr>
                        <a:t>52709</a:t>
                      </a:r>
                    </a:p>
                  </a:txBody>
                  <a:tcPr marL="2858" marR="2858" marT="2858" marB="0" anchor="ctr">
                    <a:noFill/>
                  </a:tcPr>
                </a:tc>
                <a:tc>
                  <a:txBody>
                    <a:bodyPr/>
                    <a:lstStyle/>
                    <a:p>
                      <a:pPr algn="ctr">
                        <a:defRPr sz="600">
                          <a:latin typeface="Nexa Book"/>
                        </a:defRPr>
                      </a:pPr>
                      <a:r>
                        <a:rPr sz="600">
                          <a:latin typeface="Nexa Book"/>
                        </a:rPr>
                        <a:t>726%</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Demoiselle</a:t>
                      </a:r>
                    </a:p>
                  </a:txBody>
                  <a:tcPr marL="2858" marR="2858" marT="2858" marB="0" anchor="ctr">
                    <a:noFill/>
                  </a:tcPr>
                </a:tc>
                <a:tc>
                  <a:txBody>
                    <a:bodyPr/>
                    <a:lstStyle/>
                    <a:p>
                      <a:pPr algn="l">
                        <a:defRPr sz="600">
                          <a:latin typeface="Nexa Book"/>
                        </a:defRPr>
                      </a:pPr>
                      <a:r>
                        <a:rPr sz="600">
                          <a:latin typeface="Nexa Book"/>
                        </a:rPr>
                        <a:t>DEMOISELLE ROSE PRES SPECIAL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5.95</a:t>
                      </a:r>
                    </a:p>
                  </a:txBody>
                  <a:tcPr marL="2858" marR="2858" marT="2858" marB="0" anchor="ctr">
                    <a:noFill/>
                  </a:tcPr>
                </a:tc>
                <a:tc>
                  <a:txBody>
                    <a:bodyPr/>
                    <a:lstStyle/>
                    <a:p>
                      <a:pPr algn="ctr">
                        <a:defRPr sz="600">
                          <a:latin typeface="Nexa Book"/>
                        </a:defRPr>
                      </a:pPr>
                      <a:r>
                        <a:rPr sz="600">
                          <a:latin typeface="Nexa Book"/>
                        </a:rPr>
                        <a:t>69'519</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232%</a:t>
                      </a:r>
                    </a:p>
                  </a:txBody>
                  <a:tcPr marL="2858" marR="2858" marT="2858" marB="0" anchor="ctr">
                    <a:noFill/>
                  </a:tcPr>
                </a:tc>
                <a:tc>
                  <a:txBody>
                    <a:bodyPr/>
                    <a:lstStyle/>
                    <a:p>
                      <a:pPr algn="ctr">
                        <a:defRPr sz="600">
                          <a:latin typeface="Nexa Book"/>
                        </a:defRPr>
                      </a:pPr>
                      <a:r>
                        <a:rPr sz="600">
                          <a:latin typeface="Nexa Book"/>
                        </a:rPr>
                        <a:t>50561</a:t>
                      </a:r>
                    </a:p>
                  </a:txBody>
                  <a:tcPr marL="2858" marR="2858" marT="2858" marB="0" anchor="ctr">
                    <a:noFill/>
                  </a:tcPr>
                </a:tc>
                <a:tc>
                  <a:txBody>
                    <a:bodyPr/>
                    <a:lstStyle/>
                    <a:p>
                      <a:pPr algn="ctr">
                        <a:defRPr sz="600">
                          <a:latin typeface="Nexa Book"/>
                        </a:defRPr>
                      </a:pPr>
                      <a:r>
                        <a:rPr sz="600">
                          <a:latin typeface="Nexa Book"/>
                        </a:rPr>
                        <a:t>656%</a:t>
                      </a:r>
                    </a:p>
                  </a:txBody>
                  <a:tcPr marL="2858" marR="2858" marT="2858" marB="0" anchor="ctr">
                    <a:noFill/>
                  </a:tcPr>
                </a:tc>
                <a:tc>
                  <a:txBody>
                    <a:bodyPr/>
                    <a:lstStyle/>
                    <a:p>
                      <a:pPr algn="ctr">
                        <a:defRPr sz="600">
                          <a:latin typeface="Nexa Book"/>
                        </a:defRPr>
                      </a:pPr>
                      <a:r>
                        <a:rPr sz="600">
                          <a:latin typeface="Nexa Book"/>
                        </a:rPr>
                        <a:t>4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Deutz</a:t>
                      </a:r>
                    </a:p>
                  </a:txBody>
                  <a:tcPr marL="2858" marR="2858" marT="2858" marB="0" anchor="ctr">
                    <a:noFill/>
                  </a:tcPr>
                </a:tc>
                <a:tc>
                  <a:txBody>
                    <a:bodyPr/>
                    <a:lstStyle/>
                    <a:p>
                      <a:pPr algn="l">
                        <a:defRPr sz="600">
                          <a:latin typeface="Nexa Book"/>
                        </a:defRPr>
                      </a:pPr>
                      <a:r>
                        <a:rPr sz="600">
                          <a:latin typeface="Nexa Book"/>
                        </a:rPr>
                        <a:t>DEUTZ ROS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 63.64</a:t>
                      </a:r>
                    </a:p>
                  </a:txBody>
                  <a:tcPr marL="2858" marR="2858" marT="2858" marB="0" anchor="ctr">
                    <a:noFill/>
                  </a:tcPr>
                </a:tc>
                <a:tc>
                  <a:txBody>
                    <a:bodyPr/>
                    <a:lstStyle/>
                    <a:p>
                      <a:pPr algn="ctr">
                        <a:defRPr sz="600">
                          <a:latin typeface="Nexa Book"/>
                        </a:defRPr>
                      </a:pPr>
                      <a:r>
                        <a:rPr sz="600">
                          <a:latin typeface="Nexa Book"/>
                        </a:rPr>
                        <a:t> 55.48</a:t>
                      </a:r>
                    </a:p>
                  </a:txBody>
                  <a:tcPr marL="2858" marR="2858" marT="2858" marB="0" anchor="ctr">
                    <a:noFill/>
                  </a:tcPr>
                </a:tc>
                <a:tc>
                  <a:txBody>
                    <a:bodyPr/>
                    <a:lstStyle/>
                    <a:p>
                      <a:pPr algn="ctr">
                        <a:defRPr sz="600">
                          <a:latin typeface="Nexa Book"/>
                        </a:defRPr>
                      </a:pPr>
                      <a:r>
                        <a:rPr sz="600">
                          <a:latin typeface="Nexa Book"/>
                        </a:rPr>
                        <a:t>48'763</a:t>
                      </a:r>
                    </a:p>
                  </a:txBody>
                  <a:tcPr marL="2858" marR="2858" marT="2858" marB="0" anchor="ctr">
                    <a:noFill/>
                  </a:tcPr>
                </a:tc>
                <a:tc>
                  <a:txBody>
                    <a:bodyPr/>
                    <a:lstStyle/>
                    <a:p>
                      <a:pPr algn="ctr">
                        <a:defRPr sz="600">
                          <a:latin typeface="Nexa Book"/>
                        </a:defRPr>
                      </a:pPr>
                      <a:r>
                        <a:rPr sz="600">
                          <a:latin typeface="Nexa Book"/>
                        </a:rPr>
                        <a:t>93%</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r>
                        <a:rPr sz="600">
                          <a:latin typeface="Nexa Book"/>
                        </a:rPr>
                        <a:t>42751</a:t>
                      </a:r>
                    </a:p>
                  </a:txBody>
                  <a:tcPr marL="2858" marR="2858" marT="2858" marB="0" anchor="ctr">
                    <a:noFill/>
                  </a:tcPr>
                </a:tc>
                <a:tc>
                  <a:txBody>
                    <a:bodyPr/>
                    <a:lstStyle/>
                    <a:p>
                      <a:pPr algn="ctr">
                        <a:defRPr sz="600">
                          <a:latin typeface="Nexa Book"/>
                        </a:defRPr>
                      </a:pPr>
                      <a:r>
                        <a:rPr sz="600">
                          <a:latin typeface="Nexa Book"/>
                        </a:rPr>
                        <a:t>612%</a:t>
                      </a:r>
                    </a:p>
                  </a:txBody>
                  <a:tcPr marL="2858" marR="2858" marT="2858" marB="0" anchor="ctr">
                    <a:noFill/>
                  </a:tcPr>
                </a:tc>
                <a:tc>
                  <a:txBody>
                    <a:bodyPr/>
                    <a:lstStyle/>
                    <a:p>
                      <a:pPr algn="ctr">
                        <a:defRPr sz="600">
                          <a:latin typeface="Nexa Book"/>
                        </a:defRPr>
                      </a:pPr>
                      <a:r>
                        <a:rPr sz="600">
                          <a:latin typeface="Nexa Book"/>
                        </a:rPr>
                        <a:t>4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Laurent Perrier</a:t>
                      </a:r>
                    </a:p>
                  </a:txBody>
                  <a:tcPr marL="2858" marR="2858" marT="2858" marB="0" anchor="ctr">
                    <a:noFill/>
                  </a:tcPr>
                </a:tc>
                <a:tc>
                  <a:txBody>
                    <a:bodyPr/>
                    <a:lstStyle/>
                    <a:p>
                      <a:pPr algn="l">
                        <a:defRPr sz="600">
                          <a:latin typeface="Nexa Book"/>
                        </a:defRPr>
                      </a:pPr>
                      <a:r>
                        <a:rPr sz="600">
                          <a:latin typeface="Nexa Book"/>
                        </a:rPr>
                        <a:t>LAURENT PERRIER ROSE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 87.58</a:t>
                      </a:r>
                    </a:p>
                  </a:txBody>
                  <a:tcPr marL="2858" marR="2858" marT="2858" marB="0" anchor="ctr">
                    <a:noFill/>
                  </a:tcPr>
                </a:tc>
                <a:tc>
                  <a:txBody>
                    <a:bodyPr/>
                    <a:lstStyle/>
                    <a:p>
                      <a:pPr algn="ctr">
                        <a:defRPr sz="600">
                          <a:latin typeface="Nexa Book"/>
                        </a:defRPr>
                      </a:pPr>
                      <a:r>
                        <a:rPr sz="600">
                          <a:latin typeface="Nexa Book"/>
                        </a:rPr>
                        <a:t> 77.01</a:t>
                      </a:r>
                    </a:p>
                  </a:txBody>
                  <a:tcPr marL="2858" marR="2858" marT="2858" marB="0" anchor="ctr">
                    <a:noFill/>
                  </a:tcPr>
                </a:tc>
                <a:tc>
                  <a:txBody>
                    <a:bodyPr/>
                    <a:lstStyle/>
                    <a:p>
                      <a:pPr algn="ctr">
                        <a:defRPr sz="600">
                          <a:latin typeface="Nexa Book"/>
                        </a:defRPr>
                      </a:pPr>
                      <a:r>
                        <a:rPr sz="600">
                          <a:latin typeface="Nexa Book"/>
                        </a:rPr>
                        <a:t>40'891</a:t>
                      </a:r>
                    </a:p>
                  </a:txBody>
                  <a:tcPr marL="2858" marR="2858" marT="2858" marB="0" anchor="ctr">
                    <a:noFill/>
                  </a:tcPr>
                </a:tc>
                <a:tc>
                  <a:txBody>
                    <a:bodyPr/>
                    <a:lstStyle/>
                    <a:p>
                      <a:pPr algn="ctr">
                        <a:defRPr sz="600">
                          <a:latin typeface="Nexa Book"/>
                        </a:defRPr>
                      </a:pPr>
                      <a:r>
                        <a:rPr sz="600">
                          <a:latin typeface="Nexa Book"/>
                        </a:rPr>
                        <a:t>363%</a:t>
                      </a:r>
                    </a:p>
                  </a:txBody>
                  <a:tcPr marL="2858" marR="2858" marT="2858" marB="0" anchor="ctr">
                    <a:noFill/>
                  </a:tcPr>
                </a:tc>
                <a:tc>
                  <a:txBody>
                    <a:bodyPr/>
                    <a:lstStyle/>
                    <a:p>
                      <a:pPr algn="ctr">
                        <a:defRPr sz="600">
                          <a:latin typeface="Nexa Book"/>
                        </a:defRPr>
                      </a:pPr>
                      <a:r>
                        <a:rPr sz="600">
                          <a:latin typeface="Nexa Book"/>
                        </a:rPr>
                        <a:t>402%</a:t>
                      </a:r>
                    </a:p>
                  </a:txBody>
                  <a:tcPr marL="2858" marR="2858" marT="2858" marB="0" anchor="ctr">
                    <a:noFill/>
                  </a:tcPr>
                </a:tc>
                <a:tc>
                  <a:txBody>
                    <a:bodyPr/>
                    <a:lstStyle/>
                    <a:p>
                      <a:pPr algn="ctr">
                        <a:defRPr sz="600">
                          <a:latin typeface="Nexa Book"/>
                        </a:defRPr>
                      </a:pPr>
                      <a:r>
                        <a:rPr sz="600">
                          <a:latin typeface="Nexa Book"/>
                        </a:rPr>
                        <a:t>32891</a:t>
                      </a:r>
                    </a:p>
                  </a:txBody>
                  <a:tcPr marL="2858" marR="2858" marT="2858" marB="0" anchor="ctr">
                    <a:noFill/>
                  </a:tcPr>
                </a:tc>
                <a:tc>
                  <a:txBody>
                    <a:bodyPr/>
                    <a:lstStyle/>
                    <a:p>
                      <a:pPr algn="ctr">
                        <a:defRPr sz="600">
                          <a:latin typeface="Nexa Book"/>
                        </a:defRPr>
                      </a:pPr>
                      <a:r>
                        <a:rPr sz="600">
                          <a:latin typeface="Nexa Book"/>
                        </a:rPr>
                        <a:t>887%</a:t>
                      </a:r>
                    </a:p>
                  </a:txBody>
                  <a:tcPr marL="2858" marR="2858" marT="2858" marB="0" anchor="ctr">
                    <a:noFill/>
                  </a:tcPr>
                </a:tc>
                <a:tc>
                  <a:txBody>
                    <a:bodyPr/>
                    <a:lstStyle/>
                    <a:p>
                      <a:pPr algn="ctr">
                        <a:defRPr sz="600">
                          <a:latin typeface="Nexa Book"/>
                        </a:defRPr>
                      </a:pPr>
                      <a:r>
                        <a:rPr sz="600">
                          <a:latin typeface="Nexa Book"/>
                        </a:rPr>
                        <a:t>3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Ruinart</a:t>
                      </a:r>
                    </a:p>
                  </a:txBody>
                  <a:tcPr marL="2858" marR="2858" marT="2858" marB="0" anchor="ctr">
                    <a:noFill/>
                  </a:tcPr>
                </a:tc>
                <a:tc>
                  <a:txBody>
                    <a:bodyPr/>
                    <a:lstStyle/>
                    <a:p>
                      <a:pPr algn="l">
                        <a:defRPr sz="600">
                          <a:latin typeface="Nexa Book"/>
                        </a:defRPr>
                      </a:pPr>
                      <a:r>
                        <a:rPr sz="600">
                          <a:latin typeface="Nexa Book"/>
                        </a:rPr>
                        <a:t>RUINART ROSE SECOND SKIN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 98.94</a:t>
                      </a:r>
                    </a:p>
                  </a:txBody>
                  <a:tcPr marL="2858" marR="2858" marT="2858" marB="0" anchor="ctr">
                    <a:noFill/>
                  </a:tcPr>
                </a:tc>
                <a:tc>
                  <a:txBody>
                    <a:bodyPr/>
                    <a:lstStyle/>
                    <a:p>
                      <a:pPr algn="ctr">
                        <a:defRPr sz="600">
                          <a:latin typeface="Nexa Book"/>
                        </a:defRPr>
                      </a:pPr>
                      <a:r>
                        <a:rPr sz="600">
                          <a:latin typeface="Nexa Book"/>
                        </a:rPr>
                        <a:t> 88.55</a:t>
                      </a:r>
                    </a:p>
                  </a:txBody>
                  <a:tcPr marL="2858" marR="2858" marT="2858" marB="0" anchor="ctr">
                    <a:noFill/>
                  </a:tcPr>
                </a:tc>
                <a:tc>
                  <a:txBody>
                    <a:bodyPr/>
                    <a:lstStyle/>
                    <a:p>
                      <a:pPr algn="ctr">
                        <a:defRPr sz="600">
                          <a:latin typeface="Nexa Book"/>
                        </a:defRPr>
                      </a:pPr>
                      <a:r>
                        <a:rPr sz="600">
                          <a:latin typeface="Nexa Book"/>
                        </a:rPr>
                        <a:t>37'278</a:t>
                      </a:r>
                    </a:p>
                  </a:txBody>
                  <a:tcPr marL="2858" marR="2858" marT="2858" marB="0" anchor="ctr">
                    <a:noFill/>
                  </a:tcPr>
                </a:tc>
                <a:tc>
                  <a:txBody>
                    <a:bodyPr/>
                    <a:lstStyle/>
                    <a:p>
                      <a:pPr algn="ctr">
                        <a:defRPr sz="600">
                          <a:latin typeface="Nexa Book"/>
                        </a:defRPr>
                      </a:pPr>
                      <a:r>
                        <a:rPr sz="600">
                          <a:latin typeface="Nexa Book"/>
                        </a:rPr>
                        <a:t>246%</a:t>
                      </a:r>
                    </a:p>
                  </a:txBody>
                  <a:tcPr marL="2858" marR="2858" marT="2858" marB="0" anchor="ctr">
                    <a:noFill/>
                  </a:tcPr>
                </a:tc>
                <a:tc>
                  <a:txBody>
                    <a:bodyPr/>
                    <a:lstStyle/>
                    <a:p>
                      <a:pPr algn="ctr">
                        <a:defRPr sz="600">
                          <a:latin typeface="Nexa Book"/>
                        </a:defRPr>
                      </a:pPr>
                      <a:r>
                        <a:rPr sz="600">
                          <a:latin typeface="Nexa Book"/>
                        </a:rPr>
                        <a:t>274%</a:t>
                      </a:r>
                    </a:p>
                  </a:txBody>
                  <a:tcPr marL="2858" marR="2858" marT="2858" marB="0" anchor="ctr">
                    <a:noFill/>
                  </a:tcPr>
                </a:tc>
                <a:tc>
                  <a:txBody>
                    <a:bodyPr/>
                    <a:lstStyle/>
                    <a:p>
                      <a:pPr algn="ctr">
                        <a:defRPr sz="600">
                          <a:latin typeface="Nexa Book"/>
                        </a:defRPr>
                      </a:pPr>
                      <a:r>
                        <a:rPr sz="600">
                          <a:latin typeface="Nexa Book"/>
                        </a:rPr>
                        <a:t>28331</a:t>
                      </a:r>
                    </a:p>
                  </a:txBody>
                  <a:tcPr marL="2858" marR="2858" marT="2858" marB="0" anchor="ctr">
                    <a:noFill/>
                  </a:tcPr>
                </a:tc>
                <a:tc>
                  <a:txBody>
                    <a:bodyPr/>
                    <a:lstStyle/>
                    <a:p>
                      <a:pPr algn="ctr">
                        <a:defRPr sz="600">
                          <a:latin typeface="Nexa Book"/>
                        </a:defRPr>
                      </a:pPr>
                      <a:r>
                        <a:rPr sz="600">
                          <a:latin typeface="Nexa Book"/>
                        </a:rPr>
                        <a:t>821%</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198000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Effervescents | NICOLAS PAC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0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2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5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Malar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510900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rdelais | NICOLAS VCN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Cru La Maquelin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5381231"/>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CA E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PREMIER CRU BRUT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r>
                        <a:rPr sz="600">
                          <a:latin typeface="Nexa Book"/>
                        </a:rPr>
                        <a:t> 33.48</a:t>
                      </a:r>
                    </a:p>
                  </a:txBody>
                  <a:tcPr marL="2858" marR="2858" marT="2858" marB="0" anchor="ctr">
                    <a:noFill/>
                  </a:tcPr>
                </a:tc>
                <a:tc>
                  <a:txBody>
                    <a:bodyPr/>
                    <a:lstStyle/>
                    <a:p>
                      <a:pPr algn="ctr">
                        <a:defRPr sz="600">
                          <a:latin typeface="Nexa Book"/>
                        </a:defRPr>
                      </a:pPr>
                      <a:r>
                        <a:rPr sz="600">
                          <a:latin typeface="Nexa Book"/>
                        </a:rPr>
                        <a:t> 29.57</a:t>
                      </a:r>
                    </a:p>
                  </a:txBody>
                  <a:tcPr marL="2858" marR="2858" marT="2858" marB="0" anchor="ctr">
                    <a:noFill/>
                  </a:tcPr>
                </a:tc>
                <a:tc>
                  <a:txBody>
                    <a:bodyPr/>
                    <a:lstStyle/>
                    <a:p>
                      <a:pPr algn="ctr">
                        <a:defRPr sz="600">
                          <a:latin typeface="Nexa Book"/>
                        </a:defRPr>
                      </a:pPr>
                      <a:r>
                        <a:rPr sz="600">
                          <a:latin typeface="Nexa Book"/>
                        </a:rPr>
                        <a:t>226'976</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r>
                        <a:rPr sz="600">
                          <a:latin typeface="Nexa Book"/>
                        </a:rPr>
                        <a:t>88081</a:t>
                      </a:r>
                    </a:p>
                  </a:txBody>
                  <a:tcPr marL="2858" marR="2858" marT="2858" marB="0" anchor="ctr">
                    <a:noFill/>
                  </a:tcPr>
                </a:tc>
                <a:tc>
                  <a:txBody>
                    <a:bodyPr/>
                    <a:lstStyle/>
                    <a:p>
                      <a:pPr algn="ctr">
                        <a:defRPr sz="600">
                          <a:latin typeface="Nexa Book"/>
                        </a:defRPr>
                      </a:pPr>
                      <a:r>
                        <a:rPr sz="600">
                          <a:latin typeface="Nexa Book"/>
                        </a:rPr>
                        <a:t>293%</a:t>
                      </a:r>
                    </a:p>
                  </a:txBody>
                  <a:tcPr marL="2858" marR="2858" marT="2858" marB="0" anchor="ctr">
                    <a:noFill/>
                  </a:tcPr>
                </a:tc>
                <a:tc>
                  <a:txBody>
                    <a:bodyPr/>
                    <a:lstStyle/>
                    <a:p>
                      <a:pPr algn="ctr">
                        <a:defRPr sz="600">
                          <a:latin typeface="Nexa Book"/>
                        </a:defRPr>
                      </a:pPr>
                      <a:r>
                        <a:rPr sz="600">
                          <a:latin typeface="Nexa Book"/>
                        </a:rPr>
                        <a:t>4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621092991"/>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illesimes | CA E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Malard</a:t>
                      </a:r>
                    </a:p>
                  </a:txBody>
                  <a:tcPr marL="2858" marR="2858" marT="2858" marB="0" anchor="ctr">
                    <a:noFill/>
                  </a:tcPr>
                </a:tc>
                <a:tc>
                  <a:txBody>
                    <a:bodyPr/>
                    <a:lstStyle/>
                    <a:p>
                      <a:pPr algn="l">
                        <a:defRPr sz="600">
                          <a:latin typeface="Nexa Book"/>
                        </a:defRPr>
                      </a:pPr>
                      <a:r>
                        <a:rPr sz="600">
                          <a:latin typeface="Nexa Book"/>
                        </a:rPr>
                        <a:t>MALARD BRUT MILLESIME 2015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40.00</a:t>
                      </a:r>
                    </a:p>
                  </a:txBody>
                  <a:tcPr marL="2858" marR="2858" marT="2858" marB="0" anchor="ctr">
                    <a:noFill/>
                  </a:tcPr>
                </a:tc>
                <a:tc>
                  <a:txBody>
                    <a:bodyPr/>
                    <a:lstStyle/>
                    <a:p>
                      <a:pPr algn="ctr">
                        <a:defRPr sz="600">
                          <a:latin typeface="Nexa Book"/>
                        </a:defRPr>
                      </a:pPr>
                      <a:r>
                        <a:rPr sz="600">
                          <a:latin typeface="Nexa Book"/>
                        </a:rPr>
                        <a:t> 36.00</a:t>
                      </a:r>
                    </a:p>
                  </a:txBody>
                  <a:tcPr marL="2858" marR="2858" marT="2858" marB="0" anchor="ctr">
                    <a:noFill/>
                  </a:tcPr>
                </a:tc>
                <a:tc>
                  <a:txBody>
                    <a:bodyPr/>
                    <a:lstStyle/>
                    <a:p>
                      <a:pPr algn="ctr">
                        <a:defRPr sz="600">
                          <a:latin typeface="Nexa Book"/>
                        </a:defRPr>
                      </a:pPr>
                      <a:r>
                        <a:rPr sz="600">
                          <a:latin typeface="Nexa Book"/>
                        </a:rPr>
                        <a:t>23'397</a:t>
                      </a:r>
                    </a:p>
                  </a:txBody>
                  <a:tcPr marL="2858" marR="2858" marT="2858" marB="0" anchor="ctr">
                    <a:noFill/>
                  </a:tcPr>
                </a:tc>
                <a:tc>
                  <a:txBody>
                    <a:bodyPr/>
                    <a:lstStyle/>
                    <a:p>
                      <a:pPr algn="ctr">
                        <a:defRPr sz="600">
                          <a:latin typeface="Nexa Book"/>
                        </a:defRPr>
                      </a:pPr>
                      <a:r>
                        <a:rPr sz="600">
                          <a:latin typeface="Nexa Book"/>
                        </a:rPr>
                        <a:t>179%</a:t>
                      </a:r>
                    </a:p>
                  </a:txBody>
                  <a:tcPr marL="2858" marR="2858" marT="2858" marB="0" anchor="ctr">
                    <a:noFill/>
                  </a:tcPr>
                </a:tc>
                <a:tc>
                  <a:txBody>
                    <a:bodyPr/>
                    <a:lstStyle/>
                    <a:p>
                      <a:pPr algn="ctr">
                        <a:defRPr sz="600">
                          <a:latin typeface="Nexa Book"/>
                        </a:defRPr>
                      </a:pPr>
                      <a:r>
                        <a:rPr sz="600">
                          <a:latin typeface="Nexa Book"/>
                        </a:rPr>
                        <a:t>205%</a:t>
                      </a:r>
                    </a:p>
                  </a:txBody>
                  <a:tcPr marL="2858" marR="2858" marT="2858" marB="0" anchor="ctr">
                    <a:noFill/>
                  </a:tcPr>
                </a:tc>
                <a:tc>
                  <a:txBody>
                    <a:bodyPr/>
                    <a:lstStyle/>
                    <a:p>
                      <a:pPr algn="ctr">
                        <a:defRPr sz="600">
                          <a:latin typeface="Nexa Book"/>
                        </a:defRPr>
                      </a:pPr>
                      <a:r>
                        <a:rPr sz="600">
                          <a:latin typeface="Nexa Book"/>
                        </a:rPr>
                        <a:t>16680</a:t>
                      </a:r>
                    </a:p>
                  </a:txBody>
                  <a:tcPr marL="2858" marR="2858" marT="2858" marB="0" anchor="ctr">
                    <a:noFill/>
                  </a:tcPr>
                </a:tc>
                <a:tc>
                  <a:txBody>
                    <a:bodyPr/>
                    <a:lstStyle/>
                    <a:p>
                      <a:pPr algn="ctr">
                        <a:defRPr sz="600">
                          <a:latin typeface="Nexa Book"/>
                        </a:defRPr>
                      </a:pPr>
                      <a:r>
                        <a:rPr sz="600">
                          <a:latin typeface="Nexa Book"/>
                        </a:rPr>
                        <a:t>542%</a:t>
                      </a:r>
                    </a:p>
                  </a:txBody>
                  <a:tcPr marL="2858" marR="2858" marT="2858" marB="0" anchor="ctr">
                    <a:noFill/>
                  </a:tcPr>
                </a:tc>
                <a:tc>
                  <a:txBody>
                    <a:bodyPr/>
                    <a:lstStyle/>
                    <a:p>
                      <a:pPr algn="ctr">
                        <a:defRPr sz="600">
                          <a:latin typeface="Nexa Book"/>
                        </a:defRPr>
                      </a:pPr>
                      <a:r>
                        <a:rPr sz="600">
                          <a:latin typeface="Nexa Book"/>
                        </a:rPr>
                        <a:t>4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Dom Perignon</a:t>
                      </a:r>
                    </a:p>
                  </a:txBody>
                  <a:tcPr marL="2858" marR="2858" marT="2858" marB="0" anchor="ctr">
                    <a:noFill/>
                  </a:tcPr>
                </a:tc>
                <a:tc>
                  <a:txBody>
                    <a:bodyPr/>
                    <a:lstStyle/>
                    <a:p>
                      <a:pPr algn="l">
                        <a:defRPr sz="600">
                          <a:latin typeface="Nexa Book"/>
                        </a:defRPr>
                      </a:pPr>
                      <a:r>
                        <a:rPr sz="600">
                          <a:latin typeface="Nexa Book"/>
                        </a:rPr>
                        <a:t>DOM PERIGNON 2013 1CT X 750ML</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 282.90</a:t>
                      </a:r>
                    </a:p>
                  </a:txBody>
                  <a:tcPr marL="2858" marR="2858" marT="2858" marB="0" anchor="ctr">
                    <a:noFill/>
                  </a:tcPr>
                </a:tc>
                <a:tc>
                  <a:txBody>
                    <a:bodyPr/>
                    <a:lstStyle/>
                    <a:p>
                      <a:pPr algn="ctr">
                        <a:defRPr sz="600">
                          <a:latin typeface="Nexa Book"/>
                        </a:defRPr>
                      </a:pPr>
                      <a:r>
                        <a:rPr sz="600">
                          <a:latin typeface="Nexa Book"/>
                        </a:rPr>
                        <a:t> 240.00</a:t>
                      </a:r>
                    </a:p>
                  </a:txBody>
                  <a:tcPr marL="2858" marR="2858" marT="2858" marB="0" anchor="ctr">
                    <a:noFill/>
                  </a:tcPr>
                </a:tc>
                <a:tc>
                  <a:txBody>
                    <a:bodyPr/>
                    <a:lstStyle/>
                    <a:p>
                      <a:pPr algn="ctr">
                        <a:defRPr sz="600">
                          <a:latin typeface="Nexa Book"/>
                        </a:defRPr>
                      </a:pPr>
                      <a:r>
                        <a:rPr sz="600">
                          <a:latin typeface="Nexa Book"/>
                        </a:rPr>
                        <a:t>15'840</a:t>
                      </a:r>
                    </a:p>
                  </a:txBody>
                  <a:tcPr marL="2858" marR="2858" marT="2858" marB="0" anchor="ctr">
                    <a:noFill/>
                  </a:tcPr>
                </a:tc>
                <a:tc>
                  <a:txBody>
                    <a:bodyPr/>
                    <a:lstStyle/>
                    <a:p>
                      <a:pPr algn="ctr">
                        <a:defRPr sz="600">
                          <a:latin typeface="Nexa Book"/>
                        </a:defRPr>
                      </a:pPr>
                      <a:r>
                        <a:rPr sz="600">
                          <a:latin typeface="Nexa Book"/>
                        </a:rPr>
                        <a:t>198%</a:t>
                      </a:r>
                    </a:p>
                  </a:txBody>
                  <a:tcPr marL="2858" marR="2858" marT="2858" marB="0" anchor="ctr">
                    <a:noFill/>
                  </a:tcPr>
                </a:tc>
                <a:tc>
                  <a:txBody>
                    <a:bodyPr/>
                    <a:lstStyle/>
                    <a:p>
                      <a:pPr algn="ctr">
                        <a:defRPr sz="600">
                          <a:latin typeface="Nexa Book"/>
                        </a:defRPr>
                      </a:pPr>
                      <a:r>
                        <a:rPr sz="600">
                          <a:latin typeface="Nexa Book"/>
                        </a:rPr>
                        <a:t>257%</a:t>
                      </a:r>
                    </a:p>
                  </a:txBody>
                  <a:tcPr marL="2858" marR="2858" marT="2858" marB="0" anchor="ctr">
                    <a:noFill/>
                  </a:tcPr>
                </a:tc>
                <a:tc>
                  <a:txBody>
                    <a:bodyPr/>
                    <a:lstStyle/>
                    <a:p>
                      <a:pPr algn="ctr">
                        <a:defRPr sz="600">
                          <a:latin typeface="Nexa Book"/>
                        </a:defRPr>
                      </a:pPr>
                      <a:r>
                        <a:rPr sz="600">
                          <a:latin typeface="Nexa Book"/>
                        </a:rPr>
                        <a:t>10705</a:t>
                      </a:r>
                    </a:p>
                  </a:txBody>
                  <a:tcPr marL="2858" marR="2858" marT="2858" marB="0" anchor="ctr">
                    <a:noFill/>
                  </a:tcPr>
                </a:tc>
                <a:tc>
                  <a:txBody>
                    <a:bodyPr/>
                    <a:lstStyle/>
                    <a:p>
                      <a:pPr algn="ctr">
                        <a:defRPr sz="600">
                          <a:latin typeface="Nexa Book"/>
                        </a:defRPr>
                      </a:pPr>
                      <a:r>
                        <a:rPr sz="600">
                          <a:latin typeface="Nexa Book"/>
                        </a:rPr>
                        <a:t>342%</a:t>
                      </a:r>
                    </a:p>
                  </a:txBody>
                  <a:tcPr marL="2858" marR="2858" marT="2858" marB="0" anchor="ctr">
                    <a:noFill/>
                  </a:tcPr>
                </a:tc>
                <a:tc>
                  <a:txBody>
                    <a:bodyPr/>
                    <a:lstStyle/>
                    <a:p>
                      <a:pPr algn="ctr">
                        <a:defRPr sz="600">
                          <a:latin typeface="Nexa Book"/>
                        </a:defRPr>
                      </a:pPr>
                      <a:r>
                        <a:rPr sz="600">
                          <a:latin typeface="Nexa Book"/>
                        </a:rPr>
                        <a:t>3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32369930"/>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1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ousseux Val De Loire | CA E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Bouvet-Ladubay</a:t>
                      </a:r>
                    </a:p>
                  </a:txBody>
                  <a:tcPr marL="2858" marR="2858" marT="2858" marB="0" anchor="ctr">
                    <a:noFill/>
                  </a:tcPr>
                </a:tc>
                <a:tc>
                  <a:txBody>
                    <a:bodyPr/>
                    <a:lstStyle/>
                    <a:p>
                      <a:pPr algn="l">
                        <a:defRPr sz="600">
                          <a:latin typeface="Nexa Book"/>
                        </a:defRPr>
                      </a:pPr>
                      <a:r>
                        <a:rPr sz="600">
                          <a:latin typeface="Nexa Book"/>
                        </a:rPr>
                        <a:t>SAUMUR BOUVET L CUV SAPHI M AC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 12.00</a:t>
                      </a:r>
                    </a:p>
                  </a:txBody>
                  <a:tcPr marL="2858" marR="2858" marT="2858" marB="0" anchor="ctr">
                    <a:noFill/>
                  </a:tcPr>
                </a:tc>
                <a:tc>
                  <a:txBody>
                    <a:bodyPr/>
                    <a:lstStyle/>
                    <a:p>
                      <a:pPr algn="ctr">
                        <a:defRPr sz="600">
                          <a:latin typeface="Nexa Book"/>
                        </a:defRPr>
                      </a:pPr>
                      <a:r>
                        <a:rPr sz="600">
                          <a:latin typeface="Nexa Book"/>
                        </a:rPr>
                        <a:t> 10.29</a:t>
                      </a:r>
                    </a:p>
                  </a:txBody>
                  <a:tcPr marL="2858" marR="2858" marT="2858" marB="0" anchor="ctr">
                    <a:noFill/>
                  </a:tcPr>
                </a:tc>
                <a:tc>
                  <a:txBody>
                    <a:bodyPr/>
                    <a:lstStyle/>
                    <a:p>
                      <a:pPr algn="ctr">
                        <a:defRPr sz="600">
                          <a:latin typeface="Nexa Book"/>
                        </a:defRPr>
                      </a:pPr>
                      <a:r>
                        <a:rPr sz="600">
                          <a:latin typeface="Nexa Book"/>
                        </a:rPr>
                        <a:t>26'519</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145%</a:t>
                      </a:r>
                    </a:p>
                  </a:txBody>
                  <a:tcPr marL="2858" marR="2858" marT="2858" marB="0" anchor="ctr">
                    <a:noFill/>
                  </a:tcPr>
                </a:tc>
                <a:tc>
                  <a:txBody>
                    <a:bodyPr/>
                    <a:lstStyle/>
                    <a:p>
                      <a:pPr algn="ctr">
                        <a:defRPr sz="600">
                          <a:latin typeface="Nexa Book"/>
                        </a:defRPr>
                      </a:pPr>
                      <a:r>
                        <a:rPr sz="600">
                          <a:latin typeface="Nexa Book"/>
                        </a:rPr>
                        <a:t>15712</a:t>
                      </a:r>
                    </a:p>
                  </a:txBody>
                  <a:tcPr marL="2858" marR="2858" marT="2858" marB="0" anchor="ctr">
                    <a:noFill/>
                  </a:tcPr>
                </a:tc>
                <a:tc>
                  <a:txBody>
                    <a:bodyPr/>
                    <a:lstStyle/>
                    <a:p>
                      <a:pPr algn="ctr">
                        <a:defRPr sz="600">
                          <a:latin typeface="Nexa Book"/>
                        </a:defRPr>
                      </a:pPr>
                      <a:r>
                        <a:rPr sz="600">
                          <a:latin typeface="Nexa Book"/>
                        </a:rPr>
                        <a:t>357%</a:t>
                      </a:r>
                    </a:p>
                  </a:txBody>
                  <a:tcPr marL="2858" marR="2858" marT="2858" marB="0" anchor="ctr">
                    <a:noFill/>
                  </a:tcPr>
                </a:tc>
                <a:tc>
                  <a:txBody>
                    <a:bodyPr/>
                    <a:lstStyle/>
                    <a:p>
                      <a:pPr algn="ctr">
                        <a:defRPr sz="600">
                          <a:latin typeface="Nexa Book"/>
                        </a:defRPr>
                      </a:pPr>
                      <a:r>
                        <a:rPr sz="600">
                          <a:latin typeface="Nexa Book"/>
                        </a:rPr>
                        <a:t>5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De Chanceny</a:t>
                      </a:r>
                    </a:p>
                  </a:txBody>
                  <a:tcPr marL="2858" marR="2858" marT="2858" marB="0" anchor="ctr">
                    <a:noFill/>
                  </a:tcPr>
                </a:tc>
                <a:tc>
                  <a:txBody>
                    <a:bodyPr/>
                    <a:lstStyle/>
                    <a:p>
                      <a:pPr algn="l">
                        <a:defRPr sz="600">
                          <a:latin typeface="Nexa Book"/>
                        </a:defRPr>
                      </a:pPr>
                      <a:r>
                        <a:rPr sz="600">
                          <a:latin typeface="Nexa Book"/>
                        </a:rPr>
                        <a:t>CREMANT LOIRE NATURE 2015AC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 14.45</a:t>
                      </a:r>
                    </a:p>
                  </a:txBody>
                  <a:tcPr marL="2858" marR="2858" marT="2858" marB="0" anchor="ctr">
                    <a:noFill/>
                  </a:tcPr>
                </a:tc>
                <a:tc>
                  <a:txBody>
                    <a:bodyPr/>
                    <a:lstStyle/>
                    <a:p>
                      <a:pPr algn="ctr">
                        <a:defRPr sz="600">
                          <a:latin typeface="Nexa Book"/>
                        </a:defRPr>
                      </a:pPr>
                      <a:r>
                        <a:rPr sz="600">
                          <a:latin typeface="Nexa Book"/>
                        </a:rPr>
                        <a:t> 11.54</a:t>
                      </a:r>
                    </a:p>
                  </a:txBody>
                  <a:tcPr marL="2858" marR="2858" marT="2858" marB="0" anchor="ctr">
                    <a:noFill/>
                  </a:tcPr>
                </a:tc>
                <a:tc>
                  <a:txBody>
                    <a:bodyPr/>
                    <a:lstStyle/>
                    <a:p>
                      <a:pPr algn="ctr">
                        <a:defRPr sz="600">
                          <a:latin typeface="Nexa Book"/>
                        </a:defRPr>
                      </a:pPr>
                      <a:r>
                        <a:rPr sz="600">
                          <a:latin typeface="Nexa Book"/>
                        </a:rPr>
                        <a:t>7'525</a:t>
                      </a:r>
                    </a:p>
                  </a:txBody>
                  <a:tcPr marL="2858" marR="2858" marT="2858" marB="0" anchor="ctr">
                    <a:noFill/>
                  </a:tcPr>
                </a:tc>
                <a:tc>
                  <a:txBody>
                    <a:bodyPr/>
                    <a:lstStyle/>
                    <a:p>
                      <a:pPr algn="ctr">
                        <a:defRPr sz="600">
                          <a:latin typeface="Nexa Book"/>
                        </a:defRPr>
                      </a:pPr>
                      <a:r>
                        <a:rPr sz="600">
                          <a:latin typeface="Nexa Book"/>
                        </a:rPr>
                        <a:t>253%</a:t>
                      </a:r>
                    </a:p>
                  </a:txBody>
                  <a:tcPr marL="2858" marR="2858" marT="2858" marB="0" anchor="ctr">
                    <a:noFill/>
                  </a:tcPr>
                </a:tc>
                <a:tc>
                  <a:txBody>
                    <a:bodyPr/>
                    <a:lstStyle/>
                    <a:p>
                      <a:pPr algn="ctr">
                        <a:defRPr sz="600">
                          <a:latin typeface="Nexa Book"/>
                        </a:defRPr>
                      </a:pPr>
                      <a:r>
                        <a:rPr sz="600">
                          <a:latin typeface="Nexa Book"/>
                        </a:rPr>
                        <a:t>323%</a:t>
                      </a:r>
                    </a:p>
                  </a:txBody>
                  <a:tcPr marL="2858" marR="2858" marT="2858" marB="0" anchor="ctr">
                    <a:noFill/>
                  </a:tcPr>
                </a:tc>
                <a:tc>
                  <a:txBody>
                    <a:bodyPr/>
                    <a:lstStyle/>
                    <a:p>
                      <a:pPr algn="ctr">
                        <a:defRPr sz="600">
                          <a:latin typeface="Nexa Book"/>
                        </a:defRPr>
                      </a:pPr>
                      <a:r>
                        <a:rPr sz="600">
                          <a:latin typeface="Nexa Book"/>
                        </a:rPr>
                        <a:t>5909</a:t>
                      </a:r>
                    </a:p>
                  </a:txBody>
                  <a:tcPr marL="2858" marR="2858" marT="2858" marB="0" anchor="ctr">
                    <a:noFill/>
                  </a:tcPr>
                </a:tc>
                <a:tc>
                  <a:txBody>
                    <a:bodyPr/>
                    <a:lstStyle/>
                    <a:p>
                      <a:pPr algn="ctr">
                        <a:defRPr sz="600">
                          <a:latin typeface="Nexa Book"/>
                        </a:defRPr>
                      </a:pPr>
                      <a:r>
                        <a:rPr sz="600">
                          <a:latin typeface="Nexa Book"/>
                        </a:rPr>
                        <a:t>317%</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64512088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NICOLAS Q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37.02</a:t>
                      </a:r>
                    </a:p>
                  </a:txBody>
                  <a:tcPr marL="2858" marR="2858" marT="2858" marB="0" anchor="ctr">
                    <a:noFill/>
                  </a:tcPr>
                </a:tc>
                <a:tc>
                  <a:txBody>
                    <a:bodyPr/>
                    <a:lstStyle/>
                    <a:p>
                      <a:pPr algn="ctr">
                        <a:defRPr sz="600">
                          <a:latin typeface="Nexa Book"/>
                        </a:defRPr>
                      </a:pPr>
                      <a:r>
                        <a:rPr sz="600">
                          <a:latin typeface="Nexa Book"/>
                        </a:rPr>
                        <a:t> 26.43</a:t>
                      </a:r>
                    </a:p>
                  </a:txBody>
                  <a:tcPr marL="2858" marR="2858" marT="2858" marB="0" anchor="ctr">
                    <a:noFill/>
                  </a:tcPr>
                </a:tc>
                <a:tc>
                  <a:txBody>
                    <a:bodyPr/>
                    <a:lstStyle/>
                    <a:p>
                      <a:pPr algn="ctr">
                        <a:defRPr sz="600">
                          <a:latin typeface="Nexa Book"/>
                        </a:defRPr>
                      </a:pPr>
                      <a:r>
                        <a:rPr sz="600">
                          <a:latin typeface="Nexa Book"/>
                        </a:rPr>
                        <a:t>56'718</a:t>
                      </a:r>
                    </a:p>
                  </a:txBody>
                  <a:tcPr marL="2858" marR="2858" marT="2858" marB="0" anchor="ctr">
                    <a:noFill/>
                  </a:tcPr>
                </a:tc>
                <a:tc>
                  <a:txBody>
                    <a:bodyPr/>
                    <a:lstStyle/>
                    <a:p>
                      <a:pPr algn="ctr">
                        <a:defRPr sz="600">
                          <a:latin typeface="Nexa Book"/>
                        </a:defRPr>
                      </a:pPr>
                      <a:r>
                        <a:rPr sz="600">
                          <a:latin typeface="Nexa Book"/>
                        </a:rPr>
                        <a:t>715%</a:t>
                      </a:r>
                    </a:p>
                  </a:txBody>
                  <a:tcPr marL="2858" marR="2858" marT="2858" marB="0" anchor="ctr">
                    <a:noFill/>
                  </a:tcPr>
                </a:tc>
                <a:tc>
                  <a:txBody>
                    <a:bodyPr/>
                    <a:lstStyle/>
                    <a:p>
                      <a:pPr algn="ctr">
                        <a:defRPr sz="600">
                          <a:latin typeface="Nexa Book"/>
                        </a:defRPr>
                      </a:pPr>
                      <a:r>
                        <a:rPr sz="600">
                          <a:latin typeface="Nexa Book"/>
                        </a:rPr>
                        <a:t>1021%</a:t>
                      </a:r>
                    </a:p>
                  </a:txBody>
                  <a:tcPr marL="2858" marR="2858" marT="2858" marB="0" anchor="ctr">
                    <a:noFill/>
                  </a:tcPr>
                </a:tc>
                <a:tc>
                  <a:txBody>
                    <a:bodyPr/>
                    <a:lstStyle/>
                    <a:p>
                      <a:pPr algn="ctr">
                        <a:defRPr sz="600">
                          <a:latin typeface="Nexa Book"/>
                        </a:defRPr>
                      </a:pPr>
                      <a:r>
                        <a:rPr sz="600">
                          <a:latin typeface="Nexa Book"/>
                        </a:rPr>
                        <a:t>52407</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41.35</a:t>
                      </a:r>
                    </a:p>
                  </a:txBody>
                  <a:tcPr marL="2858" marR="2858" marT="2858" marB="0" anchor="ctr">
                    <a:noFill/>
                  </a:tcPr>
                </a:tc>
                <a:tc>
                  <a:txBody>
                    <a:bodyPr/>
                    <a:lstStyle/>
                    <a:p>
                      <a:pPr algn="ctr">
                        <a:defRPr sz="600">
                          <a:latin typeface="Nexa Book"/>
                        </a:defRPr>
                      </a:pPr>
                      <a:r>
                        <a:rPr sz="600">
                          <a:latin typeface="Nexa Book"/>
                        </a:rPr>
                        <a:t> 29.95</a:t>
                      </a:r>
                    </a:p>
                  </a:txBody>
                  <a:tcPr marL="2858" marR="2858" marT="2858" marB="0" anchor="ctr">
                    <a:noFill/>
                  </a:tcPr>
                </a:tc>
                <a:tc>
                  <a:txBody>
                    <a:bodyPr/>
                    <a:lstStyle/>
                    <a:p>
                      <a:pPr algn="ctr">
                        <a:defRPr sz="600">
                          <a:latin typeface="Nexa Book"/>
                        </a:defRPr>
                      </a:pPr>
                      <a:r>
                        <a:rPr sz="600">
                          <a:latin typeface="Nexa Book"/>
                        </a:rPr>
                        <a:t>8'447</a:t>
                      </a:r>
                    </a:p>
                  </a:txBody>
                  <a:tcPr marL="2858" marR="2858" marT="2858" marB="0" anchor="ctr">
                    <a:noFill/>
                  </a:tcPr>
                </a:tc>
                <a:tc>
                  <a:txBody>
                    <a:bodyPr/>
                    <a:lstStyle/>
                    <a:p>
                      <a:pPr algn="ctr">
                        <a:defRPr sz="600">
                          <a:latin typeface="Nexa Book"/>
                        </a:defRPr>
                      </a:pPr>
                      <a:r>
                        <a:rPr sz="600">
                          <a:latin typeface="Nexa Book"/>
                        </a:rPr>
                        <a:t>631%</a:t>
                      </a:r>
                    </a:p>
                  </a:txBody>
                  <a:tcPr marL="2858" marR="2858" marT="2858" marB="0" anchor="ctr">
                    <a:noFill/>
                  </a:tcPr>
                </a:tc>
                <a:tc>
                  <a:txBody>
                    <a:bodyPr/>
                    <a:lstStyle/>
                    <a:p>
                      <a:pPr algn="ctr">
                        <a:defRPr sz="600">
                          <a:latin typeface="Nexa Book"/>
                        </a:defRPr>
                      </a:pPr>
                      <a:r>
                        <a:rPr sz="600">
                          <a:latin typeface="Nexa Book"/>
                        </a:rPr>
                        <a:t>910%</a:t>
                      </a:r>
                    </a:p>
                  </a:txBody>
                  <a:tcPr marL="2858" marR="2858" marT="2858" marB="0" anchor="ctr">
                    <a:noFill/>
                  </a:tcPr>
                </a:tc>
                <a:tc>
                  <a:txBody>
                    <a:bodyPr/>
                    <a:lstStyle/>
                    <a:p>
                      <a:pPr algn="ctr">
                        <a:defRPr sz="600">
                          <a:latin typeface="Nexa Book"/>
                        </a:defRPr>
                      </a:pPr>
                      <a:r>
                        <a:rPr sz="600">
                          <a:latin typeface="Nexa Book"/>
                        </a:rPr>
                        <a:t>7291</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7.06</a:t>
                      </a:r>
                    </a:p>
                  </a:txBody>
                  <a:tcPr marL="2858" marR="2858" marT="2858" marB="0" anchor="ctr">
                    <a:noFill/>
                  </a:tcPr>
                </a:tc>
                <a:tc>
                  <a:txBody>
                    <a:bodyPr/>
                    <a:lstStyle/>
                    <a:p>
                      <a:pPr algn="ctr">
                        <a:defRPr sz="600">
                          <a:latin typeface="Nexa Book"/>
                        </a:defRPr>
                      </a:pPr>
                      <a:r>
                        <a:rPr sz="600">
                          <a:latin typeface="Nexa Book"/>
                        </a:rPr>
                        <a:t> 26.34</a:t>
                      </a:r>
                    </a:p>
                  </a:txBody>
                  <a:tcPr marL="2858" marR="2858" marT="2858" marB="0" anchor="ctr">
                    <a:noFill/>
                  </a:tcPr>
                </a:tc>
                <a:tc>
                  <a:txBody>
                    <a:bodyPr/>
                    <a:lstStyle/>
                    <a:p>
                      <a:pPr algn="ctr">
                        <a:defRPr sz="600">
                          <a:latin typeface="Nexa Book"/>
                        </a:defRPr>
                      </a:pPr>
                      <a:r>
                        <a:rPr sz="600">
                          <a:latin typeface="Nexa Book"/>
                        </a:rPr>
                        <a:t>6'822</a:t>
                      </a:r>
                    </a:p>
                  </a:txBody>
                  <a:tcPr marL="2858" marR="2858" marT="2858" marB="0" anchor="ctr">
                    <a:noFill/>
                  </a:tcPr>
                </a:tc>
                <a:tc>
                  <a:txBody>
                    <a:bodyPr/>
                    <a:lstStyle/>
                    <a:p>
                      <a:pPr algn="ctr">
                        <a:defRPr sz="600">
                          <a:latin typeface="Nexa Book"/>
                        </a:defRPr>
                      </a:pPr>
                      <a:r>
                        <a:rPr sz="600">
                          <a:latin typeface="Nexa Book"/>
                        </a:rPr>
                        <a:t>985%</a:t>
                      </a:r>
                    </a:p>
                  </a:txBody>
                  <a:tcPr marL="2858" marR="2858" marT="2858" marB="0" anchor="ctr">
                    <a:noFill/>
                  </a:tcPr>
                </a:tc>
                <a:tc>
                  <a:txBody>
                    <a:bodyPr/>
                    <a:lstStyle/>
                    <a:p>
                      <a:pPr algn="ctr">
                        <a:defRPr sz="600">
                          <a:latin typeface="Nexa Book"/>
                        </a:defRPr>
                      </a:pPr>
                      <a:r>
                        <a:rPr sz="600">
                          <a:latin typeface="Nexa Book"/>
                        </a:rPr>
                        <a:t>1525%</a:t>
                      </a:r>
                    </a:p>
                  </a:txBody>
                  <a:tcPr marL="2858" marR="2858" marT="2858" marB="0" anchor="ctr">
                    <a:noFill/>
                  </a:tcPr>
                </a:tc>
                <a:tc>
                  <a:txBody>
                    <a:bodyPr/>
                    <a:lstStyle/>
                    <a:p>
                      <a:pPr algn="ctr">
                        <a:defRPr sz="600">
                          <a:latin typeface="Nexa Book"/>
                        </a:defRPr>
                      </a:pPr>
                      <a:r>
                        <a:rPr sz="600">
                          <a:latin typeface="Nexa Book"/>
                        </a:rPr>
                        <a:t>6227</a:t>
                      </a:r>
                    </a:p>
                  </a:txBody>
                  <a:tcPr marL="2858" marR="2858" marT="2858" marB="0" anchor="ctr">
                    <a:noFill/>
                  </a:tcPr>
                </a:tc>
                <a:tc>
                  <a:txBody>
                    <a:bodyPr/>
                    <a:lstStyle/>
                    <a:p>
                      <a:pPr algn="ctr">
                        <a:defRPr sz="600">
                          <a:latin typeface="Nexa Book"/>
                        </a:defRPr>
                      </a:pPr>
                      <a:r>
                        <a:rPr sz="600">
                          <a:latin typeface="Nexa Book"/>
                        </a:rPr>
                        <a:t>183%</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06</a:t>
                      </a:r>
                    </a:p>
                  </a:txBody>
                  <a:tcPr marL="2858" marR="2858" marT="2858" marB="0" anchor="ctr">
                    <a:noFill/>
                  </a:tcPr>
                </a:tc>
                <a:tc>
                  <a:txBody>
                    <a:bodyPr/>
                    <a:lstStyle/>
                    <a:p>
                      <a:pPr algn="ctr">
                        <a:defRPr sz="600">
                          <a:latin typeface="Nexa Book"/>
                        </a:defRPr>
                      </a:pPr>
                      <a:r>
                        <a:rPr sz="600">
                          <a:latin typeface="Nexa Book"/>
                        </a:rPr>
                        <a:t> 26.27</a:t>
                      </a:r>
                    </a:p>
                  </a:txBody>
                  <a:tcPr marL="2858" marR="2858" marT="2858" marB="0" anchor="ctr">
                    <a:noFill/>
                  </a:tcPr>
                </a:tc>
                <a:tc>
                  <a:txBody>
                    <a:bodyPr/>
                    <a:lstStyle/>
                    <a:p>
                      <a:pPr algn="ctr">
                        <a:defRPr sz="600">
                          <a:latin typeface="Nexa Book"/>
                        </a:defRPr>
                      </a:pPr>
                      <a:r>
                        <a:rPr sz="600">
                          <a:latin typeface="Nexa Book"/>
                        </a:rPr>
                        <a:t>2'706</a:t>
                      </a:r>
                    </a:p>
                  </a:txBody>
                  <a:tcPr marL="2858" marR="2858" marT="2858" marB="0" anchor="ctr">
                    <a:noFill/>
                  </a:tcPr>
                </a:tc>
                <a:tc>
                  <a:txBody>
                    <a:bodyPr/>
                    <a:lstStyle/>
                    <a:p>
                      <a:pPr algn="ctr">
                        <a:defRPr sz="600">
                          <a:latin typeface="Nexa Book"/>
                        </a:defRPr>
                      </a:pPr>
                      <a:r>
                        <a:rPr sz="600">
                          <a:latin typeface="Nexa Book"/>
                        </a:rPr>
                        <a:t>594%</a:t>
                      </a:r>
                    </a:p>
                  </a:txBody>
                  <a:tcPr marL="2858" marR="2858" marT="2858" marB="0" anchor="ctr">
                    <a:noFill/>
                  </a:tcPr>
                </a:tc>
                <a:tc>
                  <a:txBody>
                    <a:bodyPr/>
                    <a:lstStyle/>
                    <a:p>
                      <a:pPr algn="ctr">
                        <a:defRPr sz="600">
                          <a:latin typeface="Nexa Book"/>
                        </a:defRPr>
                      </a:pPr>
                      <a:r>
                        <a:rPr sz="600">
                          <a:latin typeface="Nexa Book"/>
                        </a:rPr>
                        <a:t>825%</a:t>
                      </a:r>
                    </a:p>
                  </a:txBody>
                  <a:tcPr marL="2858" marR="2858" marT="2858" marB="0" anchor="ctr">
                    <a:noFill/>
                  </a:tcPr>
                </a:tc>
                <a:tc>
                  <a:txBody>
                    <a:bodyPr/>
                    <a:lstStyle/>
                    <a:p>
                      <a:pPr algn="ctr">
                        <a:defRPr sz="600">
                          <a:latin typeface="Nexa Book"/>
                        </a:defRPr>
                      </a:pPr>
                      <a:r>
                        <a:rPr sz="600">
                          <a:latin typeface="Nexa Book"/>
                        </a:rPr>
                        <a:t>2447</a:t>
                      </a:r>
                    </a:p>
                  </a:txBody>
                  <a:tcPr marL="2858" marR="2858" marT="2858" marB="0" anchor="ctr">
                    <a:noFill/>
                  </a:tcPr>
                </a:tc>
                <a:tc>
                  <a:txBody>
                    <a:bodyPr/>
                    <a:lstStyle/>
                    <a:p>
                      <a:pPr algn="ctr">
                        <a:defRPr sz="600">
                          <a:latin typeface="Nexa Book"/>
                        </a:defRPr>
                      </a:pPr>
                      <a:r>
                        <a:rPr sz="600">
                          <a:latin typeface="Nexa Book"/>
                        </a:rPr>
                        <a:t>27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784</a:t>
                      </a:r>
                    </a:p>
                  </a:txBody>
                  <a:tcPr marL="2858" marR="2858" marT="2858" marB="0" anchor="ctr">
                    <a:noFill/>
                  </a:tcPr>
                </a:tc>
                <a:tc>
                  <a:txBody>
                    <a:bodyPr/>
                    <a:lstStyle/>
                    <a:p>
                      <a:pPr algn="ctr">
                        <a:defRPr sz="600">
                          <a:latin typeface="Nexa Book"/>
                        </a:defRPr>
                      </a:pPr>
                      <a:r>
                        <a:rPr sz="600">
                          <a:latin typeface="Nexa Book"/>
                        </a:rPr>
                        <a:t>1105%</a:t>
                      </a:r>
                    </a:p>
                  </a:txBody>
                  <a:tcPr marL="2858" marR="2858" marT="2858" marB="0" anchor="ctr">
                    <a:noFill/>
                  </a:tcPr>
                </a:tc>
                <a:tc>
                  <a:txBody>
                    <a:bodyPr/>
                    <a:lstStyle/>
                    <a:p>
                      <a:pPr algn="ctr">
                        <a:defRPr sz="600">
                          <a:latin typeface="Nexa Book"/>
                        </a:defRPr>
                      </a:pPr>
                      <a:r>
                        <a:rPr sz="600">
                          <a:latin typeface="Nexa Book"/>
                        </a:rPr>
                        <a:t>1633%</a:t>
                      </a:r>
                    </a:p>
                  </a:txBody>
                  <a:tcPr marL="2858" marR="2858" marT="2858" marB="0" anchor="ctr">
                    <a:noFill/>
                  </a:tcPr>
                </a:tc>
                <a:tc>
                  <a:txBody>
                    <a:bodyPr/>
                    <a:lstStyle/>
                    <a:p>
                      <a:pPr algn="ctr">
                        <a:defRPr sz="600">
                          <a:latin typeface="Nexa Book"/>
                        </a:defRPr>
                      </a:pPr>
                      <a:r>
                        <a:rPr sz="600">
                          <a:latin typeface="Nexa Book"/>
                        </a:rPr>
                        <a:t>1636</a:t>
                      </a:r>
                    </a:p>
                  </a:txBody>
                  <a:tcPr marL="2858" marR="2858" marT="2858" marB="0" anchor="ctr">
                    <a:noFill/>
                  </a:tcPr>
                </a:tc>
                <a:tc>
                  <a:txBody>
                    <a:bodyPr/>
                    <a:lstStyle/>
                    <a:p>
                      <a:pPr algn="ctr">
                        <a:defRPr sz="600">
                          <a:latin typeface="Nexa Book"/>
                        </a:defRPr>
                      </a:pPr>
                      <a:r>
                        <a:rPr sz="600">
                          <a:latin typeface="Nexa Book"/>
                        </a:rPr>
                        <a:t>20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41.42</a:t>
                      </a:r>
                    </a:p>
                  </a:txBody>
                  <a:tcPr marL="2858" marR="2858" marT="2858" marB="0" anchor="ctr">
                    <a:noFill/>
                  </a:tcPr>
                </a:tc>
                <a:tc>
                  <a:txBody>
                    <a:bodyPr/>
                    <a:lstStyle/>
                    <a:p>
                      <a:pPr algn="ctr">
                        <a:defRPr sz="600">
                          <a:latin typeface="Nexa Book"/>
                        </a:defRPr>
                      </a:pPr>
                      <a:r>
                        <a:rPr sz="600">
                          <a:latin typeface="Nexa Book"/>
                        </a:rPr>
                        <a:t> 30.23</a:t>
                      </a:r>
                    </a:p>
                  </a:txBody>
                  <a:tcPr marL="2858" marR="2858" marT="2858" marB="0" anchor="ctr">
                    <a:noFill/>
                  </a:tcPr>
                </a:tc>
                <a:tc>
                  <a:txBody>
                    <a:bodyPr/>
                    <a:lstStyle/>
                    <a:p>
                      <a:pPr algn="ctr">
                        <a:defRPr sz="600">
                          <a:latin typeface="Nexa Book"/>
                        </a:defRPr>
                      </a:pPr>
                      <a:r>
                        <a:rPr sz="600">
                          <a:latin typeface="Nexa Book"/>
                        </a:rPr>
                        <a:t>1'058</a:t>
                      </a:r>
                    </a:p>
                  </a:txBody>
                  <a:tcPr marL="2858" marR="2858" marT="2858" marB="0" anchor="ctr">
                    <a:noFill/>
                  </a:tcPr>
                </a:tc>
                <a:tc>
                  <a:txBody>
                    <a:bodyPr/>
                    <a:lstStyle/>
                    <a:p>
                      <a:pPr algn="ctr">
                        <a:defRPr sz="600">
                          <a:latin typeface="Nexa Book"/>
                        </a:defRPr>
                      </a:pPr>
                      <a:r>
                        <a:rPr sz="600">
                          <a:latin typeface="Nexa Book"/>
                        </a:rPr>
                        <a:t>276%</a:t>
                      </a:r>
                    </a:p>
                  </a:txBody>
                  <a:tcPr marL="2858" marR="2858" marT="2858" marB="0" anchor="ctr">
                    <a:noFill/>
                  </a:tcPr>
                </a:tc>
                <a:tc>
                  <a:txBody>
                    <a:bodyPr/>
                    <a:lstStyle/>
                    <a:p>
                      <a:pPr algn="ctr">
                        <a:defRPr sz="600">
                          <a:latin typeface="Nexa Book"/>
                        </a:defRPr>
                      </a:pPr>
                      <a:r>
                        <a:rPr sz="600">
                          <a:latin typeface="Nexa Book"/>
                        </a:rPr>
                        <a:t>367%</a:t>
                      </a:r>
                    </a:p>
                  </a:txBody>
                  <a:tcPr marL="2858" marR="2858" marT="2858" marB="0" anchor="ctr">
                    <a:noFill/>
                  </a:tcPr>
                </a:tc>
                <a:tc>
                  <a:txBody>
                    <a:bodyPr/>
                    <a:lstStyle/>
                    <a:p>
                      <a:pPr algn="ctr">
                        <a:defRPr sz="600">
                          <a:latin typeface="Nexa Book"/>
                        </a:defRPr>
                      </a:pPr>
                      <a:r>
                        <a:rPr sz="600">
                          <a:latin typeface="Nexa Book"/>
                        </a:rPr>
                        <a:t>923</a:t>
                      </a:r>
                    </a:p>
                  </a:txBody>
                  <a:tcPr marL="2858" marR="2858" marT="2858" marB="0" anchor="ctr">
                    <a:noFill/>
                  </a:tcPr>
                </a:tc>
                <a:tc>
                  <a:txBody>
                    <a:bodyPr/>
                    <a:lstStyle/>
                    <a:p>
                      <a:pPr algn="ctr">
                        <a:defRPr sz="600">
                          <a:latin typeface="Nexa Book"/>
                        </a:defRPr>
                      </a:pPr>
                      <a:r>
                        <a:rPr sz="600">
                          <a:latin typeface="Nexa Book"/>
                        </a:rPr>
                        <a:t>277%</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0</a:t>
                      </a:r>
                    </a:p>
                  </a:txBody>
                  <a:tcPr marL="2858" marR="2858" marT="2858" marB="0" anchor="ctr">
                    <a:noFill/>
                  </a:tcPr>
                </a:tc>
                <a:tc>
                  <a:txBody>
                    <a:bodyPr/>
                    <a:lstStyle/>
                    <a:p>
                      <a:pPr algn="ctr">
                        <a:defRPr sz="600">
                          <a:latin typeface="Nexa Book"/>
                        </a:defRPr>
                      </a:pPr>
                      <a:r>
                        <a:rPr sz="600">
                          <a:latin typeface="Nexa Book"/>
                        </a:rPr>
                        <a:t>2'243</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14%</a:t>
                      </a:r>
                    </a:p>
                  </a:txBody>
                  <a:tcPr marL="2858" marR="2858" marT="2858" marB="0" anchor="ctr">
                    <a:noFill/>
                  </a:tcPr>
                </a:tc>
                <a:tc>
                  <a:txBody>
                    <a:bodyPr/>
                    <a:lstStyle/>
                    <a:p>
                      <a:pPr algn="ctr">
                        <a:defRPr sz="600">
                          <a:latin typeface="Nexa Book"/>
                        </a:defRPr>
                      </a:pPr>
                      <a:r>
                        <a:rPr sz="600">
                          <a:latin typeface="Nexa Book"/>
                        </a:rPr>
                        <a:t>827</a:t>
                      </a:r>
                    </a:p>
                  </a:txBody>
                  <a:tcPr marL="2858" marR="2858" marT="2858" marB="0" anchor="ctr">
                    <a:noFill/>
                  </a:tcPr>
                </a:tc>
                <a:tc>
                  <a:txBody>
                    <a:bodyPr/>
                    <a:lstStyle/>
                    <a:p>
                      <a:pPr algn="ctr">
                        <a:defRPr sz="600">
                          <a:latin typeface="Nexa Book"/>
                        </a:defRPr>
                      </a:pPr>
                      <a:r>
                        <a:rPr sz="600">
                          <a:latin typeface="Nexa Book"/>
                        </a:rPr>
                        <a:t>10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329%</a:t>
                      </a:r>
                    </a:p>
                  </a:txBody>
                  <a:tcPr marL="2858" marR="2858" marT="2858" marB="0" anchor="ctr">
                    <a:noFill/>
                  </a:tcPr>
                </a:tc>
                <a:tc>
                  <a:txBody>
                    <a:bodyPr/>
                    <a:lstStyle/>
                    <a:p>
                      <a:pPr algn="ctr">
                        <a:defRPr sz="600">
                          <a:latin typeface="Nexa Book"/>
                        </a:defRPr>
                      </a:pPr>
                      <a:r>
                        <a:rPr sz="600">
                          <a:latin typeface="Nexa Book"/>
                        </a:rPr>
                        <a:t>3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1588%</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002877604"/>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Effervescents  |  NICOLAS PA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37.35</a:t>
                      </a:r>
                    </a:p>
                  </a:txBody>
                  <a:tcPr marL="2858" marR="2858" marT="2858" marB="0" anchor="ctr">
                    <a:noFill/>
                  </a:tcPr>
                </a:tc>
                <a:tc>
                  <a:txBody>
                    <a:bodyPr/>
                    <a:lstStyle/>
                    <a:p>
                      <a:pPr algn="ctr">
                        <a:defRPr sz="600">
                          <a:latin typeface="Nexa Book"/>
                        </a:defRPr>
                      </a:pPr>
                      <a:r>
                        <a:rPr sz="600">
                          <a:latin typeface="Nexa Book"/>
                        </a:rPr>
                        <a:t> 26.78</a:t>
                      </a:r>
                    </a:p>
                  </a:txBody>
                  <a:tcPr marL="2858" marR="2858" marT="2858" marB="0" anchor="ctr">
                    <a:noFill/>
                  </a:tcPr>
                </a:tc>
                <a:tc>
                  <a:txBody>
                    <a:bodyPr/>
                    <a:lstStyle/>
                    <a:p>
                      <a:pPr algn="ctr">
                        <a:defRPr sz="600">
                          <a:latin typeface="Nexa Book"/>
                        </a:defRPr>
                      </a:pPr>
                      <a:r>
                        <a:rPr sz="600">
                          <a:latin typeface="Nexa Book"/>
                        </a:rPr>
                        <a:t>8'461</a:t>
                      </a:r>
                    </a:p>
                  </a:txBody>
                  <a:tcPr marL="2858" marR="2858" marT="2858" marB="0" anchor="ctr">
                    <a:noFill/>
                  </a:tcPr>
                </a:tc>
                <a:tc>
                  <a:txBody>
                    <a:bodyPr/>
                    <a:lstStyle/>
                    <a:p>
                      <a:pPr algn="ctr">
                        <a:defRPr sz="600">
                          <a:latin typeface="Nexa Book"/>
                        </a:defRPr>
                      </a:pPr>
                      <a:r>
                        <a:rPr sz="600">
                          <a:latin typeface="Nexa Book"/>
                        </a:rPr>
                        <a:t>341%</a:t>
                      </a:r>
                    </a:p>
                  </a:txBody>
                  <a:tcPr marL="2858" marR="2858" marT="2858" marB="0" anchor="ctr">
                    <a:noFill/>
                  </a:tcPr>
                </a:tc>
                <a:tc>
                  <a:txBody>
                    <a:bodyPr/>
                    <a:lstStyle/>
                    <a:p>
                      <a:pPr algn="ctr">
                        <a:defRPr sz="600">
                          <a:latin typeface="Nexa Book"/>
                        </a:defRPr>
                      </a:pPr>
                      <a:r>
                        <a:rPr sz="600">
                          <a:latin typeface="Nexa Book"/>
                        </a:rPr>
                        <a:t>475%</a:t>
                      </a:r>
                    </a:p>
                  </a:txBody>
                  <a:tcPr marL="2858" marR="2858" marT="2858" marB="0" anchor="ctr">
                    <a:noFill/>
                  </a:tcPr>
                </a:tc>
                <a:tc>
                  <a:txBody>
                    <a:bodyPr/>
                    <a:lstStyle/>
                    <a:p>
                      <a:pPr algn="ctr">
                        <a:defRPr sz="600">
                          <a:latin typeface="Nexa Book"/>
                        </a:defRPr>
                      </a:pPr>
                      <a:r>
                        <a:rPr sz="600">
                          <a:latin typeface="Nexa Book"/>
                        </a:rPr>
                        <a:t>7200</a:t>
                      </a:r>
                    </a:p>
                  </a:txBody>
                  <a:tcPr marL="2858" marR="2858" marT="2858" marB="0" anchor="ctr">
                    <a:noFill/>
                  </a:tcPr>
                </a:tc>
                <a:tc>
                  <a:txBody>
                    <a:bodyPr/>
                    <a:lstStyle/>
                    <a:p>
                      <a:pPr algn="ctr">
                        <a:defRPr sz="600">
                          <a:latin typeface="Nexa Book"/>
                        </a:defRPr>
                      </a:pPr>
                      <a:r>
                        <a:rPr sz="600">
                          <a:latin typeface="Nexa Book"/>
                        </a:rPr>
                        <a:t>24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16</a:t>
                      </a:r>
                    </a:p>
                  </a:txBody>
                  <a:tcPr marL="2858" marR="2858" marT="2858" marB="0" anchor="ctr">
                    <a:noFill/>
                  </a:tcPr>
                </a:tc>
                <a:tc>
                  <a:txBody>
                    <a:bodyPr/>
                    <a:lstStyle/>
                    <a:p>
                      <a:pPr algn="ctr">
                        <a:defRPr sz="600">
                          <a:latin typeface="Nexa Book"/>
                        </a:defRPr>
                      </a:pPr>
                      <a:r>
                        <a:rPr sz="600">
                          <a:latin typeface="Nexa Book"/>
                        </a:rPr>
                        <a:t> 26.63</a:t>
                      </a:r>
                    </a:p>
                  </a:txBody>
                  <a:tcPr marL="2858" marR="2858" marT="2858" marB="0" anchor="ctr">
                    <a:noFill/>
                  </a:tcPr>
                </a:tc>
                <a:tc>
                  <a:txBody>
                    <a:bodyPr/>
                    <a:lstStyle/>
                    <a:p>
                      <a:pPr algn="ctr">
                        <a:defRPr sz="600">
                          <a:latin typeface="Nexa Book"/>
                        </a:defRPr>
                      </a:pPr>
                      <a:r>
                        <a:rPr sz="600">
                          <a:latin typeface="Nexa Book"/>
                        </a:rPr>
                        <a:t>1'864</a:t>
                      </a:r>
                    </a:p>
                  </a:txBody>
                  <a:tcPr marL="2858" marR="2858" marT="2858" marB="0" anchor="ctr">
                    <a:noFill/>
                  </a:tcPr>
                </a:tc>
                <a:tc>
                  <a:txBody>
                    <a:bodyPr/>
                    <a:lstStyle/>
                    <a:p>
                      <a:pPr algn="ctr">
                        <a:defRPr sz="600">
                          <a:latin typeface="Nexa Book"/>
                        </a:defRPr>
                      </a:pPr>
                      <a:r>
                        <a:rPr sz="600">
                          <a:latin typeface="Nexa Book"/>
                        </a:rPr>
                        <a:t>355%</a:t>
                      </a:r>
                    </a:p>
                  </a:txBody>
                  <a:tcPr marL="2858" marR="2858" marT="2858" marB="0" anchor="ctr">
                    <a:noFill/>
                  </a:tcPr>
                </a:tc>
                <a:tc>
                  <a:txBody>
                    <a:bodyPr/>
                    <a:lstStyle/>
                    <a:p>
                      <a:pPr algn="ctr">
                        <a:defRPr sz="600">
                          <a:latin typeface="Nexa Book"/>
                        </a:defRPr>
                      </a:pPr>
                      <a:r>
                        <a:rPr sz="600">
                          <a:latin typeface="Nexa Book"/>
                        </a:rPr>
                        <a:t>643%</a:t>
                      </a:r>
                    </a:p>
                  </a:txBody>
                  <a:tcPr marL="2858" marR="2858" marT="2858" marB="0" anchor="ctr">
                    <a:noFill/>
                  </a:tcPr>
                </a:tc>
                <a:tc>
                  <a:txBody>
                    <a:bodyPr/>
                    <a:lstStyle/>
                    <a:p>
                      <a:pPr algn="ctr">
                        <a:defRPr sz="600">
                          <a:latin typeface="Nexa Book"/>
                        </a:defRPr>
                      </a:pPr>
                      <a:r>
                        <a:rPr sz="600">
                          <a:latin typeface="Nexa Book"/>
                        </a:rPr>
                        <a:t>1454</a:t>
                      </a:r>
                    </a:p>
                  </a:txBody>
                  <a:tcPr marL="2858" marR="2858" marT="2858" marB="0" anchor="ctr">
                    <a:noFill/>
                  </a:tcPr>
                </a:tc>
                <a:tc>
                  <a:txBody>
                    <a:bodyPr/>
                    <a:lstStyle/>
                    <a:p>
                      <a:pPr algn="ctr">
                        <a:defRPr sz="600">
                          <a:latin typeface="Nexa Book"/>
                        </a:defRPr>
                      </a:pPr>
                      <a:r>
                        <a:rPr sz="600">
                          <a:latin typeface="Nexa Book"/>
                        </a:rPr>
                        <a:t>123%</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 41.55</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320</a:t>
                      </a:r>
                    </a:p>
                  </a:txBody>
                  <a:tcPr marL="2858" marR="2858" marT="2858" marB="0" anchor="ctr">
                    <a:noFill/>
                  </a:tcPr>
                </a:tc>
                <a:tc>
                  <a:txBody>
                    <a:bodyPr/>
                    <a:lstStyle/>
                    <a:p>
                      <a:pPr algn="ctr">
                        <a:defRPr sz="600">
                          <a:latin typeface="Nexa Book"/>
                        </a:defRPr>
                      </a:pPr>
                      <a:r>
                        <a:rPr sz="600">
                          <a:latin typeface="Nexa Book"/>
                        </a:rPr>
                        <a:t>152%</a:t>
                      </a:r>
                    </a:p>
                  </a:txBody>
                  <a:tcPr marL="2858" marR="2858" marT="2858" marB="0" anchor="ctr">
                    <a:noFill/>
                  </a:tcPr>
                </a:tc>
                <a:tc>
                  <a:txBody>
                    <a:bodyPr/>
                    <a:lstStyle/>
                    <a:p>
                      <a:pPr algn="ctr">
                        <a:defRPr sz="600">
                          <a:latin typeface="Nexa Book"/>
                        </a:defRPr>
                      </a:pPr>
                      <a:r>
                        <a:rPr sz="600">
                          <a:latin typeface="Nexa Book"/>
                        </a:rPr>
                        <a:t>267%</a:t>
                      </a:r>
                    </a:p>
                  </a:txBody>
                  <a:tcPr marL="2858" marR="2858" marT="2858" marB="0" anchor="ctr">
                    <a:noFill/>
                  </a:tcPr>
                </a:tc>
                <a:tc>
                  <a:txBody>
                    <a:bodyPr/>
                    <a:lstStyle/>
                    <a:p>
                      <a:pPr algn="ctr">
                        <a:defRPr sz="600">
                          <a:latin typeface="Nexa Book"/>
                        </a:defRPr>
                      </a:pPr>
                      <a:r>
                        <a:rPr sz="600">
                          <a:latin typeface="Nexa Book"/>
                        </a:rPr>
                        <a:t>822</a:t>
                      </a:r>
                    </a:p>
                  </a:txBody>
                  <a:tcPr marL="2858" marR="2858" marT="2858" marB="0" anchor="ctr">
                    <a:noFill/>
                  </a:tcPr>
                </a:tc>
                <a:tc>
                  <a:txBody>
                    <a:bodyPr/>
                    <a:lstStyle/>
                    <a:p>
                      <a:pPr algn="ctr">
                        <a:defRPr sz="600">
                          <a:latin typeface="Nexa Book"/>
                        </a:defRPr>
                      </a:pPr>
                      <a:r>
                        <a:rPr sz="600">
                          <a:latin typeface="Nexa Book"/>
                        </a:rPr>
                        <a:t>137%</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31</a:t>
                      </a:r>
                    </a:p>
                  </a:txBody>
                  <a:tcPr marL="2858" marR="2858" marT="2858" marB="0" anchor="ctr">
                    <a:noFill/>
                  </a:tcPr>
                </a:tc>
                <a:tc>
                  <a:txBody>
                    <a:bodyPr/>
                    <a:lstStyle/>
                    <a:p>
                      <a:pPr algn="ctr">
                        <a:defRPr sz="600">
                          <a:latin typeface="Nexa Book"/>
                        </a:defRPr>
                      </a:pPr>
                      <a:r>
                        <a:rPr sz="600">
                          <a:latin typeface="Nexa Book"/>
                        </a:rPr>
                        <a:t> 25.85</a:t>
                      </a:r>
                    </a:p>
                  </a:txBody>
                  <a:tcPr marL="2858" marR="2858" marT="2858" marB="0" anchor="ctr">
                    <a:noFill/>
                  </a:tcPr>
                </a:tc>
                <a:tc>
                  <a:txBody>
                    <a:bodyPr/>
                    <a:lstStyle/>
                    <a:p>
                      <a:pPr algn="ctr">
                        <a:defRPr sz="600">
                          <a:latin typeface="Nexa Book"/>
                        </a:defRPr>
                      </a:pPr>
                      <a:r>
                        <a:rPr sz="600">
                          <a:latin typeface="Nexa Book"/>
                        </a:rPr>
                        <a:t>336</a:t>
                      </a:r>
                    </a:p>
                  </a:txBody>
                  <a:tcPr marL="2858" marR="2858" marT="2858" marB="0" anchor="ctr">
                    <a:noFill/>
                  </a:tcPr>
                </a:tc>
                <a:tc>
                  <a:txBody>
                    <a:bodyPr/>
                    <a:lstStyle/>
                    <a:p>
                      <a:pPr algn="ctr">
                        <a:defRPr sz="600">
                          <a:latin typeface="Nexa Book"/>
                        </a:defRPr>
                      </a:pPr>
                      <a:r>
                        <a:rPr sz="600">
                          <a:latin typeface="Nexa Book"/>
                        </a:rPr>
                        <a:t>354%</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262</a:t>
                      </a:r>
                    </a:p>
                  </a:txBody>
                  <a:tcPr marL="2858" marR="2858" marT="2858" marB="0" anchor="ctr">
                    <a:noFill/>
                  </a:tcPr>
                </a:tc>
                <a:tc>
                  <a:txBody>
                    <a:bodyPr/>
                    <a:lstStyle/>
                    <a:p>
                      <a:pPr algn="ctr">
                        <a:defRPr sz="600">
                          <a:latin typeface="Nexa Book"/>
                        </a:defRPr>
                      </a:pPr>
                      <a:r>
                        <a:rPr sz="600">
                          <a:latin typeface="Nexa Book"/>
                        </a:rPr>
                        <a:t>771%</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37.13</a:t>
                      </a:r>
                    </a:p>
                  </a:txBody>
                  <a:tcPr marL="2858" marR="2858" marT="2858" marB="0" anchor="ctr">
                    <a:noFill/>
                  </a:tcPr>
                </a:tc>
                <a:tc>
                  <a:txBody>
                    <a:bodyPr/>
                    <a:lstStyle/>
                    <a:p>
                      <a:pPr algn="ctr">
                        <a:defRPr sz="600">
                          <a:latin typeface="Nexa Book"/>
                        </a:defRPr>
                      </a:pPr>
                      <a:r>
                        <a:rPr sz="600">
                          <a:latin typeface="Nexa Book"/>
                        </a:rPr>
                        <a:t> 25.75</a:t>
                      </a:r>
                    </a:p>
                  </a:txBody>
                  <a:tcPr marL="2858" marR="2858" marT="2858" marB="0" anchor="ctr">
                    <a:noFill/>
                  </a:tcPr>
                </a:tc>
                <a:tc>
                  <a:txBody>
                    <a:bodyPr/>
                    <a:lstStyle/>
                    <a:p>
                      <a:pPr algn="ctr">
                        <a:defRPr sz="600">
                          <a:latin typeface="Nexa Book"/>
                        </a:defRPr>
                      </a:pPr>
                      <a:r>
                        <a:rPr sz="600">
                          <a:latin typeface="Nexa Book"/>
                        </a:rPr>
                        <a:t>206</a:t>
                      </a:r>
                    </a:p>
                  </a:txBody>
                  <a:tcPr marL="2858" marR="2858" marT="2858" marB="0" anchor="ctr">
                    <a:noFill/>
                  </a:tcPr>
                </a:tc>
                <a:tc>
                  <a:txBody>
                    <a:bodyPr/>
                    <a:lstStyle/>
                    <a:p>
                      <a:pPr algn="ctr">
                        <a:defRPr sz="600">
                          <a:latin typeface="Nexa Book"/>
                        </a:defRPr>
                      </a:pPr>
                      <a:r>
                        <a:rPr sz="600">
                          <a:latin typeface="Nexa Book"/>
                        </a:rPr>
                        <a:t>228%</a:t>
                      </a:r>
                    </a:p>
                  </a:txBody>
                  <a:tcPr marL="2858" marR="2858" marT="2858" marB="0" anchor="ctr">
                    <a:noFill/>
                  </a:tcPr>
                </a:tc>
                <a:tc>
                  <a:txBody>
                    <a:bodyPr/>
                    <a:lstStyle/>
                    <a:p>
                      <a:pPr algn="ctr">
                        <a:defRPr sz="600">
                          <a:latin typeface="Nexa Book"/>
                        </a:defRPr>
                      </a:pPr>
                      <a:r>
                        <a:rPr sz="600">
                          <a:latin typeface="Nexa Book"/>
                        </a:rPr>
                        <a:t>250%</a:t>
                      </a:r>
                    </a:p>
                  </a:txBody>
                  <a:tcPr marL="2858" marR="2858" marT="2858" marB="0" anchor="ctr">
                    <a:noFill/>
                  </a:tcPr>
                </a:tc>
                <a:tc>
                  <a:txBody>
                    <a:bodyPr/>
                    <a:lstStyle/>
                    <a:p>
                      <a:pPr algn="ctr">
                        <a:defRPr sz="600">
                          <a:latin typeface="Nexa Book"/>
                        </a:defRPr>
                      </a:pPr>
                      <a:r>
                        <a:rPr sz="600">
                          <a:latin typeface="Nexa Book"/>
                        </a:rPr>
                        <a:t>169</a:t>
                      </a:r>
                    </a:p>
                  </a:txBody>
                  <a:tcPr marL="2858" marR="2858" marT="2858" marB="0" anchor="ctr">
                    <a:noFill/>
                  </a:tcPr>
                </a:tc>
                <a:tc>
                  <a:txBody>
                    <a:bodyPr/>
                    <a:lstStyle/>
                    <a:p>
                      <a:pPr algn="ctr">
                        <a:defRPr sz="600">
                          <a:latin typeface="Nexa Book"/>
                        </a:defRPr>
                      </a:pPr>
                      <a:r>
                        <a:rPr sz="600">
                          <a:latin typeface="Nexa Book"/>
                        </a:rPr>
                        <a:t>105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56</a:t>
                      </a:r>
                    </a:p>
                  </a:txBody>
                  <a:tcPr marL="2858" marR="2858" marT="2858" marB="0" anchor="ctr">
                    <a:noFill/>
                  </a:tcPr>
                </a:tc>
                <a:tc>
                  <a:txBody>
                    <a:bodyPr/>
                    <a:lstStyle/>
                    <a:p>
                      <a:pPr algn="ctr">
                        <a:defRPr sz="600">
                          <a:latin typeface="Nexa Book"/>
                        </a:defRPr>
                      </a:pPr>
                      <a:r>
                        <a:rPr sz="600">
                          <a:latin typeface="Nexa Book"/>
                        </a:rPr>
                        <a:t>2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4711992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rut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1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26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Heidsieck &amp; Co Monopo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1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Taitting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5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488499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NICOLA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37.37</a:t>
                      </a:r>
                    </a:p>
                  </a:txBody>
                  <a:tcPr marL="2858" marR="2858" marT="2858" marB="0" anchor="ctr">
                    <a:noFill/>
                  </a:tcPr>
                </a:tc>
                <a:tc>
                  <a:txBody>
                    <a:bodyPr/>
                    <a:lstStyle/>
                    <a:p>
                      <a:pPr algn="ctr">
                        <a:defRPr sz="600">
                          <a:latin typeface="Nexa Book"/>
                        </a:defRPr>
                      </a:pPr>
                      <a:r>
                        <a:rPr sz="600">
                          <a:latin typeface="Nexa Book"/>
                        </a:rPr>
                        <a:t> 26.44</a:t>
                      </a:r>
                    </a:p>
                  </a:txBody>
                  <a:tcPr marL="2858" marR="2858" marT="2858" marB="0" anchor="ctr">
                    <a:noFill/>
                  </a:tcPr>
                </a:tc>
                <a:tc>
                  <a:txBody>
                    <a:bodyPr/>
                    <a:lstStyle/>
                    <a:p>
                      <a:pPr algn="ctr">
                        <a:defRPr sz="600">
                          <a:latin typeface="Nexa Book"/>
                        </a:defRPr>
                      </a:pPr>
                      <a:r>
                        <a:rPr sz="600">
                          <a:latin typeface="Nexa Book"/>
                        </a:rPr>
                        <a:t>122'833</a:t>
                      </a:r>
                    </a:p>
                  </a:txBody>
                  <a:tcPr marL="2858" marR="2858" marT="2858" marB="0" anchor="ctr">
                    <a:noFill/>
                  </a:tcPr>
                </a:tc>
                <a:tc>
                  <a:txBody>
                    <a:bodyPr/>
                    <a:lstStyle/>
                    <a:p>
                      <a:pPr algn="ctr">
                        <a:defRPr sz="600">
                          <a:latin typeface="Nexa Book"/>
                        </a:defRPr>
                      </a:pPr>
                      <a:r>
                        <a:rPr sz="600">
                          <a:latin typeface="Nexa Book"/>
                        </a:rPr>
                        <a:t>746%</a:t>
                      </a:r>
                    </a:p>
                  </a:txBody>
                  <a:tcPr marL="2858" marR="2858" marT="2858" marB="0" anchor="ctr">
                    <a:noFill/>
                  </a:tcPr>
                </a:tc>
                <a:tc>
                  <a:txBody>
                    <a:bodyPr/>
                    <a:lstStyle/>
                    <a:p>
                      <a:pPr algn="ctr">
                        <a:defRPr sz="600">
                          <a:latin typeface="Nexa Book"/>
                        </a:defRPr>
                      </a:pPr>
                      <a:r>
                        <a:rPr sz="600">
                          <a:latin typeface="Nexa Book"/>
                        </a:rPr>
                        <a:t>1040%</a:t>
                      </a:r>
                    </a:p>
                  </a:txBody>
                  <a:tcPr marL="2858" marR="2858" marT="2858" marB="0" anchor="ctr">
                    <a:noFill/>
                  </a:tcPr>
                </a:tc>
                <a:tc>
                  <a:txBody>
                    <a:bodyPr/>
                    <a:lstStyle/>
                    <a:p>
                      <a:pPr algn="ctr">
                        <a:defRPr sz="600">
                          <a:latin typeface="Nexa Book"/>
                        </a:defRPr>
                      </a:pPr>
                      <a:r>
                        <a:rPr sz="600">
                          <a:latin typeface="Nexa Book"/>
                        </a:rPr>
                        <a:t>114045</a:t>
                      </a:r>
                    </a:p>
                  </a:txBody>
                  <a:tcPr marL="2858" marR="2858" marT="2858" marB="0" anchor="ctr">
                    <a:noFill/>
                  </a:tcPr>
                </a:tc>
                <a:tc>
                  <a:txBody>
                    <a:bodyPr/>
                    <a:lstStyle/>
                    <a:p>
                      <a:pPr algn="ctr">
                        <a:defRPr sz="600">
                          <a:latin typeface="Nexa Book"/>
                        </a:defRPr>
                      </a:pPr>
                      <a:r>
                        <a:rPr sz="600">
                          <a:latin typeface="Nexa Book"/>
                        </a:rPr>
                        <a:t>24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41.49</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18'192</a:t>
                      </a:r>
                    </a:p>
                  </a:txBody>
                  <a:tcPr marL="2858" marR="2858" marT="2858" marB="0" anchor="ctr">
                    <a:noFill/>
                  </a:tcPr>
                </a:tc>
                <a:tc>
                  <a:txBody>
                    <a:bodyPr/>
                    <a:lstStyle/>
                    <a:p>
                      <a:pPr algn="ctr">
                        <a:defRPr sz="600">
                          <a:latin typeface="Nexa Book"/>
                        </a:defRPr>
                      </a:pPr>
                      <a:r>
                        <a:rPr sz="600">
                          <a:latin typeface="Nexa Book"/>
                        </a:rPr>
                        <a:t>362%</a:t>
                      </a:r>
                    </a:p>
                  </a:txBody>
                  <a:tcPr marL="2858" marR="2858" marT="2858" marB="0" anchor="ctr">
                    <a:noFill/>
                  </a:tcPr>
                </a:tc>
                <a:tc>
                  <a:txBody>
                    <a:bodyPr/>
                    <a:lstStyle/>
                    <a:p>
                      <a:pPr algn="ctr">
                        <a:defRPr sz="600">
                          <a:latin typeface="Nexa Book"/>
                        </a:defRPr>
                      </a:pPr>
                      <a:r>
                        <a:rPr sz="600">
                          <a:latin typeface="Nexa Book"/>
                        </a:rPr>
                        <a:t>513%</a:t>
                      </a:r>
                    </a:p>
                  </a:txBody>
                  <a:tcPr marL="2858" marR="2858" marT="2858" marB="0" anchor="ctr">
                    <a:noFill/>
                  </a:tcPr>
                </a:tc>
                <a:tc>
                  <a:txBody>
                    <a:bodyPr/>
                    <a:lstStyle/>
                    <a:p>
                      <a:pPr algn="ctr">
                        <a:defRPr sz="600">
                          <a:latin typeface="Nexa Book"/>
                        </a:defRPr>
                      </a:pPr>
                      <a:r>
                        <a:rPr sz="600">
                          <a:latin typeface="Nexa Book"/>
                        </a:rPr>
                        <a:t>14415</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36</a:t>
                      </a:r>
                    </a:p>
                  </a:txBody>
                  <a:tcPr marL="2858" marR="2858" marT="2858" marB="0" anchor="ctr">
                    <a:noFill/>
                  </a:tcPr>
                </a:tc>
                <a:tc>
                  <a:txBody>
                    <a:bodyPr/>
                    <a:lstStyle/>
                    <a:p>
                      <a:pPr algn="ctr">
                        <a:defRPr sz="600">
                          <a:latin typeface="Nexa Book"/>
                        </a:defRPr>
                      </a:pPr>
                      <a:r>
                        <a:rPr sz="600">
                          <a:latin typeface="Nexa Book"/>
                        </a:rPr>
                        <a:t>16'316</a:t>
                      </a:r>
                    </a:p>
                  </a:txBody>
                  <a:tcPr marL="2858" marR="2858" marT="2858" marB="0" anchor="ctr">
                    <a:noFill/>
                  </a:tcPr>
                </a:tc>
                <a:tc>
                  <a:txBody>
                    <a:bodyPr/>
                    <a:lstStyle/>
                    <a:p>
                      <a:pPr algn="ctr">
                        <a:defRPr sz="600">
                          <a:latin typeface="Nexa Book"/>
                        </a:defRPr>
                      </a:pPr>
                      <a:r>
                        <a:rPr sz="600">
                          <a:latin typeface="Nexa Book"/>
                        </a:rPr>
                        <a:t>674%</a:t>
                      </a:r>
                    </a:p>
                  </a:txBody>
                  <a:tcPr marL="2858" marR="2858" marT="2858" marB="0" anchor="ctr">
                    <a:noFill/>
                  </a:tcPr>
                </a:tc>
                <a:tc>
                  <a:txBody>
                    <a:bodyPr/>
                    <a:lstStyle/>
                    <a:p>
                      <a:pPr algn="ctr">
                        <a:defRPr sz="600">
                          <a:latin typeface="Nexa Book"/>
                        </a:defRPr>
                      </a:pPr>
                      <a:r>
                        <a:rPr sz="600">
                          <a:latin typeface="Nexa Book"/>
                        </a:rPr>
                        <a:t>900%</a:t>
                      </a:r>
                    </a:p>
                  </a:txBody>
                  <a:tcPr marL="2858" marR="2858" marT="2858" marB="0" anchor="ctr">
                    <a:noFill/>
                  </a:tcPr>
                </a:tc>
                <a:tc>
                  <a:txBody>
                    <a:bodyPr/>
                    <a:lstStyle/>
                    <a:p>
                      <a:pPr algn="ctr">
                        <a:defRPr sz="600">
                          <a:latin typeface="Nexa Book"/>
                        </a:defRPr>
                      </a:pPr>
                      <a:r>
                        <a:rPr sz="600">
                          <a:latin typeface="Nexa Book"/>
                        </a:rPr>
                        <a:t>14338</a:t>
                      </a:r>
                    </a:p>
                  </a:txBody>
                  <a:tcPr marL="2858" marR="2858" marT="2858" marB="0" anchor="ctr">
                    <a:noFill/>
                  </a:tcPr>
                </a:tc>
                <a:tc>
                  <a:txBody>
                    <a:bodyPr/>
                    <a:lstStyle/>
                    <a:p>
                      <a:pPr algn="ctr">
                        <a:defRPr sz="600">
                          <a:latin typeface="Nexa Book"/>
                        </a:defRPr>
                      </a:pPr>
                      <a:r>
                        <a:rPr sz="600">
                          <a:latin typeface="Nexa Book"/>
                        </a:rPr>
                        <a:t>298%</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 37.16</a:t>
                      </a:r>
                    </a:p>
                  </a:txBody>
                  <a:tcPr marL="2858" marR="2858" marT="2858" marB="0" anchor="ctr">
                    <a:noFill/>
                  </a:tcPr>
                </a:tc>
                <a:tc>
                  <a:txBody>
                    <a:bodyPr/>
                    <a:lstStyle/>
                    <a:p>
                      <a:pPr algn="ctr">
                        <a:defRPr sz="600">
                          <a:latin typeface="Nexa Book"/>
                        </a:defRPr>
                      </a:pPr>
                      <a:r>
                        <a:rPr sz="600">
                          <a:latin typeface="Nexa Book"/>
                        </a:rPr>
                        <a:t> 26.19</a:t>
                      </a:r>
                    </a:p>
                  </a:txBody>
                  <a:tcPr marL="2858" marR="2858" marT="2858" marB="0" anchor="ctr">
                    <a:noFill/>
                  </a:tcPr>
                </a:tc>
                <a:tc>
                  <a:txBody>
                    <a:bodyPr/>
                    <a:lstStyle/>
                    <a:p>
                      <a:pPr algn="ctr">
                        <a:defRPr sz="600">
                          <a:latin typeface="Nexa Book"/>
                        </a:defRPr>
                      </a:pPr>
                      <a:r>
                        <a:rPr sz="600">
                          <a:latin typeface="Nexa Book"/>
                        </a:rPr>
                        <a:t>6'051</a:t>
                      </a:r>
                    </a:p>
                  </a:txBody>
                  <a:tcPr marL="2858" marR="2858" marT="2858" marB="0" anchor="ctr">
                    <a:noFill/>
                  </a:tcPr>
                </a:tc>
                <a:tc>
                  <a:txBody>
                    <a:bodyPr/>
                    <a:lstStyle/>
                    <a:p>
                      <a:pPr algn="ctr">
                        <a:defRPr sz="600">
                          <a:latin typeface="Nexa Book"/>
                        </a:defRPr>
                      </a:pPr>
                      <a:r>
                        <a:rPr sz="600">
                          <a:latin typeface="Nexa Book"/>
                        </a:rPr>
                        <a:t>362%</a:t>
                      </a:r>
                    </a:p>
                  </a:txBody>
                  <a:tcPr marL="2858" marR="2858" marT="2858" marB="0" anchor="ctr">
                    <a:noFill/>
                  </a:tcPr>
                </a:tc>
                <a:tc>
                  <a:txBody>
                    <a:bodyPr/>
                    <a:lstStyle/>
                    <a:p>
                      <a:pPr algn="ctr">
                        <a:defRPr sz="600">
                          <a:latin typeface="Nexa Book"/>
                        </a:defRPr>
                      </a:pPr>
                      <a:r>
                        <a:rPr sz="600">
                          <a:latin typeface="Nexa Book"/>
                        </a:rPr>
                        <a:t>541%</a:t>
                      </a:r>
                    </a:p>
                  </a:txBody>
                  <a:tcPr marL="2858" marR="2858" marT="2858" marB="0" anchor="ctr">
                    <a:noFill/>
                  </a:tcPr>
                </a:tc>
                <a:tc>
                  <a:txBody>
                    <a:bodyPr/>
                    <a:lstStyle/>
                    <a:p>
                      <a:pPr algn="ctr">
                        <a:defRPr sz="600">
                          <a:latin typeface="Nexa Book"/>
                        </a:defRPr>
                      </a:pPr>
                      <a:r>
                        <a:rPr sz="600">
                          <a:latin typeface="Nexa Book"/>
                        </a:rPr>
                        <a:t>4969</a:t>
                      </a:r>
                    </a:p>
                  </a:txBody>
                  <a:tcPr marL="2858" marR="2858" marT="2858" marB="0" anchor="ctr">
                    <a:noFill/>
                  </a:tcPr>
                </a:tc>
                <a:tc>
                  <a:txBody>
                    <a:bodyPr/>
                    <a:lstStyle/>
                    <a:p>
                      <a:pPr algn="ctr">
                        <a:defRPr sz="600">
                          <a:latin typeface="Nexa Book"/>
                        </a:defRPr>
                      </a:pPr>
                      <a:r>
                        <a:rPr sz="600">
                          <a:latin typeface="Nexa Book"/>
                        </a:rPr>
                        <a:t>21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37.17</a:t>
                      </a:r>
                    </a:p>
                  </a:txBody>
                  <a:tcPr marL="2858" marR="2858" marT="2858" marB="0" anchor="ctr">
                    <a:noFill/>
                  </a:tcPr>
                </a:tc>
                <a:tc>
                  <a:txBody>
                    <a:bodyPr/>
                    <a:lstStyle/>
                    <a:p>
                      <a:pPr algn="ctr">
                        <a:defRPr sz="600">
                          <a:latin typeface="Nexa Book"/>
                        </a:defRPr>
                      </a:pPr>
                      <a:r>
                        <a:rPr sz="600">
                          <a:latin typeface="Nexa Book"/>
                        </a:rPr>
                        <a:t> 25.82</a:t>
                      </a:r>
                    </a:p>
                  </a:txBody>
                  <a:tcPr marL="2858" marR="2858" marT="2858" marB="0" anchor="ctr">
                    <a:noFill/>
                  </a:tcPr>
                </a:tc>
                <a:tc>
                  <a:txBody>
                    <a:bodyPr/>
                    <a:lstStyle/>
                    <a:p>
                      <a:pPr algn="ctr">
                        <a:defRPr sz="600">
                          <a:latin typeface="Nexa Book"/>
                        </a:defRPr>
                      </a:pPr>
                      <a:r>
                        <a:rPr sz="600">
                          <a:latin typeface="Nexa Book"/>
                        </a:rPr>
                        <a:t>3'563</a:t>
                      </a:r>
                    </a:p>
                  </a:txBody>
                  <a:tcPr marL="2858" marR="2858" marT="2858" marB="0" anchor="ctr">
                    <a:noFill/>
                  </a:tcPr>
                </a:tc>
                <a:tc>
                  <a:txBody>
                    <a:bodyPr/>
                    <a:lstStyle/>
                    <a:p>
                      <a:pPr algn="ctr">
                        <a:defRPr sz="600">
                          <a:latin typeface="Nexa Book"/>
                        </a:defRPr>
                      </a:pPr>
                      <a:r>
                        <a:rPr sz="600">
                          <a:latin typeface="Nexa Book"/>
                        </a:rPr>
                        <a:t>500%</a:t>
                      </a:r>
                    </a:p>
                  </a:txBody>
                  <a:tcPr marL="2858" marR="2858" marT="2858" marB="0" anchor="ctr">
                    <a:noFill/>
                  </a:tcPr>
                </a:tc>
                <a:tc>
                  <a:txBody>
                    <a:bodyPr/>
                    <a:lstStyle/>
                    <a:p>
                      <a:pPr algn="ctr">
                        <a:defRPr sz="600">
                          <a:latin typeface="Nexa Book"/>
                        </a:defRPr>
                      </a:pPr>
                      <a:r>
                        <a:rPr sz="600">
                          <a:latin typeface="Nexa Book"/>
                        </a:rPr>
                        <a:t>700%</a:t>
                      </a:r>
                    </a:p>
                  </a:txBody>
                  <a:tcPr marL="2858" marR="2858" marT="2858" marB="0" anchor="ctr">
                    <a:noFill/>
                  </a:tcPr>
                </a:tc>
                <a:tc>
                  <a:txBody>
                    <a:bodyPr/>
                    <a:lstStyle/>
                    <a:p>
                      <a:pPr algn="ctr">
                        <a:defRPr sz="600">
                          <a:latin typeface="Nexa Book"/>
                        </a:defRPr>
                      </a:pPr>
                      <a:r>
                        <a:rPr sz="600">
                          <a:latin typeface="Nexa Book"/>
                        </a:rPr>
                        <a:t>2969</a:t>
                      </a:r>
                    </a:p>
                  </a:txBody>
                  <a:tcPr marL="2858" marR="2858" marT="2858" marB="0" anchor="ctr">
                    <a:noFill/>
                  </a:tcPr>
                </a:tc>
                <a:tc>
                  <a:txBody>
                    <a:bodyPr/>
                    <a:lstStyle/>
                    <a:p>
                      <a:pPr algn="ctr">
                        <a:defRPr sz="600">
                          <a:latin typeface="Nexa Book"/>
                        </a:defRPr>
                      </a:pPr>
                      <a:r>
                        <a:rPr sz="600">
                          <a:latin typeface="Nexa Book"/>
                        </a:rPr>
                        <a:t>25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 41.58</a:t>
                      </a:r>
                    </a:p>
                  </a:txBody>
                  <a:tcPr marL="2858" marR="2858" marT="2858" marB="0" anchor="ctr">
                    <a:noFill/>
                  </a:tcPr>
                </a:tc>
                <a:tc>
                  <a:txBody>
                    <a:bodyPr/>
                    <a:lstStyle/>
                    <a:p>
                      <a:pPr algn="ctr">
                        <a:defRPr sz="600">
                          <a:latin typeface="Nexa Book"/>
                        </a:defRPr>
                      </a:pPr>
                      <a:r>
                        <a:rPr sz="600">
                          <a:latin typeface="Nexa Book"/>
                        </a:rPr>
                        <a:t> 30.12</a:t>
                      </a:r>
                    </a:p>
                  </a:txBody>
                  <a:tcPr marL="2858" marR="2858" marT="2858" marB="0" anchor="ctr">
                    <a:noFill/>
                  </a:tcPr>
                </a:tc>
                <a:tc>
                  <a:txBody>
                    <a:bodyPr/>
                    <a:lstStyle/>
                    <a:p>
                      <a:pPr algn="ctr">
                        <a:defRPr sz="600">
                          <a:latin typeface="Nexa Book"/>
                        </a:defRPr>
                      </a:pPr>
                      <a:r>
                        <a:rPr sz="600">
                          <a:latin typeface="Nexa Book"/>
                        </a:rPr>
                        <a:t>2'018</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206%</a:t>
                      </a:r>
                    </a:p>
                  </a:txBody>
                  <a:tcPr marL="2858" marR="2858" marT="2858" marB="0" anchor="ctr">
                    <a:noFill/>
                  </a:tcPr>
                </a:tc>
                <a:tc>
                  <a:txBody>
                    <a:bodyPr/>
                    <a:lstStyle/>
                    <a:p>
                      <a:pPr algn="ctr">
                        <a:defRPr sz="600">
                          <a:latin typeface="Nexa Book"/>
                        </a:defRPr>
                      </a:pPr>
                      <a:r>
                        <a:rPr sz="600">
                          <a:latin typeface="Nexa Book"/>
                        </a:rPr>
                        <a:t>1342</a:t>
                      </a:r>
                    </a:p>
                  </a:txBody>
                  <a:tcPr marL="2858" marR="2858" marT="2858" marB="0" anchor="ctr">
                    <a:noFill/>
                  </a:tcPr>
                </a:tc>
                <a:tc>
                  <a:txBody>
                    <a:bodyPr/>
                    <a:lstStyle/>
                    <a:p>
                      <a:pPr algn="ctr">
                        <a:defRPr sz="600">
                          <a:latin typeface="Nexa Book"/>
                        </a:defRPr>
                      </a:pPr>
                      <a:r>
                        <a:rPr sz="600">
                          <a:latin typeface="Nexa Book"/>
                        </a:rPr>
                        <a:t>232%</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0</a:t>
                      </a:r>
                    </a:p>
                  </a:txBody>
                  <a:tcPr marL="2858" marR="2858" marT="2858" marB="0" anchor="ctr">
                    <a:noFill/>
                  </a:tcPr>
                </a:tc>
                <a:tc>
                  <a:txBody>
                    <a:bodyPr/>
                    <a:lstStyle/>
                    <a:p>
                      <a:pPr algn="ctr">
                        <a:defRPr sz="600">
                          <a:latin typeface="Nexa Book"/>
                        </a:defRPr>
                      </a:pPr>
                      <a:r>
                        <a:rPr sz="600">
                          <a:latin typeface="Nexa Book"/>
                        </a:rPr>
                        <a:t>4'200</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95%</a:t>
                      </a:r>
                    </a:p>
                  </a:txBody>
                  <a:tcPr marL="2858" marR="2858" marT="2858" marB="0" anchor="ctr">
                    <a:noFill/>
                  </a:tcPr>
                </a:tc>
                <a:tc>
                  <a:txBody>
                    <a:bodyPr/>
                    <a:lstStyle/>
                    <a:p>
                      <a:pPr algn="ctr">
                        <a:defRPr sz="600">
                          <a:latin typeface="Nexa Book"/>
                        </a:defRPr>
                      </a:pPr>
                      <a:r>
                        <a:rPr sz="600">
                          <a:latin typeface="Nexa Book"/>
                        </a:rPr>
                        <a:t>1272</a:t>
                      </a:r>
                    </a:p>
                  </a:txBody>
                  <a:tcPr marL="2858" marR="2858" marT="2858" marB="0" anchor="ctr">
                    <a:noFill/>
                  </a:tcPr>
                </a:tc>
                <a:tc>
                  <a:txBody>
                    <a:bodyPr/>
                    <a:lstStyle/>
                    <a:p>
                      <a:pPr algn="ctr">
                        <a:defRPr sz="600">
                          <a:latin typeface="Nexa Book"/>
                        </a:defRPr>
                      </a:pPr>
                      <a:r>
                        <a:rPr sz="600">
                          <a:latin typeface="Nexa Book"/>
                        </a:rPr>
                        <a:t>7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41.7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90</a:t>
                      </a:r>
                    </a:p>
                  </a:txBody>
                  <a:tcPr marL="2858" marR="2858" marT="2858" marB="0" anchor="ctr">
                    <a:noFill/>
                  </a:tcPr>
                </a:tc>
                <a:tc>
                  <a:txBody>
                    <a:bodyPr/>
                    <a:lstStyle/>
                    <a:p>
                      <a:pPr algn="ctr">
                        <a:defRPr sz="600">
                          <a:latin typeface="Nexa Book"/>
                        </a:defRPr>
                      </a:pPr>
                      <a:r>
                        <a:rPr sz="600">
                          <a:latin typeface="Nexa Book"/>
                        </a:rPr>
                        <a:t>18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624</a:t>
                      </a:r>
                    </a:p>
                  </a:txBody>
                  <a:tcPr marL="2858" marR="2858" marT="2858" marB="0" anchor="ctr">
                    <a:noFill/>
                  </a:tcPr>
                </a:tc>
                <a:tc>
                  <a:txBody>
                    <a:bodyPr/>
                    <a:lstStyle/>
                    <a:p>
                      <a:pPr algn="ctr">
                        <a:defRPr sz="600">
                          <a:latin typeface="Nexa Book"/>
                        </a:defRPr>
                      </a:pPr>
                      <a:r>
                        <a:rPr sz="600">
                          <a:latin typeface="Nexa Book"/>
                        </a:rPr>
                        <a:t>634%</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5287736"/>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NICOLAS CCP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7.06</a:t>
                      </a:r>
                    </a:p>
                  </a:txBody>
                  <a:tcPr marL="2858" marR="2858" marT="2858" marB="0" anchor="ctr">
                    <a:noFill/>
                  </a:tcPr>
                </a:tc>
                <a:tc>
                  <a:txBody>
                    <a:bodyPr/>
                    <a:lstStyle/>
                    <a:p>
                      <a:pPr algn="ctr">
                        <a:defRPr sz="600">
                          <a:latin typeface="Nexa Book"/>
                        </a:defRPr>
                      </a:pPr>
                      <a:r>
                        <a:rPr sz="600">
                          <a:latin typeface="Nexa Book"/>
                        </a:rPr>
                        <a:t> 26.46</a:t>
                      </a:r>
                    </a:p>
                  </a:txBody>
                  <a:tcPr marL="2858" marR="2858" marT="2858" marB="0" anchor="ctr">
                    <a:noFill/>
                  </a:tcPr>
                </a:tc>
                <a:tc>
                  <a:txBody>
                    <a:bodyPr/>
                    <a:lstStyle/>
                    <a:p>
                      <a:pPr algn="ctr">
                        <a:defRPr sz="600">
                          <a:latin typeface="Nexa Book"/>
                        </a:defRPr>
                      </a:pPr>
                      <a:r>
                        <a:rPr sz="600">
                          <a:latin typeface="Nexa Book"/>
                        </a:rPr>
                        <a:t>4'790</a:t>
                      </a:r>
                    </a:p>
                  </a:txBody>
                  <a:tcPr marL="2858" marR="2858" marT="2858" marB="0" anchor="ctr">
                    <a:noFill/>
                  </a:tcPr>
                </a:tc>
                <a:tc>
                  <a:txBody>
                    <a:bodyPr/>
                    <a:lstStyle/>
                    <a:p>
                      <a:pPr algn="ctr">
                        <a:defRPr sz="600">
                          <a:latin typeface="Nexa Book"/>
                        </a:defRPr>
                      </a:pPr>
                      <a:r>
                        <a:rPr sz="600">
                          <a:latin typeface="Nexa Book"/>
                        </a:rPr>
                        <a:t>825%</a:t>
                      </a:r>
                    </a:p>
                  </a:txBody>
                  <a:tcPr marL="2858" marR="2858" marT="2858" marB="0" anchor="ctr">
                    <a:noFill/>
                  </a:tcPr>
                </a:tc>
                <a:tc>
                  <a:txBody>
                    <a:bodyPr/>
                    <a:lstStyle/>
                    <a:p>
                      <a:pPr algn="ctr">
                        <a:defRPr sz="600">
                          <a:latin typeface="Nexa Book"/>
                        </a:defRPr>
                      </a:pPr>
                      <a:r>
                        <a:rPr sz="600">
                          <a:latin typeface="Nexa Book"/>
                        </a:rPr>
                        <a:t>1260%</a:t>
                      </a:r>
                    </a:p>
                  </a:txBody>
                  <a:tcPr marL="2858" marR="2858" marT="2858" marB="0" anchor="ctr">
                    <a:noFill/>
                  </a:tcPr>
                </a:tc>
                <a:tc>
                  <a:txBody>
                    <a:bodyPr/>
                    <a:lstStyle/>
                    <a:p>
                      <a:pPr algn="ctr">
                        <a:defRPr sz="600">
                          <a:latin typeface="Nexa Book"/>
                        </a:defRPr>
                      </a:pPr>
                      <a:r>
                        <a:rPr sz="600">
                          <a:latin typeface="Nexa Book"/>
                        </a:rPr>
                        <a:t>4272</a:t>
                      </a:r>
                    </a:p>
                  </a:txBody>
                  <a:tcPr marL="2858" marR="2858" marT="2858" marB="0" anchor="ctr">
                    <a:noFill/>
                  </a:tcPr>
                </a:tc>
                <a:tc>
                  <a:txBody>
                    <a:bodyPr/>
                    <a:lstStyle/>
                    <a:p>
                      <a:pPr algn="ctr">
                        <a:defRPr sz="600">
                          <a:latin typeface="Nexa Book"/>
                        </a:defRPr>
                      </a:pPr>
                      <a:r>
                        <a:rPr sz="600">
                          <a:latin typeface="Nexa Book"/>
                        </a:rPr>
                        <a:t>18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 41.88</a:t>
                      </a:r>
                    </a:p>
                  </a:txBody>
                  <a:tcPr marL="2858" marR="2858" marT="2858" marB="0" anchor="ctr">
                    <a:noFill/>
                  </a:tcPr>
                </a:tc>
                <a:tc>
                  <a:txBody>
                    <a:bodyPr/>
                    <a:lstStyle/>
                    <a:p>
                      <a:pPr algn="ctr">
                        <a:defRPr sz="600">
                          <a:latin typeface="Nexa Book"/>
                        </a:defRPr>
                      </a:pPr>
                      <a:r>
                        <a:rPr sz="600">
                          <a:latin typeface="Nexa Book"/>
                        </a:rPr>
                        <a:t> 29.94</a:t>
                      </a:r>
                    </a:p>
                  </a:txBody>
                  <a:tcPr marL="2858" marR="2858" marT="2858" marB="0" anchor="ctr">
                    <a:noFill/>
                  </a:tcPr>
                </a:tc>
                <a:tc>
                  <a:txBody>
                    <a:bodyPr/>
                    <a:lstStyle/>
                    <a:p>
                      <a:pPr algn="ctr">
                        <a:defRPr sz="600">
                          <a:latin typeface="Nexa Book"/>
                        </a:defRPr>
                      </a:pPr>
                      <a:r>
                        <a:rPr sz="600">
                          <a:latin typeface="Nexa Book"/>
                        </a:rPr>
                        <a:t>958</a:t>
                      </a:r>
                    </a:p>
                  </a:txBody>
                  <a:tcPr marL="2858" marR="2858" marT="2858" marB="0" anchor="ctr">
                    <a:noFill/>
                  </a:tcPr>
                </a:tc>
                <a:tc>
                  <a:txBody>
                    <a:bodyPr/>
                    <a:lstStyle/>
                    <a:p>
                      <a:pPr algn="ctr">
                        <a:defRPr sz="600">
                          <a:latin typeface="Nexa Book"/>
                        </a:defRPr>
                      </a:pPr>
                      <a:r>
                        <a:rPr sz="600">
                          <a:latin typeface="Nexa Book"/>
                        </a:rPr>
                        <a:t>280%</a:t>
                      </a:r>
                    </a:p>
                  </a:txBody>
                  <a:tcPr marL="2858" marR="2858" marT="2858" marB="0" anchor="ctr">
                    <a:noFill/>
                  </a:tcPr>
                </a:tc>
                <a:tc>
                  <a:txBody>
                    <a:bodyPr/>
                    <a:lstStyle/>
                    <a:p>
                      <a:pPr algn="ctr">
                        <a:defRPr sz="600">
                          <a:latin typeface="Nexa Book"/>
                        </a:defRPr>
                      </a:pPr>
                      <a:r>
                        <a:rPr sz="600">
                          <a:latin typeface="Nexa Book"/>
                        </a:rPr>
                        <a:t>700%</a:t>
                      </a:r>
                    </a:p>
                  </a:txBody>
                  <a:tcPr marL="2858" marR="2858" marT="2858" marB="0" anchor="ctr">
                    <a:noFill/>
                  </a:tcPr>
                </a:tc>
                <a:tc>
                  <a:txBody>
                    <a:bodyPr/>
                    <a:lstStyle/>
                    <a:p>
                      <a:pPr algn="ctr">
                        <a:defRPr sz="600">
                          <a:latin typeface="Nexa Book"/>
                        </a:defRPr>
                      </a:pPr>
                      <a:r>
                        <a:rPr sz="600">
                          <a:latin typeface="Nexa Book"/>
                        </a:rPr>
                        <a:t>706</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 37.03</a:t>
                      </a:r>
                    </a:p>
                  </a:txBody>
                  <a:tcPr marL="2858" marR="2858" marT="2858" marB="0" anchor="ctr">
                    <a:noFill/>
                  </a:tcPr>
                </a:tc>
                <a:tc>
                  <a:txBody>
                    <a:bodyPr/>
                    <a:lstStyle/>
                    <a:p>
                      <a:pPr algn="ctr">
                        <a:defRPr sz="600">
                          <a:latin typeface="Nexa Book"/>
                        </a:defRPr>
                      </a:pPr>
                      <a:r>
                        <a:rPr sz="600">
                          <a:latin typeface="Nexa Book"/>
                        </a:rPr>
                        <a:t> 25.89</a:t>
                      </a:r>
                    </a:p>
                  </a:txBody>
                  <a:tcPr marL="2858" marR="2858" marT="2858" marB="0" anchor="ctr">
                    <a:noFill/>
                  </a:tcPr>
                </a:tc>
                <a:tc>
                  <a:txBody>
                    <a:bodyPr/>
                    <a:lstStyle/>
                    <a:p>
                      <a:pPr algn="ctr">
                        <a:defRPr sz="600">
                          <a:latin typeface="Nexa Book"/>
                        </a:defRPr>
                      </a:pPr>
                      <a:r>
                        <a:rPr sz="600">
                          <a:latin typeface="Nexa Book"/>
                        </a:rPr>
                        <a:t>233</a:t>
                      </a:r>
                    </a:p>
                  </a:txBody>
                  <a:tcPr marL="2858" marR="2858" marT="2858" marB="0" anchor="ctr">
                    <a:noFill/>
                  </a:tcPr>
                </a:tc>
                <a:tc>
                  <a:txBody>
                    <a:bodyPr/>
                    <a:lstStyle/>
                    <a:p>
                      <a:pPr algn="ctr">
                        <a:defRPr sz="600">
                          <a:latin typeface="Nexa Book"/>
                        </a:defRPr>
                      </a:pPr>
                      <a:r>
                        <a:rPr sz="600">
                          <a:latin typeface="Nexa Book"/>
                        </a:rPr>
                        <a:t>513%</a:t>
                      </a:r>
                    </a:p>
                  </a:txBody>
                  <a:tcPr marL="2858" marR="2858" marT="2858" marB="0" anchor="ctr">
                    <a:noFill/>
                  </a:tcPr>
                </a:tc>
                <a:tc>
                  <a:txBody>
                    <a:bodyPr/>
                    <a:lstStyle/>
                    <a:p>
                      <a:pPr algn="ctr">
                        <a:defRPr sz="600">
                          <a:latin typeface="Nexa Book"/>
                        </a:defRPr>
                      </a:pPr>
                      <a:r>
                        <a:rPr sz="600">
                          <a:latin typeface="Nexa Book"/>
                        </a:rPr>
                        <a:t>600%</a:t>
                      </a:r>
                    </a:p>
                  </a:txBody>
                  <a:tcPr marL="2858" marR="2858" marT="2858" marB="0" anchor="ctr">
                    <a:noFill/>
                  </a:tcPr>
                </a:tc>
                <a:tc>
                  <a:txBody>
                    <a:bodyPr/>
                    <a:lstStyle/>
                    <a:p>
                      <a:pPr algn="ctr">
                        <a:defRPr sz="600">
                          <a:latin typeface="Nexa Book"/>
                        </a:defRPr>
                      </a:pPr>
                      <a:r>
                        <a:rPr sz="600">
                          <a:latin typeface="Nexa Book"/>
                        </a:rPr>
                        <a:t>195</a:t>
                      </a:r>
                    </a:p>
                  </a:txBody>
                  <a:tcPr marL="2858" marR="2858" marT="2858" marB="0" anchor="ctr">
                    <a:noFill/>
                  </a:tcPr>
                </a:tc>
                <a:tc>
                  <a:txBody>
                    <a:bodyPr/>
                    <a:lstStyle/>
                    <a:p>
                      <a:pPr algn="ctr">
                        <a:defRPr sz="600">
                          <a:latin typeface="Nexa Book"/>
                        </a:defRPr>
                      </a:pPr>
                      <a:r>
                        <a:rPr sz="600">
                          <a:latin typeface="Nexa Book"/>
                        </a:rPr>
                        <a:t>591%</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37.16</a:t>
                      </a:r>
                    </a:p>
                  </a:txBody>
                  <a:tcPr marL="2858" marR="2858" marT="2858" marB="0" anchor="ctr">
                    <a:noFill/>
                  </a:tcPr>
                </a:tc>
                <a:tc>
                  <a:txBody>
                    <a:bodyPr/>
                    <a:lstStyle/>
                    <a:p>
                      <a:pPr algn="ctr">
                        <a:defRPr sz="600">
                          <a:latin typeface="Nexa Book"/>
                        </a:defRPr>
                      </a:pPr>
                      <a:r>
                        <a:rPr sz="600">
                          <a:latin typeface="Nexa Book"/>
                        </a:rPr>
                        <a:t> 26.55</a:t>
                      </a:r>
                    </a:p>
                  </a:txBody>
                  <a:tcPr marL="2858" marR="2858" marT="2858" marB="0" anchor="ctr">
                    <a:noFill/>
                  </a:tcPr>
                </a:tc>
                <a:tc>
                  <a:txBody>
                    <a:bodyPr/>
                    <a:lstStyle/>
                    <a:p>
                      <a:pPr algn="ctr">
                        <a:defRPr sz="600">
                          <a:latin typeface="Nexa Book"/>
                        </a:defRPr>
                      </a:pPr>
                      <a:r>
                        <a:rPr sz="600">
                          <a:latin typeface="Nexa Book"/>
                        </a:rPr>
                        <a:t>292</a:t>
                      </a:r>
                    </a:p>
                  </a:txBody>
                  <a:tcPr marL="2858" marR="2858" marT="2858" marB="0" anchor="ctr">
                    <a:noFill/>
                  </a:tcPr>
                </a:tc>
                <a:tc>
                  <a:txBody>
                    <a:bodyPr/>
                    <a:lstStyle/>
                    <a:p>
                      <a:pPr algn="ctr">
                        <a:defRPr sz="600">
                          <a:latin typeface="Nexa Book"/>
                        </a:defRPr>
                      </a:pPr>
                      <a:r>
                        <a:rPr sz="600">
                          <a:latin typeface="Nexa Book"/>
                        </a:rPr>
                        <a:t>119%</a:t>
                      </a:r>
                    </a:p>
                  </a:txBody>
                  <a:tcPr marL="2858" marR="2858" marT="2858" marB="0" anchor="ctr">
                    <a:noFill/>
                  </a:tcPr>
                </a:tc>
                <a:tc>
                  <a:txBody>
                    <a:bodyPr/>
                    <a:lstStyle/>
                    <a:p>
                      <a:pPr algn="ctr">
                        <a:defRPr sz="600">
                          <a:latin typeface="Nexa Book"/>
                        </a:defRPr>
                      </a:pPr>
                      <a:r>
                        <a:rPr sz="600">
                          <a:latin typeface="Nexa Book"/>
                        </a:rPr>
                        <a:t>233%</a:t>
                      </a:r>
                    </a:p>
                  </a:txBody>
                  <a:tcPr marL="2858" marR="2858" marT="2858" marB="0" anchor="ctr">
                    <a:noFill/>
                  </a:tcPr>
                </a:tc>
                <a:tc>
                  <a:txBody>
                    <a:bodyPr/>
                    <a:lstStyle/>
                    <a:p>
                      <a:pPr algn="ctr">
                        <a:defRPr sz="600">
                          <a:latin typeface="Nexa Book"/>
                        </a:defRPr>
                      </a:pPr>
                      <a:r>
                        <a:rPr sz="600">
                          <a:latin typeface="Nexa Book"/>
                        </a:rPr>
                        <a:t>179</a:t>
                      </a:r>
                    </a:p>
                  </a:txBody>
                  <a:tcPr marL="2858" marR="2858" marT="2858" marB="0" anchor="ctr">
                    <a:noFill/>
                  </a:tcPr>
                </a:tc>
                <a:tc>
                  <a:txBody>
                    <a:bodyPr/>
                    <a:lstStyle/>
                    <a:p>
                      <a:pPr algn="ctr">
                        <a:defRPr sz="600">
                          <a:latin typeface="Nexa Book"/>
                        </a:defRPr>
                      </a:pPr>
                      <a:r>
                        <a:rPr sz="600">
                          <a:latin typeface="Nexa Book"/>
                        </a:rPr>
                        <a:t>11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99008874"/>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 37.01</a:t>
                      </a:r>
                    </a:p>
                  </a:txBody>
                  <a:tcPr marL="2858" marR="2858" marT="2858" marB="0" anchor="ctr">
                    <a:noFill/>
                  </a:tcPr>
                </a:tc>
                <a:tc>
                  <a:txBody>
                    <a:bodyPr/>
                    <a:lstStyle/>
                    <a:p>
                      <a:pPr algn="ctr">
                        <a:defRPr sz="600">
                          <a:latin typeface="Nexa Book"/>
                        </a:defRPr>
                      </a:pPr>
                      <a:r>
                        <a:rPr sz="600">
                          <a:latin typeface="Nexa Book"/>
                        </a:rPr>
                        <a:t> 26.39</a:t>
                      </a:r>
                    </a:p>
                  </a:txBody>
                  <a:tcPr marL="2858" marR="2858" marT="2858" marB="0" anchor="ctr">
                    <a:noFill/>
                  </a:tcPr>
                </a:tc>
                <a:tc>
                  <a:txBody>
                    <a:bodyPr/>
                    <a:lstStyle/>
                    <a:p>
                      <a:pPr algn="ctr">
                        <a:defRPr sz="600">
                          <a:latin typeface="Nexa Book"/>
                        </a:defRPr>
                      </a:pPr>
                      <a:r>
                        <a:rPr sz="600">
                          <a:latin typeface="Nexa Book"/>
                        </a:rPr>
                        <a:t>83'863</a:t>
                      </a:r>
                    </a:p>
                  </a:txBody>
                  <a:tcPr marL="2858" marR="2858" marT="2858" marB="0" anchor="ctr">
                    <a:noFill/>
                  </a:tcPr>
                </a:tc>
                <a:tc>
                  <a:txBody>
                    <a:bodyPr/>
                    <a:lstStyle/>
                    <a:p>
                      <a:pPr algn="ctr">
                        <a:defRPr sz="600">
                          <a:latin typeface="Nexa Book"/>
                        </a:defRPr>
                      </a:pPr>
                      <a:r>
                        <a:rPr sz="600">
                          <a:latin typeface="Nexa Book"/>
                        </a:rPr>
                        <a:t>795%</a:t>
                      </a:r>
                    </a:p>
                  </a:txBody>
                  <a:tcPr marL="2858" marR="2858" marT="2858" marB="0" anchor="ctr">
                    <a:noFill/>
                  </a:tcPr>
                </a:tc>
                <a:tc>
                  <a:txBody>
                    <a:bodyPr/>
                    <a:lstStyle/>
                    <a:p>
                      <a:pPr algn="ctr">
                        <a:defRPr sz="600">
                          <a:latin typeface="Nexa Book"/>
                        </a:defRPr>
                      </a:pPr>
                      <a:r>
                        <a:rPr sz="600">
                          <a:latin typeface="Nexa Book"/>
                        </a:rPr>
                        <a:t>1150%</a:t>
                      </a:r>
                    </a:p>
                  </a:txBody>
                  <a:tcPr marL="2858" marR="2858" marT="2858" marB="0" anchor="ctr">
                    <a:noFill/>
                  </a:tcPr>
                </a:tc>
                <a:tc>
                  <a:txBody>
                    <a:bodyPr/>
                    <a:lstStyle/>
                    <a:p>
                      <a:pPr algn="ctr">
                        <a:defRPr sz="600">
                          <a:latin typeface="Nexa Book"/>
                        </a:defRPr>
                      </a:pPr>
                      <a:r>
                        <a:rPr sz="600">
                          <a:latin typeface="Nexa Book"/>
                        </a:rPr>
                        <a:t>77424</a:t>
                      </a:r>
                    </a:p>
                  </a:txBody>
                  <a:tcPr marL="2858" marR="2858" marT="2858" marB="0" anchor="ctr">
                    <a:noFill/>
                  </a:tcPr>
                </a:tc>
                <a:tc>
                  <a:txBody>
                    <a:bodyPr/>
                    <a:lstStyle/>
                    <a:p>
                      <a:pPr algn="ctr">
                        <a:defRPr sz="600">
                          <a:latin typeface="Nexa Book"/>
                        </a:defRPr>
                      </a:pPr>
                      <a:r>
                        <a:rPr sz="600">
                          <a:latin typeface="Nexa Book"/>
                        </a:rPr>
                        <a:t>225%</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41.31</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12'229</a:t>
                      </a:r>
                    </a:p>
                  </a:txBody>
                  <a:tcPr marL="2858" marR="2858" marT="2858" marB="0" anchor="ctr">
                    <a:noFill/>
                  </a:tcPr>
                </a:tc>
                <a:tc>
                  <a:txBody>
                    <a:bodyPr/>
                    <a:lstStyle/>
                    <a:p>
                      <a:pPr algn="ctr">
                        <a:defRPr sz="600">
                          <a:latin typeface="Nexa Book"/>
                        </a:defRPr>
                      </a:pPr>
                      <a:r>
                        <a:rPr sz="600">
                          <a:latin typeface="Nexa Book"/>
                        </a:rPr>
                        <a:t>512%</a:t>
                      </a:r>
                    </a:p>
                  </a:txBody>
                  <a:tcPr marL="2858" marR="2858" marT="2858" marB="0" anchor="ctr">
                    <a:noFill/>
                  </a:tcPr>
                </a:tc>
                <a:tc>
                  <a:txBody>
                    <a:bodyPr/>
                    <a:lstStyle/>
                    <a:p>
                      <a:pPr algn="ctr">
                        <a:defRPr sz="600">
                          <a:latin typeface="Nexa Book"/>
                        </a:defRPr>
                      </a:pPr>
                      <a:r>
                        <a:rPr sz="600">
                          <a:latin typeface="Nexa Book"/>
                        </a:rPr>
                        <a:t>732%</a:t>
                      </a:r>
                    </a:p>
                  </a:txBody>
                  <a:tcPr marL="2858" marR="2858" marT="2858" marB="0" anchor="ctr">
                    <a:noFill/>
                  </a:tcPr>
                </a:tc>
                <a:tc>
                  <a:txBody>
                    <a:bodyPr/>
                    <a:lstStyle/>
                    <a:p>
                      <a:pPr algn="ctr">
                        <a:defRPr sz="600">
                          <a:latin typeface="Nexa Book"/>
                        </a:defRPr>
                      </a:pPr>
                      <a:r>
                        <a:rPr sz="600">
                          <a:latin typeface="Nexa Book"/>
                        </a:rPr>
                        <a:t>10370</a:t>
                      </a:r>
                    </a:p>
                  </a:txBody>
                  <a:tcPr marL="2858" marR="2858" marT="2858" marB="0" anchor="ctr">
                    <a:noFill/>
                  </a:tcPr>
                </a:tc>
                <a:tc>
                  <a:txBody>
                    <a:bodyPr/>
                    <a:lstStyle/>
                    <a:p>
                      <a:pPr algn="ctr">
                        <a:defRPr sz="600">
                          <a:latin typeface="Nexa Book"/>
                        </a:defRPr>
                      </a:pPr>
                      <a:r>
                        <a:rPr sz="600">
                          <a:latin typeface="Nexa Book"/>
                        </a:rPr>
                        <a:t>233%</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05</a:t>
                      </a:r>
                    </a:p>
                  </a:txBody>
                  <a:tcPr marL="2858" marR="2858" marT="2858" marB="0" anchor="ctr">
                    <a:noFill/>
                  </a:tcPr>
                </a:tc>
                <a:tc>
                  <a:txBody>
                    <a:bodyPr/>
                    <a:lstStyle/>
                    <a:p>
                      <a:pPr algn="ctr">
                        <a:defRPr sz="600">
                          <a:latin typeface="Nexa Book"/>
                        </a:defRPr>
                      </a:pPr>
                      <a:r>
                        <a:rPr sz="600">
                          <a:latin typeface="Nexa Book"/>
                        </a:rPr>
                        <a:t> 26.32</a:t>
                      </a:r>
                    </a:p>
                  </a:txBody>
                  <a:tcPr marL="2858" marR="2858" marT="2858" marB="0" anchor="ctr">
                    <a:noFill/>
                  </a:tcPr>
                </a:tc>
                <a:tc>
                  <a:txBody>
                    <a:bodyPr/>
                    <a:lstStyle/>
                    <a:p>
                      <a:pPr algn="ctr">
                        <a:defRPr sz="600">
                          <a:latin typeface="Nexa Book"/>
                        </a:defRPr>
                      </a:pPr>
                      <a:r>
                        <a:rPr sz="600">
                          <a:latin typeface="Nexa Book"/>
                        </a:rPr>
                        <a:t>9'634</a:t>
                      </a:r>
                    </a:p>
                  </a:txBody>
                  <a:tcPr marL="2858" marR="2858" marT="2858" marB="0" anchor="ctr">
                    <a:noFill/>
                  </a:tcPr>
                </a:tc>
                <a:tc>
                  <a:txBody>
                    <a:bodyPr/>
                    <a:lstStyle/>
                    <a:p>
                      <a:pPr algn="ctr">
                        <a:defRPr sz="600">
                          <a:latin typeface="Nexa Book"/>
                        </a:defRPr>
                      </a:pPr>
                      <a:r>
                        <a:rPr sz="600">
                          <a:latin typeface="Nexa Book"/>
                        </a:rPr>
                        <a:t>701%</a:t>
                      </a:r>
                    </a:p>
                  </a:txBody>
                  <a:tcPr marL="2858" marR="2858" marT="2858" marB="0" anchor="ctr">
                    <a:noFill/>
                  </a:tcPr>
                </a:tc>
                <a:tc>
                  <a:txBody>
                    <a:bodyPr/>
                    <a:lstStyle/>
                    <a:p>
                      <a:pPr algn="ctr">
                        <a:defRPr sz="600">
                          <a:latin typeface="Nexa Book"/>
                        </a:defRPr>
                      </a:pPr>
                      <a:r>
                        <a:rPr sz="600">
                          <a:latin typeface="Nexa Book"/>
                        </a:rPr>
                        <a:t>973%</a:t>
                      </a:r>
                    </a:p>
                  </a:txBody>
                  <a:tcPr marL="2858" marR="2858" marT="2858" marB="0" anchor="ctr">
                    <a:noFill/>
                  </a:tcPr>
                </a:tc>
                <a:tc>
                  <a:txBody>
                    <a:bodyPr/>
                    <a:lstStyle/>
                    <a:p>
                      <a:pPr algn="ctr">
                        <a:defRPr sz="600">
                          <a:latin typeface="Nexa Book"/>
                        </a:defRPr>
                      </a:pPr>
                      <a:r>
                        <a:rPr sz="600">
                          <a:latin typeface="Nexa Book"/>
                        </a:rPr>
                        <a:t>8594</a:t>
                      </a:r>
                    </a:p>
                  </a:txBody>
                  <a:tcPr marL="2858" marR="2858" marT="2858" marB="0" anchor="ctr">
                    <a:noFill/>
                  </a:tcPr>
                </a:tc>
                <a:tc>
                  <a:txBody>
                    <a:bodyPr/>
                    <a:lstStyle/>
                    <a:p>
                      <a:pPr algn="ctr">
                        <a:defRPr sz="600">
                          <a:latin typeface="Nexa Book"/>
                        </a:defRPr>
                      </a:pPr>
                      <a:r>
                        <a:rPr sz="600">
                          <a:latin typeface="Nexa Book"/>
                        </a:rPr>
                        <a:t>258%</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05</a:t>
                      </a:r>
                    </a:p>
                  </a:txBody>
                  <a:tcPr marL="2858" marR="2858" marT="2858" marB="0" anchor="ctr">
                    <a:noFill/>
                  </a:tcPr>
                </a:tc>
                <a:tc>
                  <a:txBody>
                    <a:bodyPr/>
                    <a:lstStyle/>
                    <a:p>
                      <a:pPr algn="ctr">
                        <a:defRPr sz="600">
                          <a:latin typeface="Nexa Book"/>
                        </a:defRPr>
                      </a:pPr>
                      <a:r>
                        <a:rPr sz="600">
                          <a:latin typeface="Nexa Book"/>
                        </a:rPr>
                        <a:t> 26.18</a:t>
                      </a:r>
                    </a:p>
                  </a:txBody>
                  <a:tcPr marL="2858" marR="2858" marT="2858" marB="0" anchor="ctr">
                    <a:noFill/>
                  </a:tcPr>
                </a:tc>
                <a:tc>
                  <a:txBody>
                    <a:bodyPr/>
                    <a:lstStyle/>
                    <a:p>
                      <a:pPr algn="ctr">
                        <a:defRPr sz="600">
                          <a:latin typeface="Nexa Book"/>
                        </a:defRPr>
                      </a:pPr>
                      <a:r>
                        <a:rPr sz="600">
                          <a:latin typeface="Nexa Book"/>
                        </a:rPr>
                        <a:t>4'764</a:t>
                      </a:r>
                    </a:p>
                  </a:txBody>
                  <a:tcPr marL="2858" marR="2858" marT="2858" marB="0" anchor="ctr">
                    <a:noFill/>
                  </a:tcPr>
                </a:tc>
                <a:tc>
                  <a:txBody>
                    <a:bodyPr/>
                    <a:lstStyle/>
                    <a:p>
                      <a:pPr algn="ctr">
                        <a:defRPr sz="600">
                          <a:latin typeface="Nexa Book"/>
                        </a:defRPr>
                      </a:pPr>
                      <a:r>
                        <a:rPr sz="600">
                          <a:latin typeface="Nexa Book"/>
                        </a:rPr>
                        <a:t>539%</a:t>
                      </a:r>
                    </a:p>
                  </a:txBody>
                  <a:tcPr marL="2858" marR="2858" marT="2858" marB="0" anchor="ctr">
                    <a:noFill/>
                  </a:tcPr>
                </a:tc>
                <a:tc>
                  <a:txBody>
                    <a:bodyPr/>
                    <a:lstStyle/>
                    <a:p>
                      <a:pPr algn="ctr">
                        <a:defRPr sz="600">
                          <a:latin typeface="Nexa Book"/>
                        </a:defRPr>
                      </a:pPr>
                      <a:r>
                        <a:rPr sz="600">
                          <a:latin typeface="Nexa Book"/>
                        </a:rPr>
                        <a:t>833%</a:t>
                      </a:r>
                    </a:p>
                  </a:txBody>
                  <a:tcPr marL="2858" marR="2858" marT="2858" marB="0" anchor="ctr">
                    <a:noFill/>
                  </a:tcPr>
                </a:tc>
                <a:tc>
                  <a:txBody>
                    <a:bodyPr/>
                    <a:lstStyle/>
                    <a:p>
                      <a:pPr algn="ctr">
                        <a:defRPr sz="600">
                          <a:latin typeface="Nexa Book"/>
                        </a:defRPr>
                      </a:pPr>
                      <a:r>
                        <a:rPr sz="600">
                          <a:latin typeface="Nexa Book"/>
                        </a:rPr>
                        <a:t>4171</a:t>
                      </a:r>
                    </a:p>
                  </a:txBody>
                  <a:tcPr marL="2858" marR="2858" marT="2858" marB="0" anchor="ctr">
                    <a:noFill/>
                  </a:tcPr>
                </a:tc>
                <a:tc>
                  <a:txBody>
                    <a:bodyPr/>
                    <a:lstStyle/>
                    <a:p>
                      <a:pPr algn="ctr">
                        <a:defRPr sz="600">
                          <a:latin typeface="Nexa Book"/>
                        </a:defRPr>
                      </a:pPr>
                      <a:r>
                        <a:rPr sz="600">
                          <a:latin typeface="Nexa Book"/>
                        </a:rPr>
                        <a:t>182%</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5.82</a:t>
                      </a:r>
                    </a:p>
                  </a:txBody>
                  <a:tcPr marL="2858" marR="2858" marT="2858" marB="0" anchor="ctr">
                    <a:noFill/>
                  </a:tcPr>
                </a:tc>
                <a:tc>
                  <a:txBody>
                    <a:bodyPr/>
                    <a:lstStyle/>
                    <a:p>
                      <a:pPr algn="ctr">
                        <a:defRPr sz="600">
                          <a:latin typeface="Nexa Book"/>
                        </a:defRPr>
                      </a:pPr>
                      <a:r>
                        <a:rPr sz="600">
                          <a:latin typeface="Nexa Book"/>
                        </a:rPr>
                        <a:t>2'479</a:t>
                      </a:r>
                    </a:p>
                  </a:txBody>
                  <a:tcPr marL="2858" marR="2858" marT="2858" marB="0" anchor="ctr">
                    <a:noFill/>
                  </a:tcPr>
                </a:tc>
                <a:tc>
                  <a:txBody>
                    <a:bodyPr/>
                    <a:lstStyle/>
                    <a:p>
                      <a:pPr algn="ctr">
                        <a:defRPr sz="600">
                          <a:latin typeface="Nexa Book"/>
                        </a:defRPr>
                      </a:pPr>
                      <a:r>
                        <a:rPr sz="600">
                          <a:latin typeface="Nexa Book"/>
                        </a:rPr>
                        <a:t>1017%</a:t>
                      </a:r>
                    </a:p>
                  </a:txBody>
                  <a:tcPr marL="2858" marR="2858" marT="2858" marB="0" anchor="ctr">
                    <a:noFill/>
                  </a:tcPr>
                </a:tc>
                <a:tc>
                  <a:txBody>
                    <a:bodyPr/>
                    <a:lstStyle/>
                    <a:p>
                      <a:pPr algn="ctr">
                        <a:defRPr sz="600">
                          <a:latin typeface="Nexa Book"/>
                        </a:defRPr>
                      </a:pPr>
                      <a:r>
                        <a:rPr sz="600">
                          <a:latin typeface="Nexa Book"/>
                        </a:rPr>
                        <a:t>1700%</a:t>
                      </a:r>
                    </a:p>
                  </a:txBody>
                  <a:tcPr marL="2858" marR="2858" marT="2858" marB="0" anchor="ctr">
                    <a:noFill/>
                  </a:tcPr>
                </a:tc>
                <a:tc>
                  <a:txBody>
                    <a:bodyPr/>
                    <a:lstStyle/>
                    <a:p>
                      <a:pPr algn="ctr">
                        <a:defRPr sz="600">
                          <a:latin typeface="Nexa Book"/>
                        </a:defRPr>
                      </a:pPr>
                      <a:r>
                        <a:rPr sz="600">
                          <a:latin typeface="Nexa Book"/>
                        </a:rPr>
                        <a:t>225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30.15</a:t>
                      </a:r>
                    </a:p>
                  </a:txBody>
                  <a:tcPr marL="2858" marR="2858" marT="2858" marB="0" anchor="ctr">
                    <a:noFill/>
                  </a:tcPr>
                </a:tc>
                <a:tc>
                  <a:txBody>
                    <a:bodyPr/>
                    <a:lstStyle/>
                    <a:p>
                      <a:pPr algn="ctr">
                        <a:defRPr sz="600">
                          <a:latin typeface="Nexa Book"/>
                        </a:defRPr>
                      </a:pPr>
                      <a:r>
                        <a:rPr sz="600">
                          <a:latin typeface="Nexa Book"/>
                        </a:rPr>
                        <a:t>1'628</a:t>
                      </a:r>
                    </a:p>
                  </a:txBody>
                  <a:tcPr marL="2858" marR="2858" marT="2858" marB="0" anchor="ctr">
                    <a:noFill/>
                  </a:tcPr>
                </a:tc>
                <a:tc>
                  <a:txBody>
                    <a:bodyPr/>
                    <a:lstStyle/>
                    <a:p>
                      <a:pPr algn="ctr">
                        <a:defRPr sz="600">
                          <a:latin typeface="Nexa Book"/>
                        </a:defRPr>
                      </a:pPr>
                      <a:r>
                        <a:rPr sz="600">
                          <a:latin typeface="Nexa Book"/>
                        </a:rPr>
                        <a:t>540%</a:t>
                      </a:r>
                    </a:p>
                  </a:txBody>
                  <a:tcPr marL="2858" marR="2858" marT="2858" marB="0" anchor="ctr">
                    <a:noFill/>
                  </a:tcPr>
                </a:tc>
                <a:tc>
                  <a:txBody>
                    <a:bodyPr/>
                    <a:lstStyle/>
                    <a:p>
                      <a:pPr algn="ctr">
                        <a:defRPr sz="600">
                          <a:latin typeface="Nexa Book"/>
                        </a:defRPr>
                      </a:pPr>
                      <a:r>
                        <a:rPr sz="600">
                          <a:latin typeface="Nexa Book"/>
                        </a:rPr>
                        <a:t>717%</a:t>
                      </a:r>
                    </a:p>
                  </a:txBody>
                  <a:tcPr marL="2858" marR="2858" marT="2858" marB="0" anchor="ctr">
                    <a:noFill/>
                  </a:tcPr>
                </a:tc>
                <a:tc>
                  <a:txBody>
                    <a:bodyPr/>
                    <a:lstStyle/>
                    <a:p>
                      <a:pPr algn="ctr">
                        <a:defRPr sz="600">
                          <a:latin typeface="Nexa Book"/>
                        </a:defRPr>
                      </a:pPr>
                      <a:r>
                        <a:rPr sz="600">
                          <a:latin typeface="Nexa Book"/>
                        </a:rPr>
                        <a:t>2025</a:t>
                      </a:r>
                    </a:p>
                  </a:txBody>
                  <a:tcPr marL="2858" marR="2858" marT="2858" marB="0" anchor="ctr">
                    <a:noFill/>
                  </a:tcPr>
                </a:tc>
                <a:tc>
                  <a:txBody>
                    <a:bodyPr/>
                    <a:lstStyle/>
                    <a:p>
                      <a:pPr algn="ctr">
                        <a:defRPr sz="600">
                          <a:latin typeface="Nexa Book"/>
                        </a:defRPr>
                      </a:pPr>
                      <a:r>
                        <a:rPr sz="600">
                          <a:latin typeface="Nexa Book"/>
                        </a:rPr>
                        <a:t>232%</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 23.99</a:t>
                      </a:r>
                    </a:p>
                  </a:txBody>
                  <a:tcPr marL="2858" marR="2858" marT="2858" marB="0" anchor="ctr">
                    <a:noFill/>
                  </a:tcPr>
                </a:tc>
                <a:tc>
                  <a:txBody>
                    <a:bodyPr/>
                    <a:lstStyle/>
                    <a:p>
                      <a:pPr algn="ctr">
                        <a:defRPr sz="600">
                          <a:latin typeface="Nexa Book"/>
                        </a:defRPr>
                      </a:pPr>
                      <a:r>
                        <a:rPr sz="600">
                          <a:latin typeface="Nexa Book"/>
                        </a:rPr>
                        <a:t> 17.83</a:t>
                      </a:r>
                    </a:p>
                  </a:txBody>
                  <a:tcPr marL="2858" marR="2858" marT="2858" marB="0" anchor="ctr">
                    <a:noFill/>
                  </a:tcPr>
                </a:tc>
                <a:tc>
                  <a:txBody>
                    <a:bodyPr/>
                    <a:lstStyle/>
                    <a:p>
                      <a:pPr algn="ctr">
                        <a:defRPr sz="600">
                          <a:latin typeface="Nexa Book"/>
                        </a:defRPr>
                      </a:pPr>
                      <a:r>
                        <a:rPr sz="600">
                          <a:latin typeface="Nexa Book"/>
                        </a:rPr>
                        <a:t>3'262</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7%</a:t>
                      </a:r>
                    </a:p>
                  </a:txBody>
                  <a:tcPr marL="2858" marR="2858" marT="2858" marB="0" anchor="ctr">
                    <a:noFill/>
                  </a:tcPr>
                </a:tc>
                <a:tc>
                  <a:txBody>
                    <a:bodyPr/>
                    <a:lstStyle/>
                    <a:p>
                      <a:pPr algn="ctr">
                        <a:defRPr sz="600">
                          <a:latin typeface="Nexa Book"/>
                        </a:defRPr>
                      </a:pPr>
                      <a:r>
                        <a:rPr sz="600">
                          <a:latin typeface="Nexa Book"/>
                        </a:rPr>
                        <a:t>1032</a:t>
                      </a:r>
                    </a:p>
                  </a:txBody>
                  <a:tcPr marL="2858" marR="2858" marT="2858" marB="0" anchor="ctr">
                    <a:noFill/>
                  </a:tcPr>
                </a:tc>
                <a:tc>
                  <a:txBody>
                    <a:bodyPr/>
                    <a:lstStyle/>
                    <a:p>
                      <a:pPr algn="ctr">
                        <a:defRPr sz="600">
                          <a:latin typeface="Nexa Book"/>
                        </a:defRPr>
                      </a:pPr>
                      <a:r>
                        <a:rPr sz="600">
                          <a:latin typeface="Nexa Book"/>
                        </a:rPr>
                        <a:t>87%</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41.42</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540</a:t>
                      </a:r>
                    </a:p>
                  </a:txBody>
                  <a:tcPr marL="2858" marR="2858" marT="2858" marB="0" anchor="ctr">
                    <a:noFill/>
                  </a:tcPr>
                </a:tc>
                <a:tc>
                  <a:txBody>
                    <a:bodyPr/>
                    <a:lstStyle/>
                    <a:p>
                      <a:pPr algn="ctr">
                        <a:defRPr sz="600">
                          <a:latin typeface="Nexa Book"/>
                        </a:defRPr>
                      </a:pPr>
                      <a:r>
                        <a:rPr sz="600">
                          <a:latin typeface="Nexa Book"/>
                        </a:rPr>
                        <a:t>610%</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756</a:t>
                      </a:r>
                    </a:p>
                  </a:txBody>
                  <a:tcPr marL="2858" marR="2858" marT="2858" marB="0" anchor="ctr">
                    <a:noFill/>
                  </a:tcPr>
                </a:tc>
                <a:tc>
                  <a:txBody>
                    <a:bodyPr/>
                    <a:lstStyle/>
                    <a:p>
                      <a:pPr algn="ctr">
                        <a:defRPr sz="600">
                          <a:latin typeface="Nexa Book"/>
                        </a:defRPr>
                      </a:pPr>
                      <a:r>
                        <a:rPr sz="600">
                          <a:latin typeface="Nexa Book"/>
                        </a:rPr>
                        <a:t>230%</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85620534"/>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68</a:t>
                      </a:r>
                    </a:p>
                  </a:txBody>
                  <a:tcPr marL="2858" marR="2858" marT="2858" marB="0" anchor="ctr">
                    <a:noFill/>
                  </a:tcPr>
                </a:tc>
                <a:tc>
                  <a:txBody>
                    <a:bodyPr/>
                    <a:lstStyle/>
                    <a:p>
                      <a:pPr algn="ctr">
                        <a:defRPr sz="600">
                          <a:latin typeface="Nexa Book"/>
                        </a:defRPr>
                      </a:pPr>
                      <a:r>
                        <a:rPr sz="600">
                          <a:latin typeface="Nexa Book"/>
                        </a:rPr>
                        <a:t>6'189</a:t>
                      </a:r>
                    </a:p>
                  </a:txBody>
                  <a:tcPr marL="2858" marR="2858" marT="2858" marB="0" anchor="ctr">
                    <a:noFill/>
                  </a:tcPr>
                </a:tc>
                <a:tc>
                  <a:txBody>
                    <a:bodyPr/>
                    <a:lstStyle/>
                    <a:p>
                      <a:pPr algn="ctr">
                        <a:defRPr sz="600">
                          <a:latin typeface="Nexa Book"/>
                        </a:defRPr>
                      </a:pPr>
                      <a:r>
                        <a:rPr sz="600">
                          <a:latin typeface="Nexa Book"/>
                        </a:rPr>
                        <a:t>588%</a:t>
                      </a:r>
                    </a:p>
                  </a:txBody>
                  <a:tcPr marL="2858" marR="2858" marT="2858" marB="0" anchor="ctr">
                    <a:noFill/>
                  </a:tcPr>
                </a:tc>
                <a:tc>
                  <a:txBody>
                    <a:bodyPr/>
                    <a:lstStyle/>
                    <a:p>
                      <a:pPr algn="ctr">
                        <a:defRPr sz="600">
                          <a:latin typeface="Nexa Book"/>
                        </a:defRPr>
                      </a:pPr>
                      <a:r>
                        <a:rPr sz="600">
                          <a:latin typeface="Nexa Book"/>
                        </a:rPr>
                        <a:t>837%</a:t>
                      </a:r>
                    </a:p>
                  </a:txBody>
                  <a:tcPr marL="2858" marR="2858" marT="2858" marB="0" anchor="ctr">
                    <a:noFill/>
                  </a:tcPr>
                </a:tc>
                <a:tc>
                  <a:txBody>
                    <a:bodyPr/>
                    <a:lstStyle/>
                    <a:p>
                      <a:pPr algn="ctr">
                        <a:defRPr sz="600">
                          <a:latin typeface="Nexa Book"/>
                        </a:defRPr>
                      </a:pPr>
                      <a:r>
                        <a:rPr sz="600">
                          <a:latin typeface="Nexa Book"/>
                        </a:rPr>
                        <a:t>5448</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2'248</a:t>
                      </a:r>
                    </a:p>
                  </a:txBody>
                  <a:tcPr marL="2858" marR="2858" marT="2858" marB="0" anchor="ctr">
                    <a:noFill/>
                  </a:tcPr>
                </a:tc>
                <a:tc>
                  <a:txBody>
                    <a:bodyPr/>
                    <a:lstStyle/>
                    <a:p>
                      <a:pPr algn="ctr">
                        <a:defRPr sz="600">
                          <a:latin typeface="Nexa Book"/>
                        </a:defRPr>
                      </a:pPr>
                      <a:r>
                        <a:rPr sz="600">
                          <a:latin typeface="Nexa Book"/>
                        </a:rPr>
                        <a:t>1246%</a:t>
                      </a:r>
                    </a:p>
                  </a:txBody>
                  <a:tcPr marL="2858" marR="2858" marT="2858" marB="0" anchor="ctr">
                    <a:noFill/>
                  </a:tcPr>
                </a:tc>
                <a:tc>
                  <a:txBody>
                    <a:bodyPr/>
                    <a:lstStyle/>
                    <a:p>
                      <a:pPr algn="ctr">
                        <a:defRPr sz="600">
                          <a:latin typeface="Nexa Book"/>
                        </a:defRPr>
                      </a:pPr>
                      <a:r>
                        <a:rPr sz="600">
                          <a:latin typeface="Nexa Book"/>
                        </a:rPr>
                        <a:t>1767%</a:t>
                      </a:r>
                    </a:p>
                  </a:txBody>
                  <a:tcPr marL="2858" marR="2858" marT="2858" marB="0" anchor="ctr">
                    <a:noFill/>
                  </a:tcPr>
                </a:tc>
                <a:tc>
                  <a:txBody>
                    <a:bodyPr/>
                    <a:lstStyle/>
                    <a:p>
                      <a:pPr algn="ctr">
                        <a:defRPr sz="600">
                          <a:latin typeface="Nexa Book"/>
                        </a:defRPr>
                      </a:pPr>
                      <a:r>
                        <a:rPr sz="600">
                          <a:latin typeface="Nexa Book"/>
                        </a:rPr>
                        <a:t>2081</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04</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796</a:t>
                      </a:r>
                    </a:p>
                  </a:txBody>
                  <a:tcPr marL="2858" marR="2858" marT="2858" marB="0" anchor="ctr">
                    <a:noFill/>
                  </a:tcPr>
                </a:tc>
                <a:tc>
                  <a:txBody>
                    <a:bodyPr/>
                    <a:lstStyle/>
                    <a:p>
                      <a:pPr algn="ctr">
                        <a:defRPr sz="600">
                          <a:latin typeface="Nexa Book"/>
                        </a:defRPr>
                      </a:pPr>
                      <a:r>
                        <a:rPr sz="600">
                          <a:latin typeface="Nexa Book"/>
                        </a:rPr>
                        <a:t>255%</a:t>
                      </a:r>
                    </a:p>
                  </a:txBody>
                  <a:tcPr marL="2858" marR="2858" marT="2858" marB="0" anchor="ctr">
                    <a:noFill/>
                  </a:tcPr>
                </a:tc>
                <a:tc>
                  <a:txBody>
                    <a:bodyPr/>
                    <a:lstStyle/>
                    <a:p>
                      <a:pPr algn="ctr">
                        <a:defRPr sz="600">
                          <a:latin typeface="Nexa Book"/>
                        </a:defRPr>
                      </a:pPr>
                      <a:r>
                        <a:rPr sz="600">
                          <a:latin typeface="Nexa Book"/>
                        </a:rPr>
                        <a:t>283%</a:t>
                      </a:r>
                    </a:p>
                  </a:txBody>
                  <a:tcPr marL="2858" marR="2858" marT="2858" marB="0" anchor="ctr">
                    <a:noFill/>
                  </a:tcPr>
                </a:tc>
                <a:tc>
                  <a:txBody>
                    <a:bodyPr/>
                    <a:lstStyle/>
                    <a:p>
                      <a:pPr algn="ctr">
                        <a:defRPr sz="600">
                          <a:latin typeface="Nexa Book"/>
                        </a:defRPr>
                      </a:pPr>
                      <a:r>
                        <a:rPr sz="600">
                          <a:latin typeface="Nexa Book"/>
                        </a:rPr>
                        <a:t>572</a:t>
                      </a:r>
                    </a:p>
                  </a:txBody>
                  <a:tcPr marL="2858" marR="2858" marT="2858" marB="0" anchor="ctr">
                    <a:noFill/>
                  </a:tcPr>
                </a:tc>
                <a:tc>
                  <a:txBody>
                    <a:bodyPr/>
                    <a:lstStyle/>
                    <a:p>
                      <a:pPr algn="ctr">
                        <a:defRPr sz="600">
                          <a:latin typeface="Nexa Book"/>
                        </a:defRPr>
                      </a:pPr>
                      <a:r>
                        <a:rPr sz="600">
                          <a:latin typeface="Nexa Book"/>
                        </a:rPr>
                        <a:t>91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37.14</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5.60</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8.00</a:t>
                      </a:r>
                    </a:p>
                  </a:txBody>
                  <a:tcPr marL="2858" marR="2858" marT="2858" marB="0" anchor="ctr">
                    <a:noFill/>
                  </a:tcPr>
                </a:tc>
                <a:tc>
                  <a:txBody>
                    <a:bodyPr/>
                    <a:lstStyle/>
                    <a:p>
                      <a:pPr algn="ctr">
                        <a:defRPr sz="600">
                          <a:latin typeface="Nexa Book"/>
                        </a:defRPr>
                      </a:pPr>
                      <a:r>
                        <a:rPr sz="600">
                          <a:latin typeface="Nexa Book"/>
                        </a:rPr>
                        <a:t>1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977231177"/>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CA B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 37.07</a:t>
                      </a:r>
                    </a:p>
                  </a:txBody>
                  <a:tcPr marL="2858" marR="2858" marT="2858" marB="0" anchor="ctr">
                    <a:noFill/>
                  </a:tcPr>
                </a:tc>
                <a:tc>
                  <a:txBody>
                    <a:bodyPr/>
                    <a:lstStyle/>
                    <a:p>
                      <a:pPr algn="ctr">
                        <a:defRPr sz="600">
                          <a:latin typeface="Nexa Book"/>
                        </a:defRPr>
                      </a:pPr>
                      <a:r>
                        <a:rPr sz="600">
                          <a:latin typeface="Nexa Book"/>
                        </a:rPr>
                        <a:t> 26.34</a:t>
                      </a:r>
                    </a:p>
                  </a:txBody>
                  <a:tcPr marL="2858" marR="2858" marT="2858" marB="0" anchor="ctr">
                    <a:noFill/>
                  </a:tcPr>
                </a:tc>
                <a:tc>
                  <a:txBody>
                    <a:bodyPr/>
                    <a:lstStyle/>
                    <a:p>
                      <a:pPr algn="ctr">
                        <a:defRPr sz="600">
                          <a:latin typeface="Nexa Book"/>
                        </a:defRPr>
                      </a:pPr>
                      <a:r>
                        <a:rPr sz="600">
                          <a:latin typeface="Nexa Book"/>
                        </a:rPr>
                        <a:t>17'410</a:t>
                      </a:r>
                    </a:p>
                  </a:txBody>
                  <a:tcPr marL="2858" marR="2858" marT="2858" marB="0" anchor="ctr">
                    <a:noFill/>
                  </a:tcPr>
                </a:tc>
                <a:tc>
                  <a:txBody>
                    <a:bodyPr/>
                    <a:lstStyle/>
                    <a:p>
                      <a:pPr algn="ctr">
                        <a:defRPr sz="600">
                          <a:latin typeface="Nexa Book"/>
                        </a:defRPr>
                      </a:pPr>
                      <a:r>
                        <a:rPr sz="600">
                          <a:latin typeface="Nexa Book"/>
                        </a:rPr>
                        <a:t>861%</a:t>
                      </a:r>
                    </a:p>
                  </a:txBody>
                  <a:tcPr marL="2858" marR="2858" marT="2858" marB="0" anchor="ctr">
                    <a:noFill/>
                  </a:tcPr>
                </a:tc>
                <a:tc>
                  <a:txBody>
                    <a:bodyPr/>
                    <a:lstStyle/>
                    <a:p>
                      <a:pPr algn="ctr">
                        <a:defRPr sz="600">
                          <a:latin typeface="Nexa Book"/>
                        </a:defRPr>
                      </a:pPr>
                      <a:r>
                        <a:rPr sz="600">
                          <a:latin typeface="Nexa Book"/>
                        </a:rPr>
                        <a:t>1276%</a:t>
                      </a:r>
                    </a:p>
                  </a:txBody>
                  <a:tcPr marL="2858" marR="2858" marT="2858" marB="0" anchor="ctr">
                    <a:noFill/>
                  </a:tcPr>
                </a:tc>
                <a:tc>
                  <a:txBody>
                    <a:bodyPr/>
                    <a:lstStyle/>
                    <a:p>
                      <a:pPr algn="ctr">
                        <a:defRPr sz="600">
                          <a:latin typeface="Nexa Book"/>
                        </a:defRPr>
                      </a:pPr>
                      <a:r>
                        <a:rPr sz="600">
                          <a:latin typeface="Nexa Book"/>
                        </a:rPr>
                        <a:t>16290</a:t>
                      </a:r>
                    </a:p>
                  </a:txBody>
                  <a:tcPr marL="2858" marR="2858" marT="2858" marB="0" anchor="ctr">
                    <a:noFill/>
                  </a:tcPr>
                </a:tc>
                <a:tc>
                  <a:txBody>
                    <a:bodyPr/>
                    <a:lstStyle/>
                    <a:p>
                      <a:pPr algn="ctr">
                        <a:defRPr sz="600">
                          <a:latin typeface="Nexa Book"/>
                        </a:defRPr>
                      </a:pPr>
                      <a:r>
                        <a:rPr sz="600">
                          <a:latin typeface="Nexa Book"/>
                        </a:rPr>
                        <a:t>20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41.43</a:t>
                      </a:r>
                    </a:p>
                  </a:txBody>
                  <a:tcPr marL="2858" marR="2858" marT="2858" marB="0" anchor="ctr">
                    <a:noFill/>
                  </a:tcPr>
                </a:tc>
                <a:tc>
                  <a:txBody>
                    <a:bodyPr/>
                    <a:lstStyle/>
                    <a:p>
                      <a:pPr algn="ctr">
                        <a:defRPr sz="600">
                          <a:latin typeface="Nexa Book"/>
                        </a:defRPr>
                      </a:pPr>
                      <a:r>
                        <a:rPr sz="600">
                          <a:latin typeface="Nexa Book"/>
                        </a:rPr>
                        <a:t> 29.88</a:t>
                      </a:r>
                    </a:p>
                  </a:txBody>
                  <a:tcPr marL="2858" marR="2858" marT="2858" marB="0" anchor="ctr">
                    <a:noFill/>
                  </a:tcPr>
                </a:tc>
                <a:tc>
                  <a:txBody>
                    <a:bodyPr/>
                    <a:lstStyle/>
                    <a:p>
                      <a:pPr algn="ctr">
                        <a:defRPr sz="600">
                          <a:latin typeface="Nexa Book"/>
                        </a:defRPr>
                      </a:pPr>
                      <a:r>
                        <a:rPr sz="600">
                          <a:latin typeface="Nexa Book"/>
                        </a:rPr>
                        <a:t>2'271</a:t>
                      </a:r>
                    </a:p>
                  </a:txBody>
                  <a:tcPr marL="2858" marR="2858" marT="2858" marB="0" anchor="ctr">
                    <a:noFill/>
                  </a:tcPr>
                </a:tc>
                <a:tc>
                  <a:txBody>
                    <a:bodyPr/>
                    <a:lstStyle/>
                    <a:p>
                      <a:pPr algn="ctr">
                        <a:defRPr sz="600">
                          <a:latin typeface="Nexa Book"/>
                        </a:defRPr>
                      </a:pPr>
                      <a:r>
                        <a:rPr sz="600">
                          <a:latin typeface="Nexa Book"/>
                        </a:rPr>
                        <a:t>510%</a:t>
                      </a:r>
                    </a:p>
                  </a:txBody>
                  <a:tcPr marL="2858" marR="2858" marT="2858" marB="0" anchor="ctr">
                    <a:noFill/>
                  </a:tcPr>
                </a:tc>
                <a:tc>
                  <a:txBody>
                    <a:bodyPr/>
                    <a:lstStyle/>
                    <a:p>
                      <a:pPr algn="ctr">
                        <a:defRPr sz="600">
                          <a:latin typeface="Nexa Book"/>
                        </a:defRPr>
                      </a:pPr>
                      <a:r>
                        <a:rPr sz="600">
                          <a:latin typeface="Nexa Book"/>
                        </a:rPr>
                        <a:t>850%</a:t>
                      </a:r>
                    </a:p>
                  </a:txBody>
                  <a:tcPr marL="2858" marR="2858" marT="2858" marB="0" anchor="ctr">
                    <a:noFill/>
                  </a:tcPr>
                </a:tc>
                <a:tc>
                  <a:txBody>
                    <a:bodyPr/>
                    <a:lstStyle/>
                    <a:p>
                      <a:pPr algn="ctr">
                        <a:defRPr sz="600">
                          <a:latin typeface="Nexa Book"/>
                        </a:defRPr>
                      </a:pPr>
                      <a:r>
                        <a:rPr sz="600">
                          <a:latin typeface="Nexa Book"/>
                        </a:rPr>
                        <a:t>1899</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37.24</a:t>
                      </a:r>
                    </a:p>
                  </a:txBody>
                  <a:tcPr marL="2858" marR="2858" marT="2858" marB="0" anchor="ctr">
                    <a:noFill/>
                  </a:tcPr>
                </a:tc>
                <a:tc>
                  <a:txBody>
                    <a:bodyPr/>
                    <a:lstStyle/>
                    <a:p>
                      <a:pPr algn="ctr">
                        <a:defRPr sz="600">
                          <a:latin typeface="Nexa Book"/>
                        </a:defRPr>
                      </a:pPr>
                      <a:r>
                        <a:rPr sz="600">
                          <a:latin typeface="Nexa Book"/>
                        </a:rPr>
                        <a:t> 26.05</a:t>
                      </a:r>
                    </a:p>
                  </a:txBody>
                  <a:tcPr marL="2858" marR="2858" marT="2858" marB="0" anchor="ctr">
                    <a:noFill/>
                  </a:tcPr>
                </a:tc>
                <a:tc>
                  <a:txBody>
                    <a:bodyPr/>
                    <a:lstStyle/>
                    <a:p>
                      <a:pPr algn="ctr">
                        <a:defRPr sz="600">
                          <a:latin typeface="Nexa Book"/>
                        </a:defRPr>
                      </a:pPr>
                      <a:r>
                        <a:rPr sz="600">
                          <a:latin typeface="Nexa Book"/>
                        </a:rPr>
                        <a:t>1'719</a:t>
                      </a:r>
                    </a:p>
                  </a:txBody>
                  <a:tcPr marL="2858" marR="2858" marT="2858" marB="0" anchor="ctr">
                    <a:noFill/>
                  </a:tcPr>
                </a:tc>
                <a:tc>
                  <a:txBody>
                    <a:bodyPr/>
                    <a:lstStyle/>
                    <a:p>
                      <a:pPr algn="ctr">
                        <a:defRPr sz="600">
                          <a:latin typeface="Nexa Book"/>
                        </a:defRPr>
                      </a:pPr>
                      <a:r>
                        <a:rPr sz="600">
                          <a:latin typeface="Nexa Book"/>
                        </a:rPr>
                        <a:t>556%</a:t>
                      </a:r>
                    </a:p>
                  </a:txBody>
                  <a:tcPr marL="2858" marR="2858" marT="2858" marB="0" anchor="ctr">
                    <a:noFill/>
                  </a:tcPr>
                </a:tc>
                <a:tc>
                  <a:txBody>
                    <a:bodyPr/>
                    <a:lstStyle/>
                    <a:p>
                      <a:pPr algn="ctr">
                        <a:defRPr sz="600">
                          <a:latin typeface="Nexa Book"/>
                        </a:defRPr>
                      </a:pPr>
                      <a:r>
                        <a:rPr sz="600">
                          <a:latin typeface="Nexa Book"/>
                        </a:rPr>
                        <a:t>900%</a:t>
                      </a:r>
                    </a:p>
                  </a:txBody>
                  <a:tcPr marL="2858" marR="2858" marT="2858" marB="0" anchor="ctr">
                    <a:noFill/>
                  </a:tcPr>
                </a:tc>
                <a:tc>
                  <a:txBody>
                    <a:bodyPr/>
                    <a:lstStyle/>
                    <a:p>
                      <a:pPr algn="ctr">
                        <a:defRPr sz="600">
                          <a:latin typeface="Nexa Book"/>
                        </a:defRPr>
                      </a:pPr>
                      <a:r>
                        <a:rPr sz="600">
                          <a:latin typeface="Nexa Book"/>
                        </a:rPr>
                        <a:t>1457</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14</a:t>
                      </a:r>
                    </a:p>
                  </a:txBody>
                  <a:tcPr marL="2858" marR="2858" marT="2858" marB="0" anchor="ctr">
                    <a:noFill/>
                  </a:tcPr>
                </a:tc>
                <a:tc>
                  <a:txBody>
                    <a:bodyPr/>
                    <a:lstStyle/>
                    <a:p>
                      <a:pPr algn="ctr">
                        <a:defRPr sz="600">
                          <a:latin typeface="Nexa Book"/>
                        </a:defRPr>
                      </a:pPr>
                      <a:r>
                        <a:rPr sz="600">
                          <a:latin typeface="Nexa Book"/>
                        </a:rPr>
                        <a:t> 25.88</a:t>
                      </a:r>
                    </a:p>
                  </a:txBody>
                  <a:tcPr marL="2858" marR="2858" marT="2858" marB="0" anchor="ctr">
                    <a:noFill/>
                  </a:tcPr>
                </a:tc>
                <a:tc>
                  <a:txBody>
                    <a:bodyPr/>
                    <a:lstStyle/>
                    <a:p>
                      <a:pPr algn="ctr">
                        <a:defRPr sz="600">
                          <a:latin typeface="Nexa Book"/>
                        </a:defRPr>
                      </a:pPr>
                      <a:r>
                        <a:rPr sz="600">
                          <a:latin typeface="Nexa Book"/>
                        </a:rPr>
                        <a:t>1'320</a:t>
                      </a:r>
                    </a:p>
                  </a:txBody>
                  <a:tcPr marL="2858" marR="2858" marT="2858" marB="0" anchor="ctr">
                    <a:noFill/>
                  </a:tcPr>
                </a:tc>
                <a:tc>
                  <a:txBody>
                    <a:bodyPr/>
                    <a:lstStyle/>
                    <a:p>
                      <a:pPr algn="ctr">
                        <a:defRPr sz="600">
                          <a:latin typeface="Nexa Book"/>
                        </a:defRPr>
                      </a:pPr>
                      <a:r>
                        <a:rPr sz="600">
                          <a:latin typeface="Nexa Book"/>
                        </a:rPr>
                        <a:t>830%</a:t>
                      </a:r>
                    </a:p>
                  </a:txBody>
                  <a:tcPr marL="2858" marR="2858" marT="2858" marB="0" anchor="ctr">
                    <a:noFill/>
                  </a:tcPr>
                </a:tc>
                <a:tc>
                  <a:txBody>
                    <a:bodyPr/>
                    <a:lstStyle/>
                    <a:p>
                      <a:pPr algn="ctr">
                        <a:defRPr sz="600">
                          <a:latin typeface="Nexa Book"/>
                        </a:defRPr>
                      </a:pPr>
                      <a:r>
                        <a:rPr sz="600">
                          <a:latin typeface="Nexa Book"/>
                        </a:rPr>
                        <a:t>1233%</a:t>
                      </a:r>
                    </a:p>
                  </a:txBody>
                  <a:tcPr marL="2858" marR="2858" marT="2858" marB="0" anchor="ctr">
                    <a:noFill/>
                  </a:tcPr>
                </a:tc>
                <a:tc>
                  <a:txBody>
                    <a:bodyPr/>
                    <a:lstStyle/>
                    <a:p>
                      <a:pPr algn="ctr">
                        <a:defRPr sz="600">
                          <a:latin typeface="Nexa Book"/>
                        </a:defRPr>
                      </a:pPr>
                      <a:r>
                        <a:rPr sz="600">
                          <a:latin typeface="Nexa Book"/>
                        </a:rPr>
                        <a:t>1245</a:t>
                      </a:r>
                    </a:p>
                  </a:txBody>
                  <a:tcPr marL="2858" marR="2858" marT="2858" marB="0" anchor="ctr">
                    <a:noFill/>
                  </a:tcPr>
                </a:tc>
                <a:tc>
                  <a:txBody>
                    <a:bodyPr/>
                    <a:lstStyle/>
                    <a:p>
                      <a:pPr algn="ctr">
                        <a:defRPr sz="600">
                          <a:latin typeface="Nexa Book"/>
                        </a:defRPr>
                      </a:pPr>
                      <a:r>
                        <a:rPr sz="600">
                          <a:latin typeface="Nexa Book"/>
                        </a:rPr>
                        <a:t>198%</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93</a:t>
                      </a:r>
                    </a:p>
                  </a:txBody>
                  <a:tcPr marL="2858" marR="2858" marT="2858" marB="0" anchor="ctr">
                    <a:noFill/>
                  </a:tcPr>
                </a:tc>
                <a:tc>
                  <a:txBody>
                    <a:bodyPr/>
                    <a:lstStyle/>
                    <a:p>
                      <a:pPr algn="ctr">
                        <a:defRPr sz="600">
                          <a:latin typeface="Nexa Book"/>
                        </a:defRPr>
                      </a:pPr>
                      <a:r>
                        <a:rPr sz="600">
                          <a:latin typeface="Nexa Book"/>
                        </a:rPr>
                        <a:t>520</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8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73306949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hampagnes  |  CA D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37.26</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21'864</a:t>
                      </a:r>
                    </a:p>
                  </a:txBody>
                  <a:tcPr marL="2858" marR="2858" marT="2858" marB="0" anchor="ctr">
                    <a:noFill/>
                  </a:tcPr>
                </a:tc>
                <a:tc>
                  <a:txBody>
                    <a:bodyPr/>
                    <a:lstStyle/>
                    <a:p>
                      <a:pPr algn="ctr">
                        <a:defRPr sz="600">
                          <a:latin typeface="Nexa Book"/>
                        </a:defRPr>
                      </a:pPr>
                      <a:r>
                        <a:rPr sz="600">
                          <a:latin typeface="Nexa Book"/>
                        </a:rPr>
                        <a:t>690%</a:t>
                      </a:r>
                    </a:p>
                  </a:txBody>
                  <a:tcPr marL="2858" marR="2858" marT="2858" marB="0" anchor="ctr">
                    <a:noFill/>
                  </a:tcPr>
                </a:tc>
                <a:tc>
                  <a:txBody>
                    <a:bodyPr/>
                    <a:lstStyle/>
                    <a:p>
                      <a:pPr algn="ctr">
                        <a:defRPr sz="600">
                          <a:latin typeface="Nexa Book"/>
                        </a:defRPr>
                      </a:pPr>
                      <a:r>
                        <a:rPr sz="600">
                          <a:latin typeface="Nexa Book"/>
                        </a:rPr>
                        <a:t>972%</a:t>
                      </a:r>
                    </a:p>
                  </a:txBody>
                  <a:tcPr marL="2858" marR="2858" marT="2858" marB="0" anchor="ctr">
                    <a:noFill/>
                  </a:tcPr>
                </a:tc>
                <a:tc>
                  <a:txBody>
                    <a:bodyPr/>
                    <a:lstStyle/>
                    <a:p>
                      <a:pPr algn="ctr">
                        <a:defRPr sz="600">
                          <a:latin typeface="Nexa Book"/>
                        </a:defRPr>
                      </a:pPr>
                      <a:r>
                        <a:rPr sz="600">
                          <a:latin typeface="Nexa Book"/>
                        </a:rPr>
                        <a:t>20970</a:t>
                      </a:r>
                    </a:p>
                  </a:txBody>
                  <a:tcPr marL="2858" marR="2858" marT="2858" marB="0" anchor="ctr">
                    <a:noFill/>
                  </a:tcPr>
                </a:tc>
                <a:tc>
                  <a:txBody>
                    <a:bodyPr/>
                    <a:lstStyle/>
                    <a:p>
                      <a:pPr algn="ctr">
                        <a:defRPr sz="600">
                          <a:latin typeface="Nexa Book"/>
                        </a:defRPr>
                      </a:pPr>
                      <a:r>
                        <a:rPr sz="600">
                          <a:latin typeface="Nexa Book"/>
                        </a:rPr>
                        <a:t>235%</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3'836</a:t>
                      </a:r>
                    </a:p>
                  </a:txBody>
                  <a:tcPr marL="2858" marR="2858" marT="2858" marB="0" anchor="ctr">
                    <a:noFill/>
                  </a:tcPr>
                </a:tc>
                <a:tc>
                  <a:txBody>
                    <a:bodyPr/>
                    <a:lstStyle/>
                    <a:p>
                      <a:pPr algn="ctr">
                        <a:defRPr sz="600">
                          <a:latin typeface="Nexa Book"/>
                        </a:defRPr>
                      </a:pPr>
                      <a:r>
                        <a:rPr sz="600">
                          <a:latin typeface="Nexa Book"/>
                        </a:rPr>
                        <a:t>524%</a:t>
                      </a:r>
                    </a:p>
                  </a:txBody>
                  <a:tcPr marL="2858" marR="2858" marT="2858" marB="0" anchor="ctr">
                    <a:noFill/>
                  </a:tcPr>
                </a:tc>
                <a:tc>
                  <a:txBody>
                    <a:bodyPr/>
                    <a:lstStyle/>
                    <a:p>
                      <a:pPr algn="ctr">
                        <a:defRPr sz="600">
                          <a:latin typeface="Nexa Book"/>
                        </a:defRPr>
                      </a:pPr>
                      <a:r>
                        <a:rPr sz="600">
                          <a:latin typeface="Nexa Book"/>
                        </a:rPr>
                        <a:t>870%</a:t>
                      </a:r>
                    </a:p>
                  </a:txBody>
                  <a:tcPr marL="2858" marR="2858" marT="2858" marB="0" anchor="ctr">
                    <a:noFill/>
                  </a:tcPr>
                </a:tc>
                <a:tc>
                  <a:txBody>
                    <a:bodyPr/>
                    <a:lstStyle/>
                    <a:p>
                      <a:pPr algn="ctr">
                        <a:defRPr sz="600">
                          <a:latin typeface="Nexa Book"/>
                        </a:defRPr>
                      </a:pPr>
                      <a:r>
                        <a:rPr sz="600">
                          <a:latin typeface="Nexa Book"/>
                        </a:rPr>
                        <a:t>3256</a:t>
                      </a:r>
                    </a:p>
                  </a:txBody>
                  <a:tcPr marL="2858" marR="2858" marT="2858" marB="0" anchor="ctr">
                    <a:noFill/>
                  </a:tcPr>
                </a:tc>
                <a:tc>
                  <a:txBody>
                    <a:bodyPr/>
                    <a:lstStyle/>
                    <a:p>
                      <a:pPr algn="ctr">
                        <a:defRPr sz="600">
                          <a:latin typeface="Nexa Book"/>
                        </a:defRPr>
                      </a:pPr>
                      <a:r>
                        <a:rPr sz="600">
                          <a:latin typeface="Nexa Book"/>
                        </a:rPr>
                        <a:t>153%</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 37.09</a:t>
                      </a:r>
                    </a:p>
                  </a:txBody>
                  <a:tcPr marL="2858" marR="2858" marT="2858" marB="0" anchor="ctr">
                    <a:noFill/>
                  </a:tcPr>
                </a:tc>
                <a:tc>
                  <a:txBody>
                    <a:bodyPr/>
                    <a:lstStyle/>
                    <a:p>
                      <a:pPr algn="ctr">
                        <a:defRPr sz="600">
                          <a:latin typeface="Nexa Book"/>
                        </a:defRPr>
                      </a:pPr>
                      <a:r>
                        <a:rPr sz="600">
                          <a:latin typeface="Nexa Book"/>
                        </a:rPr>
                        <a:t> 26.54</a:t>
                      </a:r>
                    </a:p>
                  </a:txBody>
                  <a:tcPr marL="2858" marR="2858" marT="2858" marB="0" anchor="ctr">
                    <a:noFill/>
                  </a:tcPr>
                </a:tc>
                <a:tc>
                  <a:txBody>
                    <a:bodyPr/>
                    <a:lstStyle/>
                    <a:p>
                      <a:pPr algn="ctr">
                        <a:defRPr sz="600">
                          <a:latin typeface="Nexa Book"/>
                        </a:defRPr>
                      </a:pPr>
                      <a:r>
                        <a:rPr sz="600">
                          <a:latin typeface="Nexa Book"/>
                        </a:rPr>
                        <a:t>3'370</a:t>
                      </a:r>
                    </a:p>
                  </a:txBody>
                  <a:tcPr marL="2858" marR="2858" marT="2858" marB="0" anchor="ctr">
                    <a:noFill/>
                  </a:tcPr>
                </a:tc>
                <a:tc>
                  <a:txBody>
                    <a:bodyPr/>
                    <a:lstStyle/>
                    <a:p>
                      <a:pPr algn="ctr">
                        <a:defRPr sz="600">
                          <a:latin typeface="Nexa Book"/>
                        </a:defRPr>
                      </a:pPr>
                      <a:r>
                        <a:rPr sz="600">
                          <a:latin typeface="Nexa Book"/>
                        </a:rPr>
                        <a:t>726%</a:t>
                      </a:r>
                    </a:p>
                  </a:txBody>
                  <a:tcPr marL="2858" marR="2858" marT="2858" marB="0" anchor="ctr">
                    <a:noFill/>
                  </a:tcPr>
                </a:tc>
                <a:tc>
                  <a:txBody>
                    <a:bodyPr/>
                    <a:lstStyle/>
                    <a:p>
                      <a:pPr algn="ctr">
                        <a:defRPr sz="600">
                          <a:latin typeface="Nexa Book"/>
                        </a:defRPr>
                      </a:pPr>
                      <a:r>
                        <a:rPr sz="600">
                          <a:latin typeface="Nexa Book"/>
                        </a:rPr>
                        <a:t>956%</a:t>
                      </a:r>
                    </a:p>
                  </a:txBody>
                  <a:tcPr marL="2858" marR="2858" marT="2858" marB="0" anchor="ctr">
                    <a:noFill/>
                  </a:tcPr>
                </a:tc>
                <a:tc>
                  <a:txBody>
                    <a:bodyPr/>
                    <a:lstStyle/>
                    <a:p>
                      <a:pPr algn="ctr">
                        <a:defRPr sz="600">
                          <a:latin typeface="Nexa Book"/>
                        </a:defRPr>
                      </a:pPr>
                      <a:r>
                        <a:rPr sz="600">
                          <a:latin typeface="Nexa Book"/>
                        </a:rPr>
                        <a:t>2962</a:t>
                      </a:r>
                    </a:p>
                  </a:txBody>
                  <a:tcPr marL="2858" marR="2858" marT="2858" marB="0" anchor="ctr">
                    <a:noFill/>
                  </a:tcPr>
                </a:tc>
                <a:tc>
                  <a:txBody>
                    <a:bodyPr/>
                    <a:lstStyle/>
                    <a:p>
                      <a:pPr algn="ctr">
                        <a:defRPr sz="600">
                          <a:latin typeface="Nexa Book"/>
                        </a:defRPr>
                      </a:pPr>
                      <a:r>
                        <a:rPr sz="600">
                          <a:latin typeface="Nexa Book"/>
                        </a:rPr>
                        <a:t>31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18</a:t>
                      </a:r>
                    </a:p>
                  </a:txBody>
                  <a:tcPr marL="2858" marR="2858" marT="2858" marB="0" anchor="ctr">
                    <a:noFill/>
                  </a:tcPr>
                </a:tc>
                <a:tc>
                  <a:txBody>
                    <a:bodyPr/>
                    <a:lstStyle/>
                    <a:p>
                      <a:pPr algn="ctr">
                        <a:defRPr sz="600">
                          <a:latin typeface="Nexa Book"/>
                        </a:defRPr>
                      </a:pPr>
                      <a:r>
                        <a:rPr sz="600">
                          <a:latin typeface="Nexa Book"/>
                        </a:rPr>
                        <a:t> 25.76</a:t>
                      </a:r>
                    </a:p>
                  </a:txBody>
                  <a:tcPr marL="2858" marR="2858" marT="2858" marB="0" anchor="ctr">
                    <a:noFill/>
                  </a:tcPr>
                </a:tc>
                <a:tc>
                  <a:txBody>
                    <a:bodyPr/>
                    <a:lstStyle/>
                    <a:p>
                      <a:pPr algn="ctr">
                        <a:defRPr sz="600">
                          <a:latin typeface="Nexa Book"/>
                        </a:defRPr>
                      </a:pPr>
                      <a:r>
                        <a:rPr sz="600">
                          <a:latin typeface="Nexa Book"/>
                        </a:rPr>
                        <a:t>1'417</a:t>
                      </a:r>
                    </a:p>
                  </a:txBody>
                  <a:tcPr marL="2858" marR="2858" marT="2858" marB="0" anchor="ctr">
                    <a:noFill/>
                  </a:tcPr>
                </a:tc>
                <a:tc>
                  <a:txBody>
                    <a:bodyPr/>
                    <a:lstStyle/>
                    <a:p>
                      <a:pPr algn="ctr">
                        <a:defRPr sz="600">
                          <a:latin typeface="Nexa Book"/>
                        </a:defRPr>
                      </a:pPr>
                      <a:r>
                        <a:rPr sz="600">
                          <a:latin typeface="Nexa Book"/>
                        </a:rPr>
                        <a:t>932%</a:t>
                      </a:r>
                    </a:p>
                  </a:txBody>
                  <a:tcPr marL="2858" marR="2858" marT="2858" marB="0" anchor="ctr">
                    <a:noFill/>
                  </a:tcPr>
                </a:tc>
                <a:tc>
                  <a:txBody>
                    <a:bodyPr/>
                    <a:lstStyle/>
                    <a:p>
                      <a:pPr algn="ctr">
                        <a:defRPr sz="600">
                          <a:latin typeface="Nexa Book"/>
                        </a:defRPr>
                      </a:pPr>
                      <a:r>
                        <a:rPr sz="600">
                          <a:latin typeface="Nexa Book"/>
                        </a:rPr>
                        <a:t>1367%</a:t>
                      </a:r>
                    </a:p>
                  </a:txBody>
                  <a:tcPr marL="2858" marR="2858" marT="2858" marB="0" anchor="ctr">
                    <a:noFill/>
                  </a:tcPr>
                </a:tc>
                <a:tc>
                  <a:txBody>
                    <a:bodyPr/>
                    <a:lstStyle/>
                    <a:p>
                      <a:pPr algn="ctr">
                        <a:defRPr sz="600">
                          <a:latin typeface="Nexa Book"/>
                        </a:defRPr>
                      </a:pPr>
                      <a:r>
                        <a:rPr sz="600">
                          <a:latin typeface="Nexa Book"/>
                        </a:rPr>
                        <a:t>1380</a:t>
                      </a:r>
                    </a:p>
                  </a:txBody>
                  <a:tcPr marL="2858" marR="2858" marT="2858" marB="0" anchor="ctr">
                    <a:noFill/>
                  </a:tcPr>
                </a:tc>
                <a:tc>
                  <a:txBody>
                    <a:bodyPr/>
                    <a:lstStyle/>
                    <a:p>
                      <a:pPr algn="ctr">
                        <a:defRPr sz="600">
                          <a:latin typeface="Nexa Book"/>
                        </a:defRPr>
                      </a:pPr>
                      <a:r>
                        <a:rPr sz="600">
                          <a:latin typeface="Nexa Book"/>
                        </a:rPr>
                        <a:t>21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 37.19</a:t>
                      </a:r>
                    </a:p>
                  </a:txBody>
                  <a:tcPr marL="2858" marR="2858" marT="2858" marB="0" anchor="ctr">
                    <a:noFill/>
                  </a:tcPr>
                </a:tc>
                <a:tc>
                  <a:txBody>
                    <a:bodyPr/>
                    <a:lstStyle/>
                    <a:p>
                      <a:pPr algn="ctr">
                        <a:defRPr sz="600">
                          <a:latin typeface="Nexa Book"/>
                        </a:defRPr>
                      </a:pPr>
                      <a:r>
                        <a:rPr sz="600">
                          <a:latin typeface="Nexa Book"/>
                        </a:rPr>
                        <a:t> 25.85</a:t>
                      </a:r>
                    </a:p>
                  </a:txBody>
                  <a:tcPr marL="2858" marR="2858" marT="2858" marB="0" anchor="ctr">
                    <a:noFill/>
                  </a:tcPr>
                </a:tc>
                <a:tc>
                  <a:txBody>
                    <a:bodyPr/>
                    <a:lstStyle/>
                    <a:p>
                      <a:pPr algn="ctr">
                        <a:defRPr sz="600">
                          <a:latin typeface="Nexa Book"/>
                        </a:defRPr>
                      </a:pPr>
                      <a:r>
                        <a:rPr sz="600">
                          <a:latin typeface="Nexa Book"/>
                        </a:rPr>
                        <a:t>1'008</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867%</a:t>
                      </a:r>
                    </a:p>
                  </a:txBody>
                  <a:tcPr marL="2858" marR="2858" marT="2858" marB="0" anchor="ctr">
                    <a:noFill/>
                  </a:tcPr>
                </a:tc>
                <a:tc>
                  <a:txBody>
                    <a:bodyPr/>
                    <a:lstStyle/>
                    <a:p>
                      <a:pPr algn="ctr">
                        <a:defRPr sz="600">
                          <a:latin typeface="Nexa Book"/>
                        </a:defRPr>
                      </a:pPr>
                      <a:r>
                        <a:rPr sz="600">
                          <a:latin typeface="Nexa Book"/>
                        </a:rPr>
                        <a:t>896</a:t>
                      </a:r>
                    </a:p>
                  </a:txBody>
                  <a:tcPr marL="2858" marR="2858" marT="2858" marB="0" anchor="ctr">
                    <a:noFill/>
                  </a:tcPr>
                </a:tc>
                <a:tc>
                  <a:txBody>
                    <a:bodyPr/>
                    <a:lstStyle/>
                    <a:p>
                      <a:pPr algn="ctr">
                        <a:defRPr sz="600">
                          <a:latin typeface="Nexa Book"/>
                        </a:defRPr>
                      </a:pPr>
                      <a:r>
                        <a:rPr sz="600">
                          <a:latin typeface="Nexa Book"/>
                        </a:rPr>
                        <a:t>120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41.78</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350%</a:t>
                      </a:r>
                    </a:p>
                  </a:txBody>
                  <a:tcPr marL="2858" marR="2858" marT="2858" marB="0" anchor="ctr">
                    <a:noFill/>
                  </a:tcPr>
                </a:tc>
                <a:tc>
                  <a:txBody>
                    <a:bodyPr/>
                    <a:lstStyle/>
                    <a:p>
                      <a:pPr algn="ctr">
                        <a:defRPr sz="600">
                          <a:latin typeface="Nexa Book"/>
                        </a:defRPr>
                      </a:pPr>
                      <a:r>
                        <a:rPr sz="600">
                          <a:latin typeface="Nexa Book"/>
                        </a:rPr>
                        <a:t>328</a:t>
                      </a:r>
                    </a:p>
                  </a:txBody>
                  <a:tcPr marL="2858" marR="2858" marT="2858" marB="0" anchor="ctr">
                    <a:noFill/>
                  </a:tcPr>
                </a:tc>
                <a:tc>
                  <a:txBody>
                    <a:bodyPr/>
                    <a:lstStyle/>
                    <a:p>
                      <a:pPr algn="ctr">
                        <a:defRPr sz="600">
                          <a:latin typeface="Nexa Book"/>
                        </a:defRPr>
                      </a:pPr>
                      <a:r>
                        <a:rPr sz="600">
                          <a:latin typeface="Nexa Book"/>
                        </a:rPr>
                        <a:t>192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1.51</a:t>
                      </a:r>
                    </a:p>
                  </a:txBody>
                  <a:tcPr marL="2858" marR="2858" marT="2858" marB="0" anchor="ctr">
                    <a:noFill/>
                  </a:tcPr>
                </a:tc>
                <a:tc>
                  <a:txBody>
                    <a:bodyPr/>
                    <a:lstStyle/>
                    <a:p>
                      <a:pPr algn="ctr">
                        <a:defRPr sz="600">
                          <a:latin typeface="Nexa Book"/>
                        </a:defRPr>
                      </a:pPr>
                      <a:r>
                        <a:rPr sz="600">
                          <a:latin typeface="Nexa Book"/>
                        </a:rPr>
                        <a:t> 30.57</a:t>
                      </a:r>
                    </a:p>
                  </a:txBody>
                  <a:tcPr marL="2858" marR="2858" marT="2858" marB="0" anchor="ctr">
                    <a:noFill/>
                  </a:tcPr>
                </a:tc>
                <a:tc>
                  <a:txBody>
                    <a:bodyPr/>
                    <a:lstStyle/>
                    <a:p>
                      <a:pPr algn="ctr">
                        <a:defRPr sz="600">
                          <a:latin typeface="Nexa Book"/>
                        </a:defRPr>
                      </a:pPr>
                      <a:r>
                        <a:rPr sz="600">
                          <a:latin typeface="Nexa Book"/>
                        </a:rPr>
                        <a:t>428</a:t>
                      </a:r>
                    </a:p>
                  </a:txBody>
                  <a:tcPr marL="2858" marR="2858" marT="2858" marB="0" anchor="ctr">
                    <a:noFill/>
                  </a:tcPr>
                </a:tc>
                <a:tc>
                  <a:txBody>
                    <a:bodyPr/>
                    <a:lstStyle/>
                    <a:p>
                      <a:pPr algn="ctr">
                        <a:defRPr sz="600">
                          <a:latin typeface="Nexa Book"/>
                        </a:defRPr>
                      </a:pPr>
                      <a:r>
                        <a:rPr sz="600">
                          <a:latin typeface="Nexa Book"/>
                        </a:rPr>
                        <a:t>104%</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18</a:t>
                      </a:r>
                    </a:p>
                  </a:txBody>
                  <a:tcPr marL="2858" marR="2858" marT="2858" marB="0" anchor="ctr">
                    <a:noFill/>
                  </a:tcPr>
                </a:tc>
                <a:tc>
                  <a:txBody>
                    <a:bodyPr/>
                    <a:lstStyle/>
                    <a:p>
                      <a:pPr algn="ctr">
                        <a:defRPr sz="600">
                          <a:latin typeface="Nexa Book"/>
                        </a:defRPr>
                      </a:pPr>
                      <a:r>
                        <a:rPr sz="600">
                          <a:latin typeface="Nexa Book"/>
                        </a:rPr>
                        <a:t>641%</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3</a:t>
                      </a:r>
                    </a:p>
                  </a:txBody>
                  <a:tcPr marL="2858" marR="2858" marT="2858" marB="0" anchor="ctr">
                    <a:noFill/>
                  </a:tcPr>
                </a:tc>
                <a:tc>
                  <a:txBody>
                    <a:bodyPr/>
                    <a:lstStyle/>
                    <a:p>
                      <a:pPr algn="ctr">
                        <a:defRPr sz="600">
                          <a:latin typeface="Nexa Book"/>
                        </a:defRPr>
                      </a:pPr>
                      <a:r>
                        <a:rPr sz="600">
                          <a:latin typeface="Nexa Book"/>
                        </a:rPr>
                        <a:t>642</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186</a:t>
                      </a:r>
                    </a:p>
                  </a:txBody>
                  <a:tcPr marL="2858" marR="2858" marT="2858" marB="0" anchor="ctr">
                    <a:noFill/>
                  </a:tcPr>
                </a:tc>
                <a:tc>
                  <a:txBody>
                    <a:bodyPr/>
                    <a:lstStyle/>
                    <a:p>
                      <a:pPr algn="ctr">
                        <a:defRPr sz="600">
                          <a:latin typeface="Nexa Book"/>
                        </a:defRPr>
                      </a:pPr>
                      <a:r>
                        <a:rPr sz="600">
                          <a:latin typeface="Nexa Book"/>
                        </a:rPr>
                        <a:t>94%</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49606115"/>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osés  |  NICOLAS QC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620</a:t>
                      </a:r>
                    </a:p>
                  </a:txBody>
                  <a:tcPr marL="2858" marR="2858" marT="2858" marB="0" anchor="ctr">
                    <a:noFill/>
                  </a:tcPr>
                </a:tc>
                <a:tc>
                  <a:txBody>
                    <a:bodyPr/>
                    <a:lstStyle/>
                    <a:p>
                      <a:pPr algn="ctr">
                        <a:defRPr sz="600">
                          <a:latin typeface="Nexa Book"/>
                        </a:defRPr>
                      </a:pPr>
                      <a:r>
                        <a:rPr sz="600">
                          <a:latin typeface="Nexa Book"/>
                        </a:rPr>
                        <a:t>201%</a:t>
                      </a:r>
                    </a:p>
                  </a:txBody>
                  <a:tcPr marL="2858" marR="2858" marT="2858" marB="0" anchor="ctr">
                    <a:noFill/>
                  </a:tcPr>
                </a:tc>
                <a:tc>
                  <a:txBody>
                    <a:bodyPr/>
                    <a:lstStyle/>
                    <a:p>
                      <a:pPr algn="ctr">
                        <a:defRPr sz="600">
                          <a:latin typeface="Nexa Book"/>
                        </a:defRPr>
                      </a:pPr>
                      <a:r>
                        <a:rPr sz="600">
                          <a:latin typeface="Nexa Book"/>
                        </a:rPr>
                        <a:t>273%</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278%</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1</a:t>
                      </a:r>
                    </a:p>
                  </a:txBody>
                  <a:tcPr marL="2858" marR="2858" marT="2858" marB="0" anchor="ctr">
                    <a:noFill/>
                  </a:tcPr>
                </a:tc>
                <a:tc>
                  <a:txBody>
                    <a:bodyPr/>
                    <a:lstStyle/>
                    <a:p>
                      <a:pPr algn="ctr">
                        <a:defRPr sz="600">
                          <a:latin typeface="Nexa Book"/>
                        </a:defRPr>
                      </a:pPr>
                      <a:r>
                        <a:rPr sz="600">
                          <a:latin typeface="Nexa Book"/>
                        </a:rPr>
                        <a:t>641</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209</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3725705"/>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NICOLAS QC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37.03</a:t>
                      </a:r>
                    </a:p>
                  </a:txBody>
                  <a:tcPr marL="2858" marR="2858" marT="2858" marB="0" anchor="ctr">
                    <a:noFill/>
                  </a:tcPr>
                </a:tc>
                <a:tc>
                  <a:txBody>
                    <a:bodyPr/>
                    <a:lstStyle/>
                    <a:p>
                      <a:pPr algn="ctr">
                        <a:defRPr sz="600">
                          <a:latin typeface="Nexa Book"/>
                        </a:defRPr>
                      </a:pPr>
                      <a:r>
                        <a:rPr sz="600">
                          <a:latin typeface="Nexa Book"/>
                        </a:rPr>
                        <a:t> 26.00</a:t>
                      </a:r>
                    </a:p>
                  </a:txBody>
                  <a:tcPr marL="2858" marR="2858" marT="2858" marB="0" anchor="ctr">
                    <a:noFill/>
                  </a:tcPr>
                </a:tc>
                <a:tc>
                  <a:txBody>
                    <a:bodyPr/>
                    <a:lstStyle/>
                    <a:p>
                      <a:pPr algn="ctr">
                        <a:defRPr sz="600">
                          <a:latin typeface="Nexa Book"/>
                        </a:defRPr>
                      </a:pPr>
                      <a:r>
                        <a:rPr sz="600">
                          <a:latin typeface="Nexa Book"/>
                        </a:rPr>
                        <a:t>702</a:t>
                      </a:r>
                    </a:p>
                  </a:txBody>
                  <a:tcPr marL="2858" marR="2858" marT="2858" marB="0" anchor="ctr">
                    <a:noFill/>
                  </a:tcPr>
                </a:tc>
                <a:tc>
                  <a:txBody>
                    <a:bodyPr/>
                    <a:lstStyle/>
                    <a:p>
                      <a:pPr algn="ctr">
                        <a:defRPr sz="600">
                          <a:latin typeface="Nexa Book"/>
                        </a:defRPr>
                      </a:pPr>
                      <a:r>
                        <a:rPr sz="600">
                          <a:latin typeface="Nexa Book"/>
                        </a:rPr>
                        <a:t>527%</a:t>
                      </a:r>
                    </a:p>
                  </a:txBody>
                  <a:tcPr marL="2858" marR="2858" marT="2858" marB="0" anchor="ctr">
                    <a:noFill/>
                  </a:tcPr>
                </a:tc>
                <a:tc>
                  <a:txBody>
                    <a:bodyPr/>
                    <a:lstStyle/>
                    <a:p>
                      <a:pPr algn="ctr">
                        <a:defRPr sz="600">
                          <a:latin typeface="Nexa Book"/>
                        </a:defRPr>
                      </a:pPr>
                      <a:r>
                        <a:rPr sz="600">
                          <a:latin typeface="Nexa Book"/>
                        </a:rPr>
                        <a:t>950%</a:t>
                      </a:r>
                    </a:p>
                  </a:txBody>
                  <a:tcPr marL="2858" marR="2858" marT="2858" marB="0" anchor="ctr">
                    <a:noFill/>
                  </a:tcPr>
                </a:tc>
                <a:tc>
                  <a:txBody>
                    <a:bodyPr/>
                    <a:lstStyle/>
                    <a:p>
                      <a:pPr algn="ctr">
                        <a:defRPr sz="600">
                          <a:latin typeface="Nexa Book"/>
                        </a:defRPr>
                      </a:pPr>
                      <a:r>
                        <a:rPr sz="600">
                          <a:latin typeface="Nexa Book"/>
                        </a:rPr>
                        <a:t>59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 37.11</a:t>
                      </a:r>
                    </a:p>
                  </a:txBody>
                  <a:tcPr marL="2858" marR="2858" marT="2858" marB="0" anchor="ctr">
                    <a:noFill/>
                  </a:tcPr>
                </a:tc>
                <a:tc>
                  <a:txBody>
                    <a:bodyPr/>
                    <a:lstStyle/>
                    <a:p>
                      <a:pPr algn="ctr">
                        <a:defRPr sz="600">
                          <a:latin typeface="Nexa Book"/>
                        </a:defRPr>
                      </a:pPr>
                      <a:r>
                        <a:rPr sz="600">
                          <a:latin typeface="Nexa Book"/>
                        </a:rPr>
                        <a:t> 26.46</a:t>
                      </a:r>
                    </a:p>
                  </a:txBody>
                  <a:tcPr marL="2858" marR="2858" marT="2858" marB="0" anchor="ctr">
                    <a:noFill/>
                  </a:tcPr>
                </a:tc>
                <a:tc>
                  <a:txBody>
                    <a:bodyPr/>
                    <a:lstStyle/>
                    <a:p>
                      <a:pPr algn="ctr">
                        <a:defRPr sz="600">
                          <a:latin typeface="Nexa Book"/>
                        </a:defRPr>
                      </a:pPr>
                      <a:r>
                        <a:rPr sz="600">
                          <a:latin typeface="Nexa Book"/>
                        </a:rPr>
                        <a:t>688</a:t>
                      </a:r>
                    </a:p>
                  </a:txBody>
                  <a:tcPr marL="2858" marR="2858" marT="2858" marB="0" anchor="ctr">
                    <a:noFill/>
                  </a:tcPr>
                </a:tc>
                <a:tc>
                  <a:txBody>
                    <a:bodyPr/>
                    <a:lstStyle/>
                    <a:p>
                      <a:pPr algn="ctr">
                        <a:defRPr sz="600">
                          <a:latin typeface="Nexa Book"/>
                        </a:defRPr>
                      </a:pPr>
                      <a:r>
                        <a:rPr sz="600">
                          <a:latin typeface="Nexa Book"/>
                        </a:rPr>
                        <a:t>266%</a:t>
                      </a:r>
                    </a:p>
                  </a:txBody>
                  <a:tcPr marL="2858" marR="2858" marT="2858" marB="0" anchor="ctr">
                    <a:noFill/>
                  </a:tcPr>
                </a:tc>
                <a:tc>
                  <a:txBody>
                    <a:bodyPr/>
                    <a:lstStyle/>
                    <a:p>
                      <a:pPr algn="ctr">
                        <a:defRPr sz="600">
                          <a:latin typeface="Nexa Book"/>
                        </a:defRPr>
                      </a:pPr>
                      <a:r>
                        <a:rPr sz="600">
                          <a:latin typeface="Nexa Book"/>
                        </a:rPr>
                        <a:t>375%</a:t>
                      </a:r>
                    </a:p>
                  </a:txBody>
                  <a:tcPr marL="2858" marR="2858" marT="2858" marB="0" anchor="ctr">
                    <a:noFill/>
                  </a:tcPr>
                </a:tc>
                <a:tc>
                  <a:txBody>
                    <a:bodyPr/>
                    <a:lstStyle/>
                    <a:p>
                      <a:pPr algn="ctr">
                        <a:defRPr sz="600">
                          <a:latin typeface="Nexa Book"/>
                        </a:defRPr>
                      </a:pPr>
                      <a:r>
                        <a:rPr sz="600">
                          <a:latin typeface="Nexa Book"/>
                        </a:rPr>
                        <a:t>500</a:t>
                      </a:r>
                    </a:p>
                  </a:txBody>
                  <a:tcPr marL="2858" marR="2858" marT="2858" marB="0" anchor="ctr">
                    <a:noFill/>
                  </a:tcPr>
                </a:tc>
                <a:tc>
                  <a:txBody>
                    <a:bodyPr/>
                    <a:lstStyle/>
                    <a:p>
                      <a:pPr algn="ctr">
                        <a:defRPr sz="600">
                          <a:latin typeface="Nexa Book"/>
                        </a:defRPr>
                      </a:pPr>
                      <a:r>
                        <a:rPr sz="600">
                          <a:latin typeface="Nexa Book"/>
                        </a:rPr>
                        <a:t>24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38004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osé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3"/>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Ruinart</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6,0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Deutz</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9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Laurent Perri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Demoisell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6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Pomme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2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Nicola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405272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NICOLAS IDF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05</a:t>
                      </a:r>
                    </a:p>
                  </a:txBody>
                  <a:tcPr marL="2858" marR="2858" marT="2858" marB="0" anchor="ctr">
                    <a:noFill/>
                  </a:tcPr>
                </a:tc>
                <a:tc>
                  <a:txBody>
                    <a:bodyPr/>
                    <a:lstStyle/>
                    <a:p>
                      <a:pPr algn="ctr">
                        <a:defRPr sz="600">
                          <a:latin typeface="Nexa Book"/>
                        </a:defRPr>
                      </a:pPr>
                      <a:r>
                        <a:rPr sz="600">
                          <a:latin typeface="Nexa Book"/>
                        </a:rPr>
                        <a:t> 26.32</a:t>
                      </a:r>
                    </a:p>
                  </a:txBody>
                  <a:tcPr marL="2858" marR="2858" marT="2858" marB="0" anchor="ctr">
                    <a:noFill/>
                  </a:tcPr>
                </a:tc>
                <a:tc>
                  <a:txBody>
                    <a:bodyPr/>
                    <a:lstStyle/>
                    <a:p>
                      <a:pPr algn="ctr">
                        <a:defRPr sz="600">
                          <a:latin typeface="Nexa Book"/>
                        </a:defRPr>
                      </a:pPr>
                      <a:r>
                        <a:rPr sz="600">
                          <a:latin typeface="Nexa Book"/>
                        </a:rPr>
                        <a:t>9'634</a:t>
                      </a:r>
                    </a:p>
                  </a:txBody>
                  <a:tcPr marL="2858" marR="2858" marT="2858" marB="0" anchor="ctr">
                    <a:noFill/>
                  </a:tcPr>
                </a:tc>
                <a:tc>
                  <a:txBody>
                    <a:bodyPr/>
                    <a:lstStyle/>
                    <a:p>
                      <a:pPr algn="ctr">
                        <a:defRPr sz="600">
                          <a:latin typeface="Nexa Book"/>
                        </a:defRPr>
                      </a:pPr>
                      <a:r>
                        <a:rPr sz="600">
                          <a:latin typeface="Nexa Book"/>
                        </a:rPr>
                        <a:t>701%</a:t>
                      </a:r>
                    </a:p>
                  </a:txBody>
                  <a:tcPr marL="2858" marR="2858" marT="2858" marB="0" anchor="ctr">
                    <a:noFill/>
                  </a:tcPr>
                </a:tc>
                <a:tc>
                  <a:txBody>
                    <a:bodyPr/>
                    <a:lstStyle/>
                    <a:p>
                      <a:pPr algn="ctr">
                        <a:defRPr sz="600">
                          <a:latin typeface="Nexa Book"/>
                        </a:defRPr>
                      </a:pPr>
                      <a:r>
                        <a:rPr sz="600">
                          <a:latin typeface="Nexa Book"/>
                        </a:rPr>
                        <a:t>973%</a:t>
                      </a:r>
                    </a:p>
                  </a:txBody>
                  <a:tcPr marL="2858" marR="2858" marT="2858" marB="0" anchor="ctr">
                    <a:noFill/>
                  </a:tcPr>
                </a:tc>
                <a:tc>
                  <a:txBody>
                    <a:bodyPr/>
                    <a:lstStyle/>
                    <a:p>
                      <a:pPr algn="ctr">
                        <a:defRPr sz="600">
                          <a:latin typeface="Nexa Book"/>
                        </a:defRPr>
                      </a:pPr>
                      <a:r>
                        <a:rPr sz="600">
                          <a:latin typeface="Nexa Book"/>
                        </a:rPr>
                        <a:t>8594</a:t>
                      </a:r>
                    </a:p>
                  </a:txBody>
                  <a:tcPr marL="2858" marR="2858" marT="2858" marB="0" anchor="ctr">
                    <a:noFill/>
                  </a:tcPr>
                </a:tc>
                <a:tc>
                  <a:txBody>
                    <a:bodyPr/>
                    <a:lstStyle/>
                    <a:p>
                      <a:pPr algn="ctr">
                        <a:defRPr sz="600">
                          <a:latin typeface="Nexa Book"/>
                        </a:defRPr>
                      </a:pPr>
                      <a:r>
                        <a:rPr sz="600">
                          <a:latin typeface="Nexa Book"/>
                        </a:rPr>
                        <a:t>258%</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05</a:t>
                      </a:r>
                    </a:p>
                  </a:txBody>
                  <a:tcPr marL="2858" marR="2858" marT="2858" marB="0" anchor="ctr">
                    <a:noFill/>
                  </a:tcPr>
                </a:tc>
                <a:tc>
                  <a:txBody>
                    <a:bodyPr/>
                    <a:lstStyle/>
                    <a:p>
                      <a:pPr algn="ctr">
                        <a:defRPr sz="600">
                          <a:latin typeface="Nexa Book"/>
                        </a:defRPr>
                      </a:pPr>
                      <a:r>
                        <a:rPr sz="600">
                          <a:latin typeface="Nexa Book"/>
                        </a:rPr>
                        <a:t> 26.18</a:t>
                      </a:r>
                    </a:p>
                  </a:txBody>
                  <a:tcPr marL="2858" marR="2858" marT="2858" marB="0" anchor="ctr">
                    <a:noFill/>
                  </a:tcPr>
                </a:tc>
                <a:tc>
                  <a:txBody>
                    <a:bodyPr/>
                    <a:lstStyle/>
                    <a:p>
                      <a:pPr algn="ctr">
                        <a:defRPr sz="600">
                          <a:latin typeface="Nexa Book"/>
                        </a:defRPr>
                      </a:pPr>
                      <a:r>
                        <a:rPr sz="600">
                          <a:latin typeface="Nexa Book"/>
                        </a:rPr>
                        <a:t>4'764</a:t>
                      </a:r>
                    </a:p>
                  </a:txBody>
                  <a:tcPr marL="2858" marR="2858" marT="2858" marB="0" anchor="ctr">
                    <a:noFill/>
                  </a:tcPr>
                </a:tc>
                <a:tc>
                  <a:txBody>
                    <a:bodyPr/>
                    <a:lstStyle/>
                    <a:p>
                      <a:pPr algn="ctr">
                        <a:defRPr sz="600">
                          <a:latin typeface="Nexa Book"/>
                        </a:defRPr>
                      </a:pPr>
                      <a:r>
                        <a:rPr sz="600">
                          <a:latin typeface="Nexa Book"/>
                        </a:rPr>
                        <a:t>539%</a:t>
                      </a:r>
                    </a:p>
                  </a:txBody>
                  <a:tcPr marL="2858" marR="2858" marT="2858" marB="0" anchor="ctr">
                    <a:noFill/>
                  </a:tcPr>
                </a:tc>
                <a:tc>
                  <a:txBody>
                    <a:bodyPr/>
                    <a:lstStyle/>
                    <a:p>
                      <a:pPr algn="ctr">
                        <a:defRPr sz="600">
                          <a:latin typeface="Nexa Book"/>
                        </a:defRPr>
                      </a:pPr>
                      <a:r>
                        <a:rPr sz="600">
                          <a:latin typeface="Nexa Book"/>
                        </a:rPr>
                        <a:t>833%</a:t>
                      </a:r>
                    </a:p>
                  </a:txBody>
                  <a:tcPr marL="2858" marR="2858" marT="2858" marB="0" anchor="ctr">
                    <a:noFill/>
                  </a:tcPr>
                </a:tc>
                <a:tc>
                  <a:txBody>
                    <a:bodyPr/>
                    <a:lstStyle/>
                    <a:p>
                      <a:pPr algn="ctr">
                        <a:defRPr sz="600">
                          <a:latin typeface="Nexa Book"/>
                        </a:defRPr>
                      </a:pPr>
                      <a:r>
                        <a:rPr sz="600">
                          <a:latin typeface="Nexa Book"/>
                        </a:rPr>
                        <a:t>4171</a:t>
                      </a:r>
                    </a:p>
                  </a:txBody>
                  <a:tcPr marL="2858" marR="2858" marT="2858" marB="0" anchor="ctr">
                    <a:noFill/>
                  </a:tcPr>
                </a:tc>
                <a:tc>
                  <a:txBody>
                    <a:bodyPr/>
                    <a:lstStyle/>
                    <a:p>
                      <a:pPr algn="ctr">
                        <a:defRPr sz="600">
                          <a:latin typeface="Nexa Book"/>
                        </a:defRPr>
                      </a:pPr>
                      <a:r>
                        <a:rPr sz="600">
                          <a:latin typeface="Nexa Book"/>
                        </a:rPr>
                        <a:t>182%</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919857817"/>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04</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796</a:t>
                      </a:r>
                    </a:p>
                  </a:txBody>
                  <a:tcPr marL="2858" marR="2858" marT="2858" marB="0" anchor="ctr">
                    <a:noFill/>
                  </a:tcPr>
                </a:tc>
                <a:tc>
                  <a:txBody>
                    <a:bodyPr/>
                    <a:lstStyle/>
                    <a:p>
                      <a:pPr algn="ctr">
                        <a:defRPr sz="600">
                          <a:latin typeface="Nexa Book"/>
                        </a:defRPr>
                      </a:pPr>
                      <a:r>
                        <a:rPr sz="600">
                          <a:latin typeface="Nexa Book"/>
                        </a:rPr>
                        <a:t>255%</a:t>
                      </a:r>
                    </a:p>
                  </a:txBody>
                  <a:tcPr marL="2858" marR="2858" marT="2858" marB="0" anchor="ctr">
                    <a:noFill/>
                  </a:tcPr>
                </a:tc>
                <a:tc>
                  <a:txBody>
                    <a:bodyPr/>
                    <a:lstStyle/>
                    <a:p>
                      <a:pPr algn="ctr">
                        <a:defRPr sz="600">
                          <a:latin typeface="Nexa Book"/>
                        </a:defRPr>
                      </a:pPr>
                      <a:r>
                        <a:rPr sz="600">
                          <a:latin typeface="Nexa Book"/>
                        </a:rPr>
                        <a:t>283%</a:t>
                      </a:r>
                    </a:p>
                  </a:txBody>
                  <a:tcPr marL="2858" marR="2858" marT="2858" marB="0" anchor="ctr">
                    <a:noFill/>
                  </a:tcPr>
                </a:tc>
                <a:tc>
                  <a:txBody>
                    <a:bodyPr/>
                    <a:lstStyle/>
                    <a:p>
                      <a:pPr algn="ctr">
                        <a:defRPr sz="600">
                          <a:latin typeface="Nexa Book"/>
                        </a:defRPr>
                      </a:pPr>
                      <a:r>
                        <a:rPr sz="600">
                          <a:latin typeface="Nexa Book"/>
                        </a:rPr>
                        <a:t>572</a:t>
                      </a:r>
                    </a:p>
                  </a:txBody>
                  <a:tcPr marL="2858" marR="2858" marT="2858" marB="0" anchor="ctr">
                    <a:noFill/>
                  </a:tcPr>
                </a:tc>
                <a:tc>
                  <a:txBody>
                    <a:bodyPr/>
                    <a:lstStyle/>
                    <a:p>
                      <a:pPr algn="ctr">
                        <a:defRPr sz="600">
                          <a:latin typeface="Nexa Book"/>
                        </a:defRPr>
                      </a:pPr>
                      <a:r>
                        <a:rPr sz="600">
                          <a:latin typeface="Nexa Book"/>
                        </a:rPr>
                        <a:t>91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37.14</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11835358"/>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ruts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41.76</a:t>
                      </a:r>
                    </a:p>
                  </a:txBody>
                  <a:tcPr marL="2858" marR="2858" marT="2858" marB="0" anchor="ctr">
                    <a:noFill/>
                  </a:tcPr>
                </a:tc>
                <a:tc>
                  <a:txBody>
                    <a:bodyPr/>
                    <a:lstStyle/>
                    <a:p>
                      <a:pPr algn="ctr">
                        <a:defRPr sz="600">
                          <a:latin typeface="Nexa Book"/>
                        </a:defRPr>
                      </a:pPr>
                      <a:r>
                        <a:rPr sz="600">
                          <a:latin typeface="Nexa Book"/>
                        </a:rPr>
                        <a:t> 26.57</a:t>
                      </a:r>
                    </a:p>
                  </a:txBody>
                  <a:tcPr marL="2858" marR="2858" marT="2858" marB="0" anchor="ctr">
                    <a:noFill/>
                  </a:tcPr>
                </a:tc>
                <a:tc>
                  <a:txBody>
                    <a:bodyPr/>
                    <a:lstStyle/>
                    <a:p>
                      <a:pPr algn="ctr">
                        <a:defRPr sz="600">
                          <a:latin typeface="Nexa Book"/>
                        </a:defRPr>
                      </a:pPr>
                      <a:r>
                        <a:rPr sz="600">
                          <a:latin typeface="Nexa Book"/>
                        </a:rPr>
                        <a:t>5'527</a:t>
                      </a:r>
                    </a:p>
                  </a:txBody>
                  <a:tcPr marL="2858" marR="2858" marT="2858" marB="0" anchor="ctr">
                    <a:noFill/>
                  </a:tcPr>
                </a:tc>
                <a:tc>
                  <a:txBody>
                    <a:bodyPr/>
                    <a:lstStyle/>
                    <a:p>
                      <a:pPr algn="ctr">
                        <a:defRPr sz="600">
                          <a:latin typeface="Nexa Book"/>
                        </a:defRPr>
                      </a:pPr>
                      <a:r>
                        <a:rPr sz="600">
                          <a:latin typeface="Nexa Book"/>
                        </a:rPr>
                        <a:t>789%</a:t>
                      </a:r>
                    </a:p>
                  </a:txBody>
                  <a:tcPr marL="2858" marR="2858" marT="2858" marB="0" anchor="ctr">
                    <a:noFill/>
                  </a:tcPr>
                </a:tc>
                <a:tc>
                  <a:txBody>
                    <a:bodyPr/>
                    <a:lstStyle/>
                    <a:p>
                      <a:pPr algn="ctr">
                        <a:defRPr sz="600">
                          <a:latin typeface="Nexa Book"/>
                        </a:defRPr>
                      </a:pPr>
                      <a:r>
                        <a:rPr sz="600">
                          <a:latin typeface="Nexa Book"/>
                        </a:rPr>
                        <a:t>1115%</a:t>
                      </a:r>
                    </a:p>
                  </a:txBody>
                  <a:tcPr marL="2858" marR="2858" marT="2858" marB="0" anchor="ctr">
                    <a:noFill/>
                  </a:tcPr>
                </a:tc>
                <a:tc>
                  <a:txBody>
                    <a:bodyPr/>
                    <a:lstStyle/>
                    <a:p>
                      <a:pPr algn="ctr">
                        <a:defRPr sz="600">
                          <a:latin typeface="Nexa Book"/>
                        </a:defRPr>
                      </a:pPr>
                      <a:r>
                        <a:rPr sz="600">
                          <a:latin typeface="Nexa Book"/>
                        </a:rPr>
                        <a:t>4972</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35887380"/>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03</a:t>
                      </a:r>
                    </a:p>
                  </a:txBody>
                  <a:tcPr marL="2858" marR="2858" marT="2858" marB="0" anchor="ctr">
                    <a:noFill/>
                  </a:tcPr>
                </a:tc>
                <a:tc>
                  <a:txBody>
                    <a:bodyPr/>
                    <a:lstStyle/>
                    <a:p>
                      <a:pPr algn="ctr">
                        <a:defRPr sz="600">
                          <a:latin typeface="Nexa Book"/>
                        </a:defRPr>
                      </a:pPr>
                      <a:r>
                        <a:rPr sz="600">
                          <a:latin typeface="Nexa Book"/>
                        </a:rPr>
                        <a:t>1'562</a:t>
                      </a:r>
                    </a:p>
                  </a:txBody>
                  <a:tcPr marL="2858" marR="2858" marT="2858" marB="0" anchor="ctr">
                    <a:noFill/>
                  </a:tcPr>
                </a:tc>
                <a:tc>
                  <a:txBody>
                    <a:bodyPr/>
                    <a:lstStyle/>
                    <a:p>
                      <a:pPr algn="ctr">
                        <a:defRPr sz="600">
                          <a:latin typeface="Nexa Book"/>
                        </a:defRPr>
                      </a:pPr>
                      <a:r>
                        <a:rPr sz="600">
                          <a:latin typeface="Nexa Book"/>
                        </a:rPr>
                        <a:t>614%</a:t>
                      </a:r>
                    </a:p>
                  </a:txBody>
                  <a:tcPr marL="2858" marR="2858" marT="2858" marB="0" anchor="ctr">
                    <a:noFill/>
                  </a:tcPr>
                </a:tc>
                <a:tc>
                  <a:txBody>
                    <a:bodyPr/>
                    <a:lstStyle/>
                    <a:p>
                      <a:pPr algn="ctr">
                        <a:defRPr sz="600">
                          <a:latin typeface="Nexa Book"/>
                        </a:defRPr>
                      </a:pPr>
                      <a:r>
                        <a:rPr sz="600">
                          <a:latin typeface="Nexa Book"/>
                        </a:rPr>
                        <a:t>683%</a:t>
                      </a:r>
                    </a:p>
                  </a:txBody>
                  <a:tcPr marL="2858" marR="2858" marT="2858" marB="0" anchor="ctr">
                    <a:noFill/>
                  </a:tcPr>
                </a:tc>
                <a:tc>
                  <a:txBody>
                    <a:bodyPr/>
                    <a:lstStyle/>
                    <a:p>
                      <a:pPr algn="ctr">
                        <a:defRPr sz="600">
                          <a:latin typeface="Nexa Book"/>
                        </a:defRPr>
                      </a:pPr>
                      <a:r>
                        <a:rPr sz="600">
                          <a:latin typeface="Nexa Book"/>
                        </a:rPr>
                        <a:t>1375</a:t>
                      </a:r>
                    </a:p>
                  </a:txBody>
                  <a:tcPr marL="2858" marR="2858" marT="2858" marB="0" anchor="ctr">
                    <a:noFill/>
                  </a:tcPr>
                </a:tc>
                <a:tc>
                  <a:txBody>
                    <a:bodyPr/>
                    <a:lstStyle/>
                    <a:p>
                      <a:pPr algn="ctr">
                        <a:defRPr sz="600">
                          <a:latin typeface="Nexa Book"/>
                        </a:defRPr>
                      </a:pPr>
                      <a:r>
                        <a:rPr sz="600">
                          <a:latin typeface="Nexa Book"/>
                        </a:rPr>
                        <a:t>885%</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17</a:t>
                      </a:r>
                    </a:p>
                  </a:txBody>
                  <a:tcPr marL="2858" marR="2858" marT="2858" marB="0" anchor="ctr">
                    <a:noFill/>
                  </a:tcPr>
                </a:tc>
                <a:tc>
                  <a:txBody>
                    <a:bodyPr/>
                    <a:lstStyle/>
                    <a:p>
                      <a:pPr algn="ctr">
                        <a:defRPr sz="600">
                          <a:latin typeface="Nexa Book"/>
                        </a:defRPr>
                      </a:pPr>
                      <a:r>
                        <a:rPr sz="600">
                          <a:latin typeface="Nexa Book"/>
                        </a:rPr>
                        <a:t> 25.94</a:t>
                      </a:r>
                    </a:p>
                  </a:txBody>
                  <a:tcPr marL="2858" marR="2858" marT="2858" marB="0" anchor="ctr">
                    <a:noFill/>
                  </a:tcPr>
                </a:tc>
                <a:tc>
                  <a:txBody>
                    <a:bodyPr/>
                    <a:lstStyle/>
                    <a:p>
                      <a:pPr algn="ctr">
                        <a:defRPr sz="600">
                          <a:latin typeface="Nexa Book"/>
                        </a:defRPr>
                      </a:pPr>
                      <a:r>
                        <a:rPr sz="600">
                          <a:latin typeface="Nexa Book"/>
                        </a:rPr>
                        <a:t>1'297</a:t>
                      </a:r>
                    </a:p>
                  </a:txBody>
                  <a:tcPr marL="2858" marR="2858" marT="2858" marB="0" anchor="ctr">
                    <a:noFill/>
                  </a:tcPr>
                </a:tc>
                <a:tc>
                  <a:txBody>
                    <a:bodyPr/>
                    <a:lstStyle/>
                    <a:p>
                      <a:pPr algn="ctr">
                        <a:defRPr sz="600">
                          <a:latin typeface="Nexa Book"/>
                        </a:defRPr>
                      </a:pPr>
                      <a:r>
                        <a:rPr sz="600">
                          <a:latin typeface="Nexa Book"/>
                        </a:rPr>
                        <a:t>590%</a:t>
                      </a:r>
                    </a:p>
                  </a:txBody>
                  <a:tcPr marL="2858" marR="2858" marT="2858" marB="0" anchor="ctr">
                    <a:noFill/>
                  </a:tcPr>
                </a:tc>
                <a:tc>
                  <a:txBody>
                    <a:bodyPr/>
                    <a:lstStyle/>
                    <a:p>
                      <a:pPr algn="ctr">
                        <a:defRPr sz="600">
                          <a:latin typeface="Nexa Book"/>
                        </a:defRPr>
                      </a:pPr>
                      <a:r>
                        <a:rPr sz="600">
                          <a:latin typeface="Nexa Book"/>
                        </a:rPr>
                        <a:t>850%</a:t>
                      </a:r>
                    </a:p>
                  </a:txBody>
                  <a:tcPr marL="2858" marR="2858" marT="2858" marB="0" anchor="ctr">
                    <a:noFill/>
                  </a:tcPr>
                </a:tc>
                <a:tc>
                  <a:txBody>
                    <a:bodyPr/>
                    <a:lstStyle/>
                    <a:p>
                      <a:pPr algn="ctr">
                        <a:defRPr sz="600">
                          <a:latin typeface="Nexa Book"/>
                        </a:defRPr>
                      </a:pPr>
                      <a:r>
                        <a:rPr sz="600">
                          <a:latin typeface="Nexa Book"/>
                        </a:rPr>
                        <a:t>1109</a:t>
                      </a:r>
                    </a:p>
                  </a:txBody>
                  <a:tcPr marL="2858" marR="2858" marT="2858" marB="0" anchor="ctr">
                    <a:noFill/>
                  </a:tcPr>
                </a:tc>
                <a:tc>
                  <a:txBody>
                    <a:bodyPr/>
                    <a:lstStyle/>
                    <a:p>
                      <a:pPr algn="ctr">
                        <a:defRPr sz="600">
                          <a:latin typeface="Nexa Book"/>
                        </a:defRPr>
                      </a:pPr>
                      <a:r>
                        <a:rPr sz="600">
                          <a:latin typeface="Nexa Book"/>
                        </a:rPr>
                        <a:t>227%</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8377772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Italiens | NICOLAS QC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Bottega</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Savia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1809275"/>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Crus  |  CA 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37.08</a:t>
                      </a:r>
                    </a:p>
                  </a:txBody>
                  <a:tcPr marL="2858" marR="2858" marT="2858" marB="0" anchor="ctr">
                    <a:noFill/>
                  </a:tcPr>
                </a:tc>
                <a:tc>
                  <a:txBody>
                    <a:bodyPr/>
                    <a:lstStyle/>
                    <a:p>
                      <a:pPr algn="ctr">
                        <a:defRPr sz="600">
                          <a:latin typeface="Nexa Book"/>
                        </a:defRPr>
                      </a:pPr>
                      <a:r>
                        <a:rPr sz="600">
                          <a:latin typeface="Nexa Book"/>
                        </a:rPr>
                        <a:t> 26.74</a:t>
                      </a:r>
                    </a:p>
                  </a:txBody>
                  <a:tcPr marL="2858" marR="2858" marT="2858" marB="0" anchor="ctr">
                    <a:noFill/>
                  </a:tcPr>
                </a:tc>
                <a:tc>
                  <a:txBody>
                    <a:bodyPr/>
                    <a:lstStyle/>
                    <a:p>
                      <a:pPr algn="ctr">
                        <a:defRPr sz="600">
                          <a:latin typeface="Nexa Book"/>
                        </a:defRPr>
                      </a:pPr>
                      <a:r>
                        <a:rPr sz="600">
                          <a:latin typeface="Nexa Book"/>
                        </a:rPr>
                        <a:t>2'594</a:t>
                      </a:r>
                    </a:p>
                  </a:txBody>
                  <a:tcPr marL="2858" marR="2858" marT="2858" marB="0" anchor="ctr">
                    <a:noFill/>
                  </a:tcPr>
                </a:tc>
                <a:tc>
                  <a:txBody>
                    <a:bodyPr/>
                    <a:lstStyle/>
                    <a:p>
                      <a:pPr algn="ctr">
                        <a:defRPr sz="600">
                          <a:latin typeface="Nexa Book"/>
                        </a:defRPr>
                      </a:pPr>
                      <a:r>
                        <a:rPr sz="600">
                          <a:latin typeface="Nexa Book"/>
                        </a:rPr>
                        <a:t>545%</a:t>
                      </a:r>
                    </a:p>
                  </a:txBody>
                  <a:tcPr marL="2858" marR="2858" marT="2858" marB="0" anchor="ctr">
                    <a:noFill/>
                  </a:tcPr>
                </a:tc>
                <a:tc>
                  <a:txBody>
                    <a:bodyPr/>
                    <a:lstStyle/>
                    <a:p>
                      <a:pPr algn="ctr">
                        <a:defRPr sz="600">
                          <a:latin typeface="Nexa Book"/>
                        </a:defRPr>
                      </a:pPr>
                      <a:r>
                        <a:rPr sz="600">
                          <a:latin typeface="Nexa Book"/>
                        </a:rPr>
                        <a:t>650%</a:t>
                      </a:r>
                    </a:p>
                  </a:txBody>
                  <a:tcPr marL="2858" marR="2858" marT="2858" marB="0" anchor="ctr">
                    <a:noFill/>
                  </a:tcPr>
                </a:tc>
                <a:tc>
                  <a:txBody>
                    <a:bodyPr/>
                    <a:lstStyle/>
                    <a:p>
                      <a:pPr algn="ctr">
                        <a:defRPr sz="600">
                          <a:latin typeface="Nexa Book"/>
                        </a:defRPr>
                      </a:pPr>
                      <a:r>
                        <a:rPr sz="600">
                          <a:latin typeface="Nexa Book"/>
                        </a:rPr>
                        <a:t>2223</a:t>
                      </a:r>
                    </a:p>
                  </a:txBody>
                  <a:tcPr marL="2858" marR="2858" marT="2858" marB="0" anchor="ctr">
                    <a:noFill/>
                  </a:tcPr>
                </a:tc>
                <a:tc>
                  <a:txBody>
                    <a:bodyPr/>
                    <a:lstStyle/>
                    <a:p>
                      <a:pPr algn="ctr">
                        <a:defRPr sz="600">
                          <a:latin typeface="Nexa Book"/>
                        </a:defRPr>
                      </a:pPr>
                      <a:r>
                        <a:rPr sz="600">
                          <a:latin typeface="Nexa Book"/>
                        </a:rPr>
                        <a:t>523%</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 37.19</a:t>
                      </a:r>
                    </a:p>
                  </a:txBody>
                  <a:tcPr marL="2858" marR="2858" marT="2858" marB="0" anchor="ctr">
                    <a:noFill/>
                  </a:tcPr>
                </a:tc>
                <a:tc>
                  <a:txBody>
                    <a:bodyPr/>
                    <a:lstStyle/>
                    <a:p>
                      <a:pPr algn="ctr">
                        <a:defRPr sz="600">
                          <a:latin typeface="Nexa Book"/>
                        </a:defRPr>
                      </a:pPr>
                      <a:r>
                        <a:rPr sz="600">
                          <a:latin typeface="Nexa Book"/>
                        </a:rPr>
                        <a:t> 26.44</a:t>
                      </a:r>
                    </a:p>
                  </a:txBody>
                  <a:tcPr marL="2858" marR="2858" marT="2858" marB="0" anchor="ctr">
                    <a:noFill/>
                  </a:tcPr>
                </a:tc>
                <a:tc>
                  <a:txBody>
                    <a:bodyPr/>
                    <a:lstStyle/>
                    <a:p>
                      <a:pPr algn="ctr">
                        <a:defRPr sz="600">
                          <a:latin typeface="Nexa Book"/>
                        </a:defRPr>
                      </a:pPr>
                      <a:r>
                        <a:rPr sz="600">
                          <a:latin typeface="Nexa Book"/>
                        </a:rPr>
                        <a:t>1'560</a:t>
                      </a:r>
                    </a:p>
                  </a:txBody>
                  <a:tcPr marL="2858" marR="2858" marT="2858" marB="0" anchor="ctr">
                    <a:noFill/>
                  </a:tcPr>
                </a:tc>
                <a:tc>
                  <a:txBody>
                    <a:bodyPr/>
                    <a:lstStyle/>
                    <a:p>
                      <a:pPr algn="ctr">
                        <a:defRPr sz="600">
                          <a:latin typeface="Nexa Book"/>
                        </a:defRPr>
                      </a:pPr>
                      <a:r>
                        <a:rPr sz="600">
                          <a:latin typeface="Nexa Book"/>
                        </a:rPr>
                        <a:t>327%</a:t>
                      </a:r>
                    </a:p>
                  </a:txBody>
                  <a:tcPr marL="2858" marR="2858" marT="2858" marB="0" anchor="ctr">
                    <a:noFill/>
                  </a:tcPr>
                </a:tc>
                <a:tc>
                  <a:txBody>
                    <a:bodyPr/>
                    <a:lstStyle/>
                    <a:p>
                      <a:pPr algn="ctr">
                        <a:defRPr sz="600">
                          <a:latin typeface="Nexa Book"/>
                        </a:defRPr>
                      </a:pPr>
                      <a:r>
                        <a:rPr sz="600">
                          <a:latin typeface="Nexa Book"/>
                        </a:rPr>
                        <a:t>360%</a:t>
                      </a:r>
                    </a:p>
                  </a:txBody>
                  <a:tcPr marL="2858" marR="2858" marT="2858" marB="0" anchor="ctr">
                    <a:noFill/>
                  </a:tcPr>
                </a:tc>
                <a:tc>
                  <a:txBody>
                    <a:bodyPr/>
                    <a:lstStyle/>
                    <a:p>
                      <a:pPr algn="ctr">
                        <a:defRPr sz="600">
                          <a:latin typeface="Nexa Book"/>
                        </a:defRPr>
                      </a:pPr>
                      <a:r>
                        <a:rPr sz="600">
                          <a:latin typeface="Nexa Book"/>
                        </a:rPr>
                        <a:t>1223</a:t>
                      </a:r>
                    </a:p>
                  </a:txBody>
                  <a:tcPr marL="2858" marR="2858" marT="2858" marB="0" anchor="ctr">
                    <a:noFill/>
                  </a:tcPr>
                </a:tc>
                <a:tc>
                  <a:txBody>
                    <a:bodyPr/>
                    <a:lstStyle/>
                    <a:p>
                      <a:pPr algn="ctr">
                        <a:defRPr sz="600">
                          <a:latin typeface="Nexa Book"/>
                        </a:defRPr>
                      </a:pPr>
                      <a:r>
                        <a:rPr sz="600">
                          <a:latin typeface="Nexa Book"/>
                        </a:rPr>
                        <a:t>995%</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211385915"/>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1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ruts  |  CA D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37.26</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21'864</a:t>
                      </a:r>
                    </a:p>
                  </a:txBody>
                  <a:tcPr marL="2858" marR="2858" marT="2858" marB="0" anchor="ctr">
                    <a:noFill/>
                  </a:tcPr>
                </a:tc>
                <a:tc>
                  <a:txBody>
                    <a:bodyPr/>
                    <a:lstStyle/>
                    <a:p>
                      <a:pPr algn="ctr">
                        <a:defRPr sz="600">
                          <a:latin typeface="Nexa Book"/>
                        </a:defRPr>
                      </a:pPr>
                      <a:r>
                        <a:rPr sz="600">
                          <a:latin typeface="Nexa Book"/>
                        </a:rPr>
                        <a:t>690%</a:t>
                      </a:r>
                    </a:p>
                  </a:txBody>
                  <a:tcPr marL="2858" marR="2858" marT="2858" marB="0" anchor="ctr">
                    <a:noFill/>
                  </a:tcPr>
                </a:tc>
                <a:tc>
                  <a:txBody>
                    <a:bodyPr/>
                    <a:lstStyle/>
                    <a:p>
                      <a:pPr algn="ctr">
                        <a:defRPr sz="600">
                          <a:latin typeface="Nexa Book"/>
                        </a:defRPr>
                      </a:pPr>
                      <a:r>
                        <a:rPr sz="600">
                          <a:latin typeface="Nexa Book"/>
                        </a:rPr>
                        <a:t>972%</a:t>
                      </a:r>
                    </a:p>
                  </a:txBody>
                  <a:tcPr marL="2858" marR="2858" marT="2858" marB="0" anchor="ctr">
                    <a:noFill/>
                  </a:tcPr>
                </a:tc>
                <a:tc>
                  <a:txBody>
                    <a:bodyPr/>
                    <a:lstStyle/>
                    <a:p>
                      <a:pPr algn="ctr">
                        <a:defRPr sz="600">
                          <a:latin typeface="Nexa Book"/>
                        </a:defRPr>
                      </a:pPr>
                      <a:r>
                        <a:rPr sz="600">
                          <a:latin typeface="Nexa Book"/>
                        </a:rPr>
                        <a:t>20970</a:t>
                      </a:r>
                    </a:p>
                  </a:txBody>
                  <a:tcPr marL="2858" marR="2858" marT="2858" marB="0" anchor="ctr">
                    <a:noFill/>
                  </a:tcPr>
                </a:tc>
                <a:tc>
                  <a:txBody>
                    <a:bodyPr/>
                    <a:lstStyle/>
                    <a:p>
                      <a:pPr algn="ctr">
                        <a:defRPr sz="600">
                          <a:latin typeface="Nexa Book"/>
                        </a:defRPr>
                      </a:pPr>
                      <a:r>
                        <a:rPr sz="600">
                          <a:latin typeface="Nexa Book"/>
                        </a:rPr>
                        <a:t>235%</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 37.19</a:t>
                      </a:r>
                    </a:p>
                  </a:txBody>
                  <a:tcPr marL="2858" marR="2858" marT="2858" marB="0" anchor="ctr">
                    <a:noFill/>
                  </a:tcPr>
                </a:tc>
                <a:tc>
                  <a:txBody>
                    <a:bodyPr/>
                    <a:lstStyle/>
                    <a:p>
                      <a:pPr algn="ctr">
                        <a:defRPr sz="600">
                          <a:latin typeface="Nexa Book"/>
                        </a:defRPr>
                      </a:pPr>
                      <a:r>
                        <a:rPr sz="600">
                          <a:latin typeface="Nexa Book"/>
                        </a:rPr>
                        <a:t> 25.85</a:t>
                      </a:r>
                    </a:p>
                  </a:txBody>
                  <a:tcPr marL="2858" marR="2858" marT="2858" marB="0" anchor="ctr">
                    <a:noFill/>
                  </a:tcPr>
                </a:tc>
                <a:tc>
                  <a:txBody>
                    <a:bodyPr/>
                    <a:lstStyle/>
                    <a:p>
                      <a:pPr algn="ctr">
                        <a:defRPr sz="600">
                          <a:latin typeface="Nexa Book"/>
                        </a:defRPr>
                      </a:pPr>
                      <a:r>
                        <a:rPr sz="600">
                          <a:latin typeface="Nexa Book"/>
                        </a:rPr>
                        <a:t>1'008</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867%</a:t>
                      </a:r>
                    </a:p>
                  </a:txBody>
                  <a:tcPr marL="2858" marR="2858" marT="2858" marB="0" anchor="ctr">
                    <a:noFill/>
                  </a:tcPr>
                </a:tc>
                <a:tc>
                  <a:txBody>
                    <a:bodyPr/>
                    <a:lstStyle/>
                    <a:p>
                      <a:pPr algn="ctr">
                        <a:defRPr sz="600">
                          <a:latin typeface="Nexa Book"/>
                        </a:defRPr>
                      </a:pPr>
                      <a:r>
                        <a:rPr sz="600">
                          <a:latin typeface="Nexa Book"/>
                        </a:rPr>
                        <a:t>896</a:t>
                      </a:r>
                    </a:p>
                  </a:txBody>
                  <a:tcPr marL="2858" marR="2858" marT="2858" marB="0" anchor="ctr">
                    <a:noFill/>
                  </a:tcPr>
                </a:tc>
                <a:tc>
                  <a:txBody>
                    <a:bodyPr/>
                    <a:lstStyle/>
                    <a:p>
                      <a:pPr algn="ctr">
                        <a:defRPr sz="600">
                          <a:latin typeface="Nexa Book"/>
                        </a:defRPr>
                      </a:pPr>
                      <a:r>
                        <a:rPr sz="600">
                          <a:latin typeface="Nexa Book"/>
                        </a:rPr>
                        <a:t>120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AB0D0327-F2B8-3A53-EB87-60EAADA3D437}"/>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72966844"/>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Effervescents  |  NICOLAS QC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75"/>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5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1</a:t>
                      </a:r>
                    </a:p>
                  </a:txBody>
                  <a:tcPr marL="2858" marR="2858" marT="2858" marB="0" anchor="ctr">
                    <a:noFill/>
                  </a:tcPr>
                </a:tc>
                <a:tc>
                  <a:txBody>
                    <a:bodyPr/>
                    <a:lstStyle/>
                    <a:p>
                      <a:pPr algn="ctr">
                        <a:defRPr sz="600">
                          <a:latin typeface="Nexa Book"/>
                        </a:defRPr>
                      </a:pPr>
                      <a:r>
                        <a:rPr sz="600">
                          <a:latin typeface="Nexa Book"/>
                        </a:rPr>
                        <a:t>641</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17%</a:t>
                      </a:r>
                    </a:p>
                  </a:txBody>
                  <a:tcPr marL="2858" marR="2858" marT="2858" marB="0" anchor="ctr">
                    <a:noFill/>
                  </a:tcPr>
                </a:tc>
                <a:tc>
                  <a:txBody>
                    <a:bodyPr/>
                    <a:lstStyle/>
                    <a:p>
                      <a:pPr algn="ctr">
                        <a:defRPr sz="600">
                          <a:latin typeface="Nexa Book"/>
                        </a:defRPr>
                      </a:pPr>
                      <a:r>
                        <a:rPr sz="600">
                          <a:latin typeface="Nexa Book"/>
                        </a:rPr>
                        <a:t>209</a:t>
                      </a:r>
                    </a:p>
                  </a:txBody>
                  <a:tcPr marL="2858" marR="2858" marT="2858" marB="0" anchor="ctr">
                    <a:noFill/>
                  </a:tcPr>
                </a:tc>
                <a:tc>
                  <a:txBody>
                    <a:bodyPr/>
                    <a:lstStyle/>
                    <a:p>
                      <a:pPr algn="ctr">
                        <a:defRPr sz="600">
                          <a:latin typeface="Nexa Book"/>
                        </a:defRPr>
                      </a:pPr>
                      <a:r>
                        <a:rPr sz="600">
                          <a:latin typeface="Nexa Book"/>
                        </a:rPr>
                        <a:t>71%</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 37.32</a:t>
                      </a:r>
                    </a:p>
                  </a:txBody>
                  <a:tcPr marL="2858" marR="2858" marT="2858" marB="0" anchor="ctr">
                    <a:noFill/>
                  </a:tcPr>
                </a:tc>
                <a:tc>
                  <a:txBody>
                    <a:bodyPr/>
                    <a:lstStyle/>
                    <a:p>
                      <a:pPr algn="ctr">
                        <a:defRPr sz="600">
                          <a:latin typeface="Nexa Book"/>
                        </a:defRPr>
                      </a:pPr>
                      <a:r>
                        <a:rPr sz="600">
                          <a:latin typeface="Nexa Book"/>
                        </a:rPr>
                        <a:t> 25.67</a:t>
                      </a:r>
                    </a:p>
                  </a:txBody>
                  <a:tcPr marL="2858" marR="2858" marT="2858" marB="0" anchor="ctr">
                    <a:noFill/>
                  </a:tcPr>
                </a:tc>
                <a:tc>
                  <a:txBody>
                    <a:bodyPr/>
                    <a:lstStyle/>
                    <a:p>
                      <a:pPr algn="ctr">
                        <a:defRPr sz="600">
                          <a:latin typeface="Nexa Book"/>
                        </a:defRPr>
                      </a:pPr>
                      <a:r>
                        <a:rPr sz="600">
                          <a:latin typeface="Nexa Book"/>
                        </a:rPr>
                        <a:t>308</a:t>
                      </a:r>
                    </a:p>
                  </a:txBody>
                  <a:tcPr marL="2858" marR="2858" marT="2858" marB="0" anchor="ctr">
                    <a:noFill/>
                  </a:tcPr>
                </a:tc>
                <a:tc>
                  <a:txBody>
                    <a:bodyPr/>
                    <a:lstStyle/>
                    <a:p>
                      <a:pPr algn="ctr">
                        <a:defRPr sz="600">
                          <a:latin typeface="Nexa Book"/>
                        </a:defRPr>
                      </a:pPr>
                      <a:r>
                        <a:rPr sz="600">
                          <a:latin typeface="Nexa Book"/>
                        </a:rPr>
                        <a:t>711%</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794%</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37.27</a:t>
                      </a:r>
                    </a:p>
                  </a:txBody>
                  <a:tcPr marL="2858" marR="2858" marT="2858" marB="0" anchor="ctr">
                    <a:noFill/>
                  </a:tcPr>
                </a:tc>
                <a:tc>
                  <a:txBody>
                    <a:bodyPr/>
                    <a:lstStyle/>
                    <a:p>
                      <a:pPr algn="ctr">
                        <a:defRPr sz="600">
                          <a:latin typeface="Nexa Book"/>
                        </a:defRPr>
                      </a:pPr>
                      <a:r>
                        <a:rPr sz="600">
                          <a:latin typeface="Nexa Book"/>
                        </a:rPr>
                        <a:t> 25.78</a:t>
                      </a:r>
                    </a:p>
                  </a:txBody>
                  <a:tcPr marL="2858" marR="2858" marT="2858" marB="0" anchor="ctr">
                    <a:noFill/>
                  </a:tcPr>
                </a:tc>
                <a:tc>
                  <a:txBody>
                    <a:bodyPr/>
                    <a:lstStyle/>
                    <a:p>
                      <a:pPr algn="ctr">
                        <a:defRPr sz="600">
                          <a:latin typeface="Nexa Book"/>
                        </a:defRPr>
                      </a:pPr>
                      <a:r>
                        <a:rPr sz="600">
                          <a:latin typeface="Nexa Book"/>
                        </a:rPr>
                        <a:t>464</a:t>
                      </a:r>
                    </a:p>
                  </a:txBody>
                  <a:tcPr marL="2858" marR="2858" marT="2858" marB="0" anchor="ctr">
                    <a:noFill/>
                  </a:tcPr>
                </a:tc>
                <a:tc>
                  <a:txBody>
                    <a:bodyPr/>
                    <a:lstStyle/>
                    <a:p>
                      <a:pPr algn="ctr">
                        <a:defRPr sz="600">
                          <a:latin typeface="Nexa Book"/>
                        </a:defRPr>
                      </a:pPr>
                      <a:r>
                        <a:rPr sz="600">
                          <a:latin typeface="Nexa Book"/>
                        </a:rPr>
                        <a:t>314%</a:t>
                      </a:r>
                    </a:p>
                  </a:txBody>
                  <a:tcPr marL="2858" marR="2858" marT="2858" marB="0" anchor="ctr">
                    <a:noFill/>
                  </a:tcPr>
                </a:tc>
                <a:tc>
                  <a:txBody>
                    <a:bodyPr/>
                    <a:lstStyle/>
                    <a:p>
                      <a:pPr algn="ctr">
                        <a:defRPr sz="600">
                          <a:latin typeface="Nexa Book"/>
                        </a:defRPr>
                      </a:pPr>
                      <a:r>
                        <a:rPr sz="600">
                          <a:latin typeface="Nexa Book"/>
                        </a:rPr>
                        <a:t>600%</a:t>
                      </a:r>
                    </a:p>
                  </a:txBody>
                  <a:tcPr marL="2858" marR="2858" marT="2858" marB="0" anchor="ctr">
                    <a:noFill/>
                  </a:tcPr>
                </a:tc>
                <a:tc>
                  <a:txBody>
                    <a:bodyPr/>
                    <a:lstStyle/>
                    <a:p>
                      <a:pPr algn="ctr">
                        <a:defRPr sz="600">
                          <a:latin typeface="Nexa Book"/>
                        </a:defRPr>
                      </a:pPr>
                      <a:r>
                        <a:rPr sz="600">
                          <a:latin typeface="Nexa Book"/>
                        </a:rPr>
                        <a:t>352</a:t>
                      </a:r>
                    </a:p>
                  </a:txBody>
                  <a:tcPr marL="2858" marR="2858" marT="2858" marB="0" anchor="ctr">
                    <a:noFill/>
                  </a:tcPr>
                </a:tc>
                <a:tc>
                  <a:txBody>
                    <a:bodyPr/>
                    <a:lstStyle/>
                    <a:p>
                      <a:pPr algn="ctr">
                        <a:defRPr sz="600">
                          <a:latin typeface="Nexa Book"/>
                        </a:defRPr>
                      </a:pPr>
                      <a:r>
                        <a:rPr sz="600">
                          <a:latin typeface="Nexa Book"/>
                        </a:rPr>
                        <a:t>11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20</a:t>
                      </a:r>
                    </a:p>
                  </a:txBody>
                  <a:tcPr marL="2858" marR="2858" marT="2858" marB="0" anchor="ctr">
                    <a:noFill/>
                  </a:tcPr>
                </a:tc>
                <a:tc>
                  <a:txBody>
                    <a:bodyPr/>
                    <a:lstStyle/>
                    <a:p>
                      <a:pPr algn="ctr">
                        <a:defRPr sz="600">
                          <a:latin typeface="Nexa Book"/>
                        </a:defRPr>
                      </a:pPr>
                      <a:r>
                        <a:rPr sz="600">
                          <a:latin typeface="Nexa Book"/>
                        </a:rPr>
                        <a:t> 26.98</a:t>
                      </a:r>
                    </a:p>
                  </a:txBody>
                  <a:tcPr marL="2858" marR="2858" marT="2858" marB="0" anchor="ctr">
                    <a:noFill/>
                  </a:tcPr>
                </a:tc>
                <a:tc>
                  <a:txBody>
                    <a:bodyPr/>
                    <a:lstStyle/>
                    <a:p>
                      <a:pPr algn="ctr">
                        <a:defRPr sz="600">
                          <a:latin typeface="Nexa Book"/>
                        </a:defRPr>
                      </a:pPr>
                      <a:r>
                        <a:rPr sz="600">
                          <a:latin typeface="Nexa Book"/>
                        </a:rPr>
                        <a:t>1'133</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300%</a:t>
                      </a:r>
                    </a:p>
                  </a:txBody>
                  <a:tcPr marL="2858" marR="2858" marT="2858" marB="0" anchor="ctr">
                    <a:noFill/>
                  </a:tcPr>
                </a:tc>
                <a:tc>
                  <a:txBody>
                    <a:bodyPr/>
                    <a:lstStyle/>
                    <a:p>
                      <a:pPr algn="ctr">
                        <a:defRPr sz="600">
                          <a:latin typeface="Nexa Book"/>
                        </a:defRPr>
                      </a:pPr>
                      <a:r>
                        <a:rPr sz="600">
                          <a:latin typeface="Nexa Book"/>
                        </a:rPr>
                        <a:t>799</a:t>
                      </a:r>
                    </a:p>
                  </a:txBody>
                  <a:tcPr marL="2858" marR="2858" marT="2858" marB="0" anchor="ctr">
                    <a:noFill/>
                  </a:tcPr>
                </a:tc>
                <a:tc>
                  <a:txBody>
                    <a:bodyPr/>
                    <a:lstStyle/>
                    <a:p>
                      <a:pPr algn="ctr">
                        <a:defRPr sz="600">
                          <a:latin typeface="Nexa Book"/>
                        </a:defRPr>
                      </a:pPr>
                      <a:r>
                        <a:rPr sz="600">
                          <a:latin typeface="Nexa Book"/>
                        </a:rPr>
                        <a:t>39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620</a:t>
                      </a:r>
                    </a:p>
                  </a:txBody>
                  <a:tcPr marL="2858" marR="2858" marT="2858" marB="0" anchor="ctr">
                    <a:noFill/>
                  </a:tcPr>
                </a:tc>
                <a:tc>
                  <a:txBody>
                    <a:bodyPr/>
                    <a:lstStyle/>
                    <a:p>
                      <a:pPr algn="ctr">
                        <a:defRPr sz="600">
                          <a:latin typeface="Nexa Book"/>
                        </a:defRPr>
                      </a:pPr>
                      <a:r>
                        <a:rPr sz="600">
                          <a:latin typeface="Nexa Book"/>
                        </a:rPr>
                        <a:t>201%</a:t>
                      </a:r>
                    </a:p>
                  </a:txBody>
                  <a:tcPr marL="2858" marR="2858" marT="2858" marB="0" anchor="ctr">
                    <a:noFill/>
                  </a:tcPr>
                </a:tc>
                <a:tc>
                  <a:txBody>
                    <a:bodyPr/>
                    <a:lstStyle/>
                    <a:p>
                      <a:pPr algn="ctr">
                        <a:defRPr sz="600">
                          <a:latin typeface="Nexa Book"/>
                        </a:defRPr>
                      </a:pPr>
                      <a:r>
                        <a:rPr sz="600">
                          <a:latin typeface="Nexa Book"/>
                        </a:rPr>
                        <a:t>273%</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278%</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37.07</a:t>
                      </a:r>
                    </a:p>
                  </a:txBody>
                  <a:tcPr marL="2858" marR="2858" marT="2858" marB="0" anchor="ctr">
                    <a:noFill/>
                  </a:tcPr>
                </a:tc>
                <a:tc>
                  <a:txBody>
                    <a:bodyPr/>
                    <a:lstStyle/>
                    <a:p>
                      <a:pPr algn="ctr">
                        <a:defRPr sz="600">
                          <a:latin typeface="Nexa Book"/>
                        </a:defRPr>
                      </a:pPr>
                      <a:r>
                        <a:rPr sz="600">
                          <a:latin typeface="Nexa Book"/>
                        </a:rPr>
                        <a:t> 26.75</a:t>
                      </a:r>
                    </a:p>
                  </a:txBody>
                  <a:tcPr marL="2858" marR="2858" marT="2858" marB="0" anchor="ctr">
                    <a:noFill/>
                  </a:tcPr>
                </a:tc>
                <a:tc>
                  <a:txBody>
                    <a:bodyPr/>
                    <a:lstStyle/>
                    <a:p>
                      <a:pPr algn="ctr">
                        <a:defRPr sz="600">
                          <a:latin typeface="Nexa Book"/>
                        </a:defRPr>
                      </a:pPr>
                      <a:r>
                        <a:rPr sz="600">
                          <a:latin typeface="Nexa Book"/>
                        </a:rPr>
                        <a:t>8'398</a:t>
                      </a:r>
                    </a:p>
                  </a:txBody>
                  <a:tcPr marL="2858" marR="2858" marT="2858" marB="0" anchor="ctr">
                    <a:noFill/>
                  </a:tcPr>
                </a:tc>
                <a:tc>
                  <a:txBody>
                    <a:bodyPr/>
                    <a:lstStyle/>
                    <a:p>
                      <a:pPr algn="ctr">
                        <a:defRPr sz="600">
                          <a:latin typeface="Nexa Book"/>
                        </a:defRPr>
                      </a:pPr>
                      <a:r>
                        <a:rPr sz="600">
                          <a:latin typeface="Nexa Book"/>
                        </a:rPr>
                        <a:t>296%</a:t>
                      </a:r>
                    </a:p>
                  </a:txBody>
                  <a:tcPr marL="2858" marR="2858" marT="2858" marB="0" anchor="ctr">
                    <a:noFill/>
                  </a:tcPr>
                </a:tc>
                <a:tc>
                  <a:txBody>
                    <a:bodyPr/>
                    <a:lstStyle/>
                    <a:p>
                      <a:pPr algn="ctr">
                        <a:defRPr sz="600">
                          <a:latin typeface="Nexa Book"/>
                        </a:defRPr>
                      </a:pPr>
                      <a:r>
                        <a:rPr sz="600">
                          <a:latin typeface="Nexa Book"/>
                        </a:rPr>
                        <a:t>436%</a:t>
                      </a:r>
                    </a:p>
                  </a:txBody>
                  <a:tcPr marL="2858" marR="2858" marT="2858" marB="0" anchor="ctr">
                    <a:noFill/>
                  </a:tcPr>
                </a:tc>
                <a:tc>
                  <a:txBody>
                    <a:bodyPr/>
                    <a:lstStyle/>
                    <a:p>
                      <a:pPr algn="ctr">
                        <a:defRPr sz="600">
                          <a:latin typeface="Nexa Book"/>
                        </a:defRPr>
                      </a:pPr>
                      <a:r>
                        <a:rPr sz="600">
                          <a:latin typeface="Nexa Book"/>
                        </a:rPr>
                        <a:t>6471</a:t>
                      </a:r>
                    </a:p>
                  </a:txBody>
                  <a:tcPr marL="2858" marR="2858" marT="2858" marB="0" anchor="ctr">
                    <a:noFill/>
                  </a:tcPr>
                </a:tc>
                <a:tc>
                  <a:txBody>
                    <a:bodyPr/>
                    <a:lstStyle/>
                    <a:p>
                      <a:pPr algn="ctr">
                        <a:defRPr sz="600">
                          <a:latin typeface="Nexa Book"/>
                        </a:defRPr>
                      </a:pPr>
                      <a:r>
                        <a:rPr sz="600">
                          <a:latin typeface="Nexa Book"/>
                        </a:rPr>
                        <a:t>21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83429519"/>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Effervescents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8.00</a:t>
                      </a:r>
                    </a:p>
                  </a:txBody>
                  <a:tcPr marL="2858" marR="2858" marT="2858" marB="0" anchor="ctr">
                    <a:noFill/>
                  </a:tcPr>
                </a:tc>
                <a:tc>
                  <a:txBody>
                    <a:bodyPr/>
                    <a:lstStyle/>
                    <a:p>
                      <a:pPr algn="ctr">
                        <a:defRPr sz="600">
                          <a:latin typeface="Nexa Book"/>
                        </a:defRPr>
                      </a:pPr>
                      <a:r>
                        <a:rPr sz="600">
                          <a:latin typeface="Nexa Book"/>
                        </a:rPr>
                        <a:t>1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5.60</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37.14</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04</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796</a:t>
                      </a:r>
                    </a:p>
                  </a:txBody>
                  <a:tcPr marL="2858" marR="2858" marT="2858" marB="0" anchor="ctr">
                    <a:noFill/>
                  </a:tcPr>
                </a:tc>
                <a:tc>
                  <a:txBody>
                    <a:bodyPr/>
                    <a:lstStyle/>
                    <a:p>
                      <a:pPr algn="ctr">
                        <a:defRPr sz="600">
                          <a:latin typeface="Nexa Book"/>
                        </a:defRPr>
                      </a:pPr>
                      <a:r>
                        <a:rPr sz="600">
                          <a:latin typeface="Nexa Book"/>
                        </a:rPr>
                        <a:t>255%</a:t>
                      </a:r>
                    </a:p>
                  </a:txBody>
                  <a:tcPr marL="2858" marR="2858" marT="2858" marB="0" anchor="ctr">
                    <a:noFill/>
                  </a:tcPr>
                </a:tc>
                <a:tc>
                  <a:txBody>
                    <a:bodyPr/>
                    <a:lstStyle/>
                    <a:p>
                      <a:pPr algn="ctr">
                        <a:defRPr sz="600">
                          <a:latin typeface="Nexa Book"/>
                        </a:defRPr>
                      </a:pPr>
                      <a:r>
                        <a:rPr sz="600">
                          <a:latin typeface="Nexa Book"/>
                        </a:rPr>
                        <a:t>283%</a:t>
                      </a:r>
                    </a:p>
                  </a:txBody>
                  <a:tcPr marL="2858" marR="2858" marT="2858" marB="0" anchor="ctr">
                    <a:noFill/>
                  </a:tcPr>
                </a:tc>
                <a:tc>
                  <a:txBody>
                    <a:bodyPr/>
                    <a:lstStyle/>
                    <a:p>
                      <a:pPr algn="ctr">
                        <a:defRPr sz="600">
                          <a:latin typeface="Nexa Book"/>
                        </a:defRPr>
                      </a:pPr>
                      <a:r>
                        <a:rPr sz="600">
                          <a:latin typeface="Nexa Book"/>
                        </a:rPr>
                        <a:t>572</a:t>
                      </a:r>
                    </a:p>
                  </a:txBody>
                  <a:tcPr marL="2858" marR="2858" marT="2858" marB="0" anchor="ctr">
                    <a:noFill/>
                  </a:tcPr>
                </a:tc>
                <a:tc>
                  <a:txBody>
                    <a:bodyPr/>
                    <a:lstStyle/>
                    <a:p>
                      <a:pPr algn="ctr">
                        <a:defRPr sz="600">
                          <a:latin typeface="Nexa Book"/>
                        </a:defRPr>
                      </a:pPr>
                      <a:r>
                        <a:rPr sz="600">
                          <a:latin typeface="Nexa Book"/>
                        </a:rPr>
                        <a:t>91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2'248</a:t>
                      </a:r>
                    </a:p>
                  </a:txBody>
                  <a:tcPr marL="2858" marR="2858" marT="2858" marB="0" anchor="ctr">
                    <a:noFill/>
                  </a:tcPr>
                </a:tc>
                <a:tc>
                  <a:txBody>
                    <a:bodyPr/>
                    <a:lstStyle/>
                    <a:p>
                      <a:pPr algn="ctr">
                        <a:defRPr sz="600">
                          <a:latin typeface="Nexa Book"/>
                        </a:defRPr>
                      </a:pPr>
                      <a:r>
                        <a:rPr sz="600">
                          <a:latin typeface="Nexa Book"/>
                        </a:rPr>
                        <a:t>1246%</a:t>
                      </a:r>
                    </a:p>
                  </a:txBody>
                  <a:tcPr marL="2858" marR="2858" marT="2858" marB="0" anchor="ctr">
                    <a:noFill/>
                  </a:tcPr>
                </a:tc>
                <a:tc>
                  <a:txBody>
                    <a:bodyPr/>
                    <a:lstStyle/>
                    <a:p>
                      <a:pPr algn="ctr">
                        <a:defRPr sz="600">
                          <a:latin typeface="Nexa Book"/>
                        </a:defRPr>
                      </a:pPr>
                      <a:r>
                        <a:rPr sz="600">
                          <a:latin typeface="Nexa Book"/>
                        </a:rPr>
                        <a:t>1767%</a:t>
                      </a:r>
                    </a:p>
                  </a:txBody>
                  <a:tcPr marL="2858" marR="2858" marT="2858" marB="0" anchor="ctr">
                    <a:noFill/>
                  </a:tcPr>
                </a:tc>
                <a:tc>
                  <a:txBody>
                    <a:bodyPr/>
                    <a:lstStyle/>
                    <a:p>
                      <a:pPr algn="ctr">
                        <a:defRPr sz="600">
                          <a:latin typeface="Nexa Book"/>
                        </a:defRPr>
                      </a:pPr>
                      <a:r>
                        <a:rPr sz="600">
                          <a:latin typeface="Nexa Book"/>
                        </a:rPr>
                        <a:t>2081</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68</a:t>
                      </a:r>
                    </a:p>
                  </a:txBody>
                  <a:tcPr marL="2858" marR="2858" marT="2858" marB="0" anchor="ctr">
                    <a:noFill/>
                  </a:tcPr>
                </a:tc>
                <a:tc>
                  <a:txBody>
                    <a:bodyPr/>
                    <a:lstStyle/>
                    <a:p>
                      <a:pPr algn="ctr">
                        <a:defRPr sz="600">
                          <a:latin typeface="Nexa Book"/>
                        </a:defRPr>
                      </a:pPr>
                      <a:r>
                        <a:rPr sz="600">
                          <a:latin typeface="Nexa Book"/>
                        </a:rPr>
                        <a:t>6'189</a:t>
                      </a:r>
                    </a:p>
                  </a:txBody>
                  <a:tcPr marL="2858" marR="2858" marT="2858" marB="0" anchor="ctr">
                    <a:noFill/>
                  </a:tcPr>
                </a:tc>
                <a:tc>
                  <a:txBody>
                    <a:bodyPr/>
                    <a:lstStyle/>
                    <a:p>
                      <a:pPr algn="ctr">
                        <a:defRPr sz="600">
                          <a:latin typeface="Nexa Book"/>
                        </a:defRPr>
                      </a:pPr>
                      <a:r>
                        <a:rPr sz="600">
                          <a:latin typeface="Nexa Book"/>
                        </a:rPr>
                        <a:t>588%</a:t>
                      </a:r>
                    </a:p>
                  </a:txBody>
                  <a:tcPr marL="2858" marR="2858" marT="2858" marB="0" anchor="ctr">
                    <a:noFill/>
                  </a:tcPr>
                </a:tc>
                <a:tc>
                  <a:txBody>
                    <a:bodyPr/>
                    <a:lstStyle/>
                    <a:p>
                      <a:pPr algn="ctr">
                        <a:defRPr sz="600">
                          <a:latin typeface="Nexa Book"/>
                        </a:defRPr>
                      </a:pPr>
                      <a:r>
                        <a:rPr sz="600">
                          <a:latin typeface="Nexa Book"/>
                        </a:rPr>
                        <a:t>837%</a:t>
                      </a:r>
                    </a:p>
                  </a:txBody>
                  <a:tcPr marL="2858" marR="2858" marT="2858" marB="0" anchor="ctr">
                    <a:noFill/>
                  </a:tcPr>
                </a:tc>
                <a:tc>
                  <a:txBody>
                    <a:bodyPr/>
                    <a:lstStyle/>
                    <a:p>
                      <a:pPr algn="ctr">
                        <a:defRPr sz="600">
                          <a:latin typeface="Nexa Book"/>
                        </a:defRPr>
                      </a:pPr>
                      <a:r>
                        <a:rPr sz="600">
                          <a:latin typeface="Nexa Book"/>
                        </a:rPr>
                        <a:t>5448</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48060291"/>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Effervescents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8.0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41.95</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37.11</a:t>
                      </a:r>
                    </a:p>
                  </a:txBody>
                  <a:tcPr marL="2858" marR="2858" marT="2858" marB="0" anchor="ctr">
                    <a:noFill/>
                  </a:tcPr>
                </a:tc>
                <a:tc>
                  <a:txBody>
                    <a:bodyPr/>
                    <a:lstStyle/>
                    <a:p>
                      <a:pPr algn="ctr">
                        <a:defRPr sz="600">
                          <a:latin typeface="Nexa Book"/>
                        </a:defRPr>
                      </a:pPr>
                      <a:r>
                        <a:rPr sz="600">
                          <a:latin typeface="Nexa Book"/>
                        </a:rPr>
                        <a:t> 27.50</a:t>
                      </a:r>
                    </a:p>
                  </a:txBody>
                  <a:tcPr marL="2858" marR="2858" marT="2858" marB="0" anchor="ctr">
                    <a:noFill/>
                  </a:tcPr>
                </a:tc>
                <a:tc>
                  <a:txBody>
                    <a:bodyPr/>
                    <a:lstStyle/>
                    <a:p>
                      <a:pPr algn="ctr">
                        <a:defRPr sz="600">
                          <a:latin typeface="Nexa Book"/>
                        </a:defRPr>
                      </a:pPr>
                      <a:r>
                        <a:rPr sz="600">
                          <a:latin typeface="Nexa Book"/>
                        </a:rPr>
                        <a:t>11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 37.05</a:t>
                      </a:r>
                    </a:p>
                  </a:txBody>
                  <a:tcPr marL="2858" marR="2858" marT="2858" marB="0" anchor="ctr">
                    <a:noFill/>
                  </a:tcPr>
                </a:tc>
                <a:tc>
                  <a:txBody>
                    <a:bodyPr/>
                    <a:lstStyle/>
                    <a:p>
                      <a:pPr algn="ctr">
                        <a:defRPr sz="600">
                          <a:latin typeface="Nexa Book"/>
                        </a:defRPr>
                      </a:pPr>
                      <a:r>
                        <a:rPr sz="600">
                          <a:latin typeface="Nexa Book"/>
                        </a:rPr>
                        <a:t> 26.32</a:t>
                      </a:r>
                    </a:p>
                  </a:txBody>
                  <a:tcPr marL="2858" marR="2858" marT="2858" marB="0" anchor="ctr">
                    <a:noFill/>
                  </a:tcPr>
                </a:tc>
                <a:tc>
                  <a:txBody>
                    <a:bodyPr/>
                    <a:lstStyle/>
                    <a:p>
                      <a:pPr algn="ctr">
                        <a:defRPr sz="600">
                          <a:latin typeface="Nexa Book"/>
                        </a:defRPr>
                      </a:pPr>
                      <a:r>
                        <a:rPr sz="600">
                          <a:latin typeface="Nexa Book"/>
                        </a:rPr>
                        <a:t>500</a:t>
                      </a:r>
                    </a:p>
                  </a:txBody>
                  <a:tcPr marL="2858" marR="2858" marT="2858" marB="0" anchor="ctr">
                    <a:noFill/>
                  </a:tcPr>
                </a:tc>
                <a:tc>
                  <a:txBody>
                    <a:bodyPr/>
                    <a:lstStyle/>
                    <a:p>
                      <a:pPr algn="ctr">
                        <a:defRPr sz="600">
                          <a:latin typeface="Nexa Book"/>
                        </a:defRPr>
                      </a:pPr>
                      <a:r>
                        <a:rPr sz="600">
                          <a:latin typeface="Nexa Book"/>
                        </a:rPr>
                        <a:t>169%</a:t>
                      </a:r>
                    </a:p>
                  </a:txBody>
                  <a:tcPr marL="2858" marR="2858" marT="2858" marB="0" anchor="ctr">
                    <a:noFill/>
                  </a:tcPr>
                </a:tc>
                <a:tc>
                  <a:txBody>
                    <a:bodyPr/>
                    <a:lstStyle/>
                    <a:p>
                      <a:pPr algn="ctr">
                        <a:defRPr sz="600">
                          <a:latin typeface="Nexa Book"/>
                        </a:defRPr>
                      </a:pPr>
                      <a:r>
                        <a:rPr sz="600">
                          <a:latin typeface="Nexa Book"/>
                        </a:rPr>
                        <a:t>200%</a:t>
                      </a:r>
                    </a:p>
                  </a:txBody>
                  <a:tcPr marL="2858" marR="2858" marT="2858" marB="0" anchor="ctr">
                    <a:noFill/>
                  </a:tcPr>
                </a:tc>
                <a:tc>
                  <a:txBody>
                    <a:bodyPr/>
                    <a:lstStyle/>
                    <a:p>
                      <a:pPr algn="ctr">
                        <a:defRPr sz="600">
                          <a:latin typeface="Nexa Book"/>
                        </a:defRPr>
                      </a:pPr>
                      <a:r>
                        <a:rPr sz="600">
                          <a:latin typeface="Nexa Book"/>
                        </a:rPr>
                        <a:t>314</a:t>
                      </a:r>
                    </a:p>
                  </a:txBody>
                  <a:tcPr marL="2858" marR="2858" marT="2858" marB="0" anchor="ctr">
                    <a:noFill/>
                  </a:tcPr>
                </a:tc>
                <a:tc>
                  <a:txBody>
                    <a:bodyPr/>
                    <a:lstStyle/>
                    <a:p>
                      <a:pPr algn="ctr">
                        <a:defRPr sz="600">
                          <a:latin typeface="Nexa Book"/>
                        </a:defRPr>
                      </a:pPr>
                      <a:r>
                        <a:rPr sz="600">
                          <a:latin typeface="Nexa Book"/>
                        </a:rPr>
                        <a:t>541%</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41.97</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780</a:t>
                      </a:r>
                    </a:p>
                  </a:txBody>
                  <a:tcPr marL="2858" marR="2858" marT="2858" marB="0" anchor="ctr">
                    <a:noFill/>
                  </a:tcPr>
                </a:tc>
                <a:tc>
                  <a:txBody>
                    <a:bodyPr/>
                    <a:lstStyle/>
                    <a:p>
                      <a:pPr algn="ctr">
                        <a:defRPr sz="600">
                          <a:latin typeface="Nexa Book"/>
                        </a:defRPr>
                      </a:pPr>
                      <a:r>
                        <a:rPr sz="600">
                          <a:latin typeface="Nexa Book"/>
                        </a:rPr>
                        <a:t>211%</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529</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41.76</a:t>
                      </a:r>
                    </a:p>
                  </a:txBody>
                  <a:tcPr marL="2858" marR="2858" marT="2858" marB="0" anchor="ctr">
                    <a:noFill/>
                  </a:tcPr>
                </a:tc>
                <a:tc>
                  <a:txBody>
                    <a:bodyPr/>
                    <a:lstStyle/>
                    <a:p>
                      <a:pPr algn="ctr">
                        <a:defRPr sz="600">
                          <a:latin typeface="Nexa Book"/>
                        </a:defRPr>
                      </a:pPr>
                      <a:r>
                        <a:rPr sz="600">
                          <a:latin typeface="Nexa Book"/>
                        </a:rPr>
                        <a:t> 26.57</a:t>
                      </a:r>
                    </a:p>
                  </a:txBody>
                  <a:tcPr marL="2858" marR="2858" marT="2858" marB="0" anchor="ctr">
                    <a:noFill/>
                  </a:tcPr>
                </a:tc>
                <a:tc>
                  <a:txBody>
                    <a:bodyPr/>
                    <a:lstStyle/>
                    <a:p>
                      <a:pPr algn="ctr">
                        <a:defRPr sz="600">
                          <a:latin typeface="Nexa Book"/>
                        </a:defRPr>
                      </a:pPr>
                      <a:r>
                        <a:rPr sz="600">
                          <a:latin typeface="Nexa Book"/>
                        </a:rPr>
                        <a:t>5'527</a:t>
                      </a:r>
                    </a:p>
                  </a:txBody>
                  <a:tcPr marL="2858" marR="2858" marT="2858" marB="0" anchor="ctr">
                    <a:noFill/>
                  </a:tcPr>
                </a:tc>
                <a:tc>
                  <a:txBody>
                    <a:bodyPr/>
                    <a:lstStyle/>
                    <a:p>
                      <a:pPr algn="ctr">
                        <a:defRPr sz="600">
                          <a:latin typeface="Nexa Book"/>
                        </a:defRPr>
                      </a:pPr>
                      <a:r>
                        <a:rPr sz="600">
                          <a:latin typeface="Nexa Book"/>
                        </a:rPr>
                        <a:t>789%</a:t>
                      </a:r>
                    </a:p>
                  </a:txBody>
                  <a:tcPr marL="2858" marR="2858" marT="2858" marB="0" anchor="ctr">
                    <a:noFill/>
                  </a:tcPr>
                </a:tc>
                <a:tc>
                  <a:txBody>
                    <a:bodyPr/>
                    <a:lstStyle/>
                    <a:p>
                      <a:pPr algn="ctr">
                        <a:defRPr sz="600">
                          <a:latin typeface="Nexa Book"/>
                        </a:defRPr>
                      </a:pPr>
                      <a:r>
                        <a:rPr sz="600">
                          <a:latin typeface="Nexa Book"/>
                        </a:rPr>
                        <a:t>1115%</a:t>
                      </a:r>
                    </a:p>
                  </a:txBody>
                  <a:tcPr marL="2858" marR="2858" marT="2858" marB="0" anchor="ctr">
                    <a:noFill/>
                  </a:tcPr>
                </a:tc>
                <a:tc>
                  <a:txBody>
                    <a:bodyPr/>
                    <a:lstStyle/>
                    <a:p>
                      <a:pPr algn="ctr">
                        <a:defRPr sz="600">
                          <a:latin typeface="Nexa Book"/>
                        </a:defRPr>
                      </a:pPr>
                      <a:r>
                        <a:rPr sz="600">
                          <a:latin typeface="Nexa Book"/>
                        </a:rPr>
                        <a:t>4972</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794149124"/>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Effervescents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75"/>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37.11</a:t>
                      </a:r>
                    </a:p>
                  </a:txBody>
                  <a:tcPr marL="2858" marR="2858" marT="2858" marB="0" anchor="ctr">
                    <a:noFill/>
                  </a:tcPr>
                </a:tc>
                <a:tc>
                  <a:txBody>
                    <a:bodyPr/>
                    <a:lstStyle/>
                    <a:p>
                      <a:pPr algn="ctr">
                        <a:defRPr sz="600">
                          <a:latin typeface="Nexa Book"/>
                        </a:defRPr>
                      </a:pPr>
                      <a:r>
                        <a:rPr sz="600">
                          <a:latin typeface="Nexa Book"/>
                        </a:rPr>
                        <a:t> 26.00</a:t>
                      </a:r>
                    </a:p>
                  </a:txBody>
                  <a:tcPr marL="2858" marR="2858" marT="2858" marB="0" anchor="ctr">
                    <a:noFill/>
                  </a:tcPr>
                </a:tc>
                <a:tc>
                  <a:txBody>
                    <a:bodyPr/>
                    <a:lstStyle/>
                    <a:p>
                      <a:pPr algn="ctr">
                        <a:defRPr sz="600">
                          <a:latin typeface="Nexa Book"/>
                        </a:defRPr>
                      </a:pPr>
                      <a:r>
                        <a:rPr sz="600">
                          <a:latin typeface="Nexa Book"/>
                        </a:rPr>
                        <a:t>104</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42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73</a:t>
                      </a:r>
                    </a:p>
                  </a:txBody>
                  <a:tcPr marL="2858" marR="2858" marT="2858" marB="0" anchor="ctr">
                    <a:noFill/>
                  </a:tcPr>
                </a:tc>
                <a:tc>
                  <a:txBody>
                    <a:bodyPr/>
                    <a:lstStyle/>
                    <a:p>
                      <a:pPr algn="ctr">
                        <a:defRPr sz="600">
                          <a:latin typeface="Nexa Book"/>
                        </a:defRPr>
                      </a:pPr>
                      <a:r>
                        <a:rPr sz="600">
                          <a:latin typeface="Nexa Book"/>
                        </a:rPr>
                        <a:t>1'365</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r>
                        <a:rPr sz="600">
                          <a:latin typeface="Nexa Book"/>
                        </a:rPr>
                        <a:t>669</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 41.67</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60</a:t>
                      </a:r>
                    </a:p>
                  </a:txBody>
                  <a:tcPr marL="2858" marR="2858" marT="2858" marB="0" anchor="ctr">
                    <a:noFill/>
                  </a:tcPr>
                </a:tc>
                <a:tc>
                  <a:txBody>
                    <a:bodyPr/>
                    <a:lstStyle/>
                    <a:p>
                      <a:pPr algn="ctr">
                        <a:defRPr sz="600">
                          <a:latin typeface="Nexa Book"/>
                        </a:defRPr>
                      </a:pPr>
                      <a:r>
                        <a:rPr sz="600">
                          <a:latin typeface="Nexa Book"/>
                        </a:rPr>
                        <a:t>224%</a:t>
                      </a:r>
                    </a:p>
                  </a:txBody>
                  <a:tcPr marL="2858" marR="2858" marT="2858" marB="0" anchor="ctr">
                    <a:noFill/>
                  </a:tcPr>
                </a:tc>
                <a:tc>
                  <a:txBody>
                    <a:bodyPr/>
                    <a:lstStyle/>
                    <a:p>
                      <a:pPr algn="ctr">
                        <a:defRPr sz="600">
                          <a:latin typeface="Nexa Book"/>
                        </a:defRPr>
                      </a:pPr>
                      <a:r>
                        <a:rPr sz="600">
                          <a:latin typeface="Nexa Book"/>
                        </a:rPr>
                        <a:t>178%</a:t>
                      </a:r>
                    </a:p>
                  </a:txBody>
                  <a:tcPr marL="2858" marR="2858" marT="2858" marB="0" anchor="ctr">
                    <a:noFill/>
                  </a:tcPr>
                </a:tc>
                <a:tc>
                  <a:txBody>
                    <a:bodyPr/>
                    <a:lstStyle/>
                    <a:p>
                      <a:pPr algn="ctr">
                        <a:defRPr sz="600">
                          <a:latin typeface="Nexa Book"/>
                        </a:defRPr>
                      </a:pPr>
                      <a:r>
                        <a:rPr sz="600">
                          <a:latin typeface="Nexa Book"/>
                        </a:rPr>
                        <a:t>931</a:t>
                      </a:r>
                    </a:p>
                  </a:txBody>
                  <a:tcPr marL="2858" marR="2858" marT="2858" marB="0" anchor="ctr">
                    <a:noFill/>
                  </a:tcPr>
                </a:tc>
                <a:tc>
                  <a:txBody>
                    <a:bodyPr/>
                    <a:lstStyle/>
                    <a:p>
                      <a:pPr algn="ctr">
                        <a:defRPr sz="600">
                          <a:latin typeface="Nexa Book"/>
                        </a:defRPr>
                      </a:pPr>
                      <a:r>
                        <a:rPr sz="600">
                          <a:latin typeface="Nexa Book"/>
                        </a:rPr>
                        <a:t>740%</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17</a:t>
                      </a:r>
                    </a:p>
                  </a:txBody>
                  <a:tcPr marL="2858" marR="2858" marT="2858" marB="0" anchor="ctr">
                    <a:noFill/>
                  </a:tcPr>
                </a:tc>
                <a:tc>
                  <a:txBody>
                    <a:bodyPr/>
                    <a:lstStyle/>
                    <a:p>
                      <a:pPr algn="ctr">
                        <a:defRPr sz="600">
                          <a:latin typeface="Nexa Book"/>
                        </a:defRPr>
                      </a:pPr>
                      <a:r>
                        <a:rPr sz="600">
                          <a:latin typeface="Nexa Book"/>
                        </a:rPr>
                        <a:t> 25.94</a:t>
                      </a:r>
                    </a:p>
                  </a:txBody>
                  <a:tcPr marL="2858" marR="2858" marT="2858" marB="0" anchor="ctr">
                    <a:noFill/>
                  </a:tcPr>
                </a:tc>
                <a:tc>
                  <a:txBody>
                    <a:bodyPr/>
                    <a:lstStyle/>
                    <a:p>
                      <a:pPr algn="ctr">
                        <a:defRPr sz="600">
                          <a:latin typeface="Nexa Book"/>
                        </a:defRPr>
                      </a:pPr>
                      <a:r>
                        <a:rPr sz="600">
                          <a:latin typeface="Nexa Book"/>
                        </a:rPr>
                        <a:t>1'297</a:t>
                      </a:r>
                    </a:p>
                  </a:txBody>
                  <a:tcPr marL="2858" marR="2858" marT="2858" marB="0" anchor="ctr">
                    <a:noFill/>
                  </a:tcPr>
                </a:tc>
                <a:tc>
                  <a:txBody>
                    <a:bodyPr/>
                    <a:lstStyle/>
                    <a:p>
                      <a:pPr algn="ctr">
                        <a:defRPr sz="600">
                          <a:latin typeface="Nexa Book"/>
                        </a:defRPr>
                      </a:pPr>
                      <a:r>
                        <a:rPr sz="600">
                          <a:latin typeface="Nexa Book"/>
                        </a:rPr>
                        <a:t>590%</a:t>
                      </a:r>
                    </a:p>
                  </a:txBody>
                  <a:tcPr marL="2858" marR="2858" marT="2858" marB="0" anchor="ctr">
                    <a:noFill/>
                  </a:tcPr>
                </a:tc>
                <a:tc>
                  <a:txBody>
                    <a:bodyPr/>
                    <a:lstStyle/>
                    <a:p>
                      <a:pPr algn="ctr">
                        <a:defRPr sz="600">
                          <a:latin typeface="Nexa Book"/>
                        </a:defRPr>
                      </a:pPr>
                      <a:r>
                        <a:rPr sz="600">
                          <a:latin typeface="Nexa Book"/>
                        </a:rPr>
                        <a:t>850%</a:t>
                      </a:r>
                    </a:p>
                  </a:txBody>
                  <a:tcPr marL="2858" marR="2858" marT="2858" marB="0" anchor="ctr">
                    <a:noFill/>
                  </a:tcPr>
                </a:tc>
                <a:tc>
                  <a:txBody>
                    <a:bodyPr/>
                    <a:lstStyle/>
                    <a:p>
                      <a:pPr algn="ctr">
                        <a:defRPr sz="600">
                          <a:latin typeface="Nexa Book"/>
                        </a:defRPr>
                      </a:pPr>
                      <a:r>
                        <a:rPr sz="600">
                          <a:latin typeface="Nexa Book"/>
                        </a:rPr>
                        <a:t>1109</a:t>
                      </a:r>
                    </a:p>
                  </a:txBody>
                  <a:tcPr marL="2858" marR="2858" marT="2858" marB="0" anchor="ctr">
                    <a:noFill/>
                  </a:tcPr>
                </a:tc>
                <a:tc>
                  <a:txBody>
                    <a:bodyPr/>
                    <a:lstStyle/>
                    <a:p>
                      <a:pPr algn="ctr">
                        <a:defRPr sz="600">
                          <a:latin typeface="Nexa Book"/>
                        </a:defRPr>
                      </a:pPr>
                      <a:r>
                        <a:rPr sz="600">
                          <a:latin typeface="Nexa Book"/>
                        </a:rPr>
                        <a:t>227%</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03</a:t>
                      </a:r>
                    </a:p>
                  </a:txBody>
                  <a:tcPr marL="2858" marR="2858" marT="2858" marB="0" anchor="ctr">
                    <a:noFill/>
                  </a:tcPr>
                </a:tc>
                <a:tc>
                  <a:txBody>
                    <a:bodyPr/>
                    <a:lstStyle/>
                    <a:p>
                      <a:pPr algn="ctr">
                        <a:defRPr sz="600">
                          <a:latin typeface="Nexa Book"/>
                        </a:defRPr>
                      </a:pPr>
                      <a:r>
                        <a:rPr sz="600">
                          <a:latin typeface="Nexa Book"/>
                        </a:rPr>
                        <a:t>1'562</a:t>
                      </a:r>
                    </a:p>
                  </a:txBody>
                  <a:tcPr marL="2858" marR="2858" marT="2858" marB="0" anchor="ctr">
                    <a:noFill/>
                  </a:tcPr>
                </a:tc>
                <a:tc>
                  <a:txBody>
                    <a:bodyPr/>
                    <a:lstStyle/>
                    <a:p>
                      <a:pPr algn="ctr">
                        <a:defRPr sz="600">
                          <a:latin typeface="Nexa Book"/>
                        </a:defRPr>
                      </a:pPr>
                      <a:r>
                        <a:rPr sz="600">
                          <a:latin typeface="Nexa Book"/>
                        </a:rPr>
                        <a:t>614%</a:t>
                      </a:r>
                    </a:p>
                  </a:txBody>
                  <a:tcPr marL="2858" marR="2858" marT="2858" marB="0" anchor="ctr">
                    <a:noFill/>
                  </a:tcPr>
                </a:tc>
                <a:tc>
                  <a:txBody>
                    <a:bodyPr/>
                    <a:lstStyle/>
                    <a:p>
                      <a:pPr algn="ctr">
                        <a:defRPr sz="600">
                          <a:latin typeface="Nexa Book"/>
                        </a:defRPr>
                      </a:pPr>
                      <a:r>
                        <a:rPr sz="600">
                          <a:latin typeface="Nexa Book"/>
                        </a:rPr>
                        <a:t>683%</a:t>
                      </a:r>
                    </a:p>
                  </a:txBody>
                  <a:tcPr marL="2858" marR="2858" marT="2858" marB="0" anchor="ctr">
                    <a:noFill/>
                  </a:tcPr>
                </a:tc>
                <a:tc>
                  <a:txBody>
                    <a:bodyPr/>
                    <a:lstStyle/>
                    <a:p>
                      <a:pPr algn="ctr">
                        <a:defRPr sz="600">
                          <a:latin typeface="Nexa Book"/>
                        </a:defRPr>
                      </a:pPr>
                      <a:r>
                        <a:rPr sz="600">
                          <a:latin typeface="Nexa Book"/>
                        </a:rPr>
                        <a:t>1375</a:t>
                      </a:r>
                    </a:p>
                  </a:txBody>
                  <a:tcPr marL="2858" marR="2858" marT="2858" marB="0" anchor="ctr">
                    <a:noFill/>
                  </a:tcPr>
                </a:tc>
                <a:tc>
                  <a:txBody>
                    <a:bodyPr/>
                    <a:lstStyle/>
                    <a:p>
                      <a:pPr algn="ctr">
                        <a:defRPr sz="600">
                          <a:latin typeface="Nexa Book"/>
                        </a:defRPr>
                      </a:pPr>
                      <a:r>
                        <a:rPr sz="600">
                          <a:latin typeface="Nexa Book"/>
                        </a:rPr>
                        <a:t>885%</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41.47</a:t>
                      </a:r>
                    </a:p>
                  </a:txBody>
                  <a:tcPr marL="2858" marR="2858" marT="2858" marB="0" anchor="ctr">
                    <a:noFill/>
                  </a:tcPr>
                </a:tc>
                <a:tc>
                  <a:txBody>
                    <a:bodyPr/>
                    <a:lstStyle/>
                    <a:p>
                      <a:pPr algn="ctr">
                        <a:defRPr sz="600">
                          <a:latin typeface="Nexa Book"/>
                        </a:defRPr>
                      </a:pPr>
                      <a:r>
                        <a:rPr sz="600">
                          <a:latin typeface="Nexa Book"/>
                        </a:rPr>
                        <a:t> 29.98</a:t>
                      </a:r>
                    </a:p>
                  </a:txBody>
                  <a:tcPr marL="2858" marR="2858" marT="2858" marB="0" anchor="ctr">
                    <a:noFill/>
                  </a:tcPr>
                </a:tc>
                <a:tc>
                  <a:txBody>
                    <a:bodyPr/>
                    <a:lstStyle/>
                    <a:p>
                      <a:pPr algn="ctr">
                        <a:defRPr sz="600">
                          <a:latin typeface="Nexa Book"/>
                        </a:defRPr>
                      </a:pPr>
                      <a:r>
                        <a:rPr sz="600">
                          <a:latin typeface="Nexa Book"/>
                        </a:rPr>
                        <a:t>5'277</a:t>
                      </a:r>
                    </a:p>
                  </a:txBody>
                  <a:tcPr marL="2858" marR="2858" marT="2858" marB="0" anchor="ctr">
                    <a:noFill/>
                  </a:tcPr>
                </a:tc>
                <a:tc>
                  <a:txBody>
                    <a:bodyPr/>
                    <a:lstStyle/>
                    <a:p>
                      <a:pPr algn="ctr">
                        <a:defRPr sz="600">
                          <a:latin typeface="Nexa Book"/>
                        </a:defRPr>
                      </a:pPr>
                      <a:r>
                        <a:rPr sz="600">
                          <a:latin typeface="Nexa Book"/>
                        </a:rPr>
                        <a:t>459%</a:t>
                      </a:r>
                    </a:p>
                  </a:txBody>
                  <a:tcPr marL="2858" marR="2858" marT="2858" marB="0" anchor="ctr">
                    <a:noFill/>
                  </a:tcPr>
                </a:tc>
                <a:tc>
                  <a:txBody>
                    <a:bodyPr/>
                    <a:lstStyle/>
                    <a:p>
                      <a:pPr algn="ctr">
                        <a:defRPr sz="600">
                          <a:latin typeface="Nexa Book"/>
                        </a:defRPr>
                      </a:pPr>
                      <a:r>
                        <a:rPr sz="600">
                          <a:latin typeface="Nexa Book"/>
                        </a:rPr>
                        <a:t>682%</a:t>
                      </a:r>
                    </a:p>
                  </a:txBody>
                  <a:tcPr marL="2858" marR="2858" marT="2858" marB="0" anchor="ctr">
                    <a:noFill/>
                  </a:tcPr>
                </a:tc>
                <a:tc>
                  <a:txBody>
                    <a:bodyPr/>
                    <a:lstStyle/>
                    <a:p>
                      <a:pPr algn="ctr">
                        <a:defRPr sz="600">
                          <a:latin typeface="Nexa Book"/>
                        </a:defRPr>
                      </a:pPr>
                      <a:r>
                        <a:rPr sz="600">
                          <a:latin typeface="Nexa Book"/>
                        </a:rPr>
                        <a:t>4366</a:t>
                      </a:r>
                    </a:p>
                  </a:txBody>
                  <a:tcPr marL="2858" marR="2858" marT="2858" marB="0" anchor="ctr">
                    <a:noFill/>
                  </a:tcPr>
                </a:tc>
                <a:tc>
                  <a:txBody>
                    <a:bodyPr/>
                    <a:lstStyle/>
                    <a:p>
                      <a:pPr algn="ctr">
                        <a:defRPr sz="600">
                          <a:latin typeface="Nexa Book"/>
                        </a:defRPr>
                      </a:pPr>
                      <a:r>
                        <a:rPr sz="600">
                          <a:latin typeface="Nexa Book"/>
                        </a:rPr>
                        <a:t>206%</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6304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37.03</a:t>
                      </a:r>
                    </a:p>
                  </a:txBody>
                  <a:tcPr marL="2858" marR="2858" marT="2858" marB="0" anchor="ctr">
                    <a:noFill/>
                  </a:tcPr>
                </a:tc>
                <a:tc>
                  <a:txBody>
                    <a:bodyPr/>
                    <a:lstStyle/>
                    <a:p>
                      <a:pPr algn="ctr">
                        <a:defRPr sz="600">
                          <a:latin typeface="Nexa Book"/>
                        </a:defRPr>
                      </a:pPr>
                      <a:r>
                        <a:rPr sz="600">
                          <a:latin typeface="Nexa Book"/>
                        </a:rPr>
                        <a:t> 26.46</a:t>
                      </a:r>
                    </a:p>
                  </a:txBody>
                  <a:tcPr marL="2858" marR="2858" marT="2858" marB="0" anchor="ctr">
                    <a:noFill/>
                  </a:tcPr>
                </a:tc>
                <a:tc>
                  <a:txBody>
                    <a:bodyPr/>
                    <a:lstStyle/>
                    <a:p>
                      <a:pPr algn="ctr">
                        <a:defRPr sz="600">
                          <a:latin typeface="Nexa Book"/>
                        </a:defRPr>
                      </a:pPr>
                      <a:r>
                        <a:rPr sz="600">
                          <a:latin typeface="Nexa Book"/>
                        </a:rPr>
                        <a:t>34'558</a:t>
                      </a:r>
                    </a:p>
                  </a:txBody>
                  <a:tcPr marL="2858" marR="2858" marT="2858" marB="0" anchor="ctr">
                    <a:noFill/>
                  </a:tcPr>
                </a:tc>
                <a:tc>
                  <a:txBody>
                    <a:bodyPr/>
                    <a:lstStyle/>
                    <a:p>
                      <a:pPr algn="ctr">
                        <a:defRPr sz="600">
                          <a:latin typeface="Nexa Book"/>
                        </a:defRPr>
                      </a:pPr>
                      <a:r>
                        <a:rPr sz="600">
                          <a:latin typeface="Nexa Book"/>
                        </a:rPr>
                        <a:t>627%</a:t>
                      </a:r>
                    </a:p>
                  </a:txBody>
                  <a:tcPr marL="2858" marR="2858" marT="2858" marB="0" anchor="ctr">
                    <a:noFill/>
                  </a:tcPr>
                </a:tc>
                <a:tc>
                  <a:txBody>
                    <a:bodyPr/>
                    <a:lstStyle/>
                    <a:p>
                      <a:pPr algn="ctr">
                        <a:defRPr sz="600">
                          <a:latin typeface="Nexa Book"/>
                        </a:defRPr>
                      </a:pPr>
                      <a:r>
                        <a:rPr sz="600">
                          <a:latin typeface="Nexa Book"/>
                        </a:rPr>
                        <a:t>915%</a:t>
                      </a:r>
                    </a:p>
                  </a:txBody>
                  <a:tcPr marL="2858" marR="2858" marT="2858" marB="0" anchor="ctr">
                    <a:noFill/>
                  </a:tcPr>
                </a:tc>
                <a:tc>
                  <a:txBody>
                    <a:bodyPr/>
                    <a:lstStyle/>
                    <a:p>
                      <a:pPr algn="ctr">
                        <a:defRPr sz="600">
                          <a:latin typeface="Nexa Book"/>
                        </a:defRPr>
                      </a:pPr>
                      <a:r>
                        <a:rPr sz="600">
                          <a:latin typeface="Nexa Book"/>
                        </a:rPr>
                        <a:t>30892</a:t>
                      </a:r>
                    </a:p>
                  </a:txBody>
                  <a:tcPr marL="2858" marR="2858" marT="2858" marB="0" anchor="ctr">
                    <a:noFill/>
                  </a:tcPr>
                </a:tc>
                <a:tc>
                  <a:txBody>
                    <a:bodyPr/>
                    <a:lstStyle/>
                    <a:p>
                      <a:pPr algn="ctr">
                        <a:defRPr sz="600">
                          <a:latin typeface="Nexa Book"/>
                        </a:defRPr>
                      </a:pPr>
                      <a:r>
                        <a:rPr sz="600">
                          <a:latin typeface="Nexa Book"/>
                        </a:rPr>
                        <a:t>218%</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241042866"/>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Champagnes  |  NICOLAS Q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329%</a:t>
                      </a:r>
                    </a:p>
                  </a:txBody>
                  <a:tcPr marL="2858" marR="2858" marT="2858" marB="0" anchor="ctr">
                    <a:noFill/>
                  </a:tcPr>
                </a:tc>
                <a:tc>
                  <a:txBody>
                    <a:bodyPr/>
                    <a:lstStyle/>
                    <a:p>
                      <a:pPr algn="ctr">
                        <a:defRPr sz="600">
                          <a:latin typeface="Nexa Book"/>
                        </a:defRPr>
                      </a:pPr>
                      <a:r>
                        <a:rPr sz="600">
                          <a:latin typeface="Nexa Book"/>
                        </a:rPr>
                        <a:t>3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1588%</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0</a:t>
                      </a:r>
                    </a:p>
                  </a:txBody>
                  <a:tcPr marL="2858" marR="2858" marT="2858" marB="0" anchor="ctr">
                    <a:noFill/>
                  </a:tcPr>
                </a:tc>
                <a:tc>
                  <a:txBody>
                    <a:bodyPr/>
                    <a:lstStyle/>
                    <a:p>
                      <a:pPr algn="ctr">
                        <a:defRPr sz="600">
                          <a:latin typeface="Nexa Book"/>
                        </a:defRPr>
                      </a:pPr>
                      <a:r>
                        <a:rPr sz="600">
                          <a:latin typeface="Nexa Book"/>
                        </a:rPr>
                        <a:t>2'243</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14%</a:t>
                      </a:r>
                    </a:p>
                  </a:txBody>
                  <a:tcPr marL="2858" marR="2858" marT="2858" marB="0" anchor="ctr">
                    <a:noFill/>
                  </a:tcPr>
                </a:tc>
                <a:tc>
                  <a:txBody>
                    <a:bodyPr/>
                    <a:lstStyle/>
                    <a:p>
                      <a:pPr algn="ctr">
                        <a:defRPr sz="600">
                          <a:latin typeface="Nexa Book"/>
                        </a:defRPr>
                      </a:pPr>
                      <a:r>
                        <a:rPr sz="600">
                          <a:latin typeface="Nexa Book"/>
                        </a:rPr>
                        <a:t>827</a:t>
                      </a:r>
                    </a:p>
                  </a:txBody>
                  <a:tcPr marL="2858" marR="2858" marT="2858" marB="0" anchor="ctr">
                    <a:noFill/>
                  </a:tcPr>
                </a:tc>
                <a:tc>
                  <a:txBody>
                    <a:bodyPr/>
                    <a:lstStyle/>
                    <a:p>
                      <a:pPr algn="ctr">
                        <a:defRPr sz="600">
                          <a:latin typeface="Nexa Book"/>
                        </a:defRPr>
                      </a:pPr>
                      <a:r>
                        <a:rPr sz="600">
                          <a:latin typeface="Nexa Book"/>
                        </a:rPr>
                        <a:t>10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41.42</a:t>
                      </a:r>
                    </a:p>
                  </a:txBody>
                  <a:tcPr marL="2858" marR="2858" marT="2858" marB="0" anchor="ctr">
                    <a:noFill/>
                  </a:tcPr>
                </a:tc>
                <a:tc>
                  <a:txBody>
                    <a:bodyPr/>
                    <a:lstStyle/>
                    <a:p>
                      <a:pPr algn="ctr">
                        <a:defRPr sz="600">
                          <a:latin typeface="Nexa Book"/>
                        </a:defRPr>
                      </a:pPr>
                      <a:r>
                        <a:rPr sz="600">
                          <a:latin typeface="Nexa Book"/>
                        </a:rPr>
                        <a:t> 30.23</a:t>
                      </a:r>
                    </a:p>
                  </a:txBody>
                  <a:tcPr marL="2858" marR="2858" marT="2858" marB="0" anchor="ctr">
                    <a:noFill/>
                  </a:tcPr>
                </a:tc>
                <a:tc>
                  <a:txBody>
                    <a:bodyPr/>
                    <a:lstStyle/>
                    <a:p>
                      <a:pPr algn="ctr">
                        <a:defRPr sz="600">
                          <a:latin typeface="Nexa Book"/>
                        </a:defRPr>
                      </a:pPr>
                      <a:r>
                        <a:rPr sz="600">
                          <a:latin typeface="Nexa Book"/>
                        </a:rPr>
                        <a:t>1'058</a:t>
                      </a:r>
                    </a:p>
                  </a:txBody>
                  <a:tcPr marL="2858" marR="2858" marT="2858" marB="0" anchor="ctr">
                    <a:noFill/>
                  </a:tcPr>
                </a:tc>
                <a:tc>
                  <a:txBody>
                    <a:bodyPr/>
                    <a:lstStyle/>
                    <a:p>
                      <a:pPr algn="ctr">
                        <a:defRPr sz="600">
                          <a:latin typeface="Nexa Book"/>
                        </a:defRPr>
                      </a:pPr>
                      <a:r>
                        <a:rPr sz="600">
                          <a:latin typeface="Nexa Book"/>
                        </a:rPr>
                        <a:t>276%</a:t>
                      </a:r>
                    </a:p>
                  </a:txBody>
                  <a:tcPr marL="2858" marR="2858" marT="2858" marB="0" anchor="ctr">
                    <a:noFill/>
                  </a:tcPr>
                </a:tc>
                <a:tc>
                  <a:txBody>
                    <a:bodyPr/>
                    <a:lstStyle/>
                    <a:p>
                      <a:pPr algn="ctr">
                        <a:defRPr sz="600">
                          <a:latin typeface="Nexa Book"/>
                        </a:defRPr>
                      </a:pPr>
                      <a:r>
                        <a:rPr sz="600">
                          <a:latin typeface="Nexa Book"/>
                        </a:rPr>
                        <a:t>367%</a:t>
                      </a:r>
                    </a:p>
                  </a:txBody>
                  <a:tcPr marL="2858" marR="2858" marT="2858" marB="0" anchor="ctr">
                    <a:noFill/>
                  </a:tcPr>
                </a:tc>
                <a:tc>
                  <a:txBody>
                    <a:bodyPr/>
                    <a:lstStyle/>
                    <a:p>
                      <a:pPr algn="ctr">
                        <a:defRPr sz="600">
                          <a:latin typeface="Nexa Book"/>
                        </a:defRPr>
                      </a:pPr>
                      <a:r>
                        <a:rPr sz="600">
                          <a:latin typeface="Nexa Book"/>
                        </a:rPr>
                        <a:t>923</a:t>
                      </a:r>
                    </a:p>
                  </a:txBody>
                  <a:tcPr marL="2858" marR="2858" marT="2858" marB="0" anchor="ctr">
                    <a:noFill/>
                  </a:tcPr>
                </a:tc>
                <a:tc>
                  <a:txBody>
                    <a:bodyPr/>
                    <a:lstStyle/>
                    <a:p>
                      <a:pPr algn="ctr">
                        <a:defRPr sz="600">
                          <a:latin typeface="Nexa Book"/>
                        </a:defRPr>
                      </a:pPr>
                      <a:r>
                        <a:rPr sz="600">
                          <a:latin typeface="Nexa Book"/>
                        </a:rPr>
                        <a:t>277%</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784</a:t>
                      </a:r>
                    </a:p>
                  </a:txBody>
                  <a:tcPr marL="2858" marR="2858" marT="2858" marB="0" anchor="ctr">
                    <a:noFill/>
                  </a:tcPr>
                </a:tc>
                <a:tc>
                  <a:txBody>
                    <a:bodyPr/>
                    <a:lstStyle/>
                    <a:p>
                      <a:pPr algn="ctr">
                        <a:defRPr sz="600">
                          <a:latin typeface="Nexa Book"/>
                        </a:defRPr>
                      </a:pPr>
                      <a:r>
                        <a:rPr sz="600">
                          <a:latin typeface="Nexa Book"/>
                        </a:rPr>
                        <a:t>1105%</a:t>
                      </a:r>
                    </a:p>
                  </a:txBody>
                  <a:tcPr marL="2858" marR="2858" marT="2858" marB="0" anchor="ctr">
                    <a:noFill/>
                  </a:tcPr>
                </a:tc>
                <a:tc>
                  <a:txBody>
                    <a:bodyPr/>
                    <a:lstStyle/>
                    <a:p>
                      <a:pPr algn="ctr">
                        <a:defRPr sz="600">
                          <a:latin typeface="Nexa Book"/>
                        </a:defRPr>
                      </a:pPr>
                      <a:r>
                        <a:rPr sz="600">
                          <a:latin typeface="Nexa Book"/>
                        </a:rPr>
                        <a:t>1633%</a:t>
                      </a:r>
                    </a:p>
                  </a:txBody>
                  <a:tcPr marL="2858" marR="2858" marT="2858" marB="0" anchor="ctr">
                    <a:noFill/>
                  </a:tcPr>
                </a:tc>
                <a:tc>
                  <a:txBody>
                    <a:bodyPr/>
                    <a:lstStyle/>
                    <a:p>
                      <a:pPr algn="ctr">
                        <a:defRPr sz="600">
                          <a:latin typeface="Nexa Book"/>
                        </a:defRPr>
                      </a:pPr>
                      <a:r>
                        <a:rPr sz="600">
                          <a:latin typeface="Nexa Book"/>
                        </a:rPr>
                        <a:t>1636</a:t>
                      </a:r>
                    </a:p>
                  </a:txBody>
                  <a:tcPr marL="2858" marR="2858" marT="2858" marB="0" anchor="ctr">
                    <a:noFill/>
                  </a:tcPr>
                </a:tc>
                <a:tc>
                  <a:txBody>
                    <a:bodyPr/>
                    <a:lstStyle/>
                    <a:p>
                      <a:pPr algn="ctr">
                        <a:defRPr sz="600">
                          <a:latin typeface="Nexa Book"/>
                        </a:defRPr>
                      </a:pPr>
                      <a:r>
                        <a:rPr sz="600">
                          <a:latin typeface="Nexa Book"/>
                        </a:rPr>
                        <a:t>209%</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37.06</a:t>
                      </a:r>
                    </a:p>
                  </a:txBody>
                  <a:tcPr marL="2858" marR="2858" marT="2858" marB="0" anchor="ctr">
                    <a:noFill/>
                  </a:tcPr>
                </a:tc>
                <a:tc>
                  <a:txBody>
                    <a:bodyPr/>
                    <a:lstStyle/>
                    <a:p>
                      <a:pPr algn="ctr">
                        <a:defRPr sz="600">
                          <a:latin typeface="Nexa Book"/>
                        </a:defRPr>
                      </a:pPr>
                      <a:r>
                        <a:rPr sz="600">
                          <a:latin typeface="Nexa Book"/>
                        </a:rPr>
                        <a:t> 26.27</a:t>
                      </a:r>
                    </a:p>
                  </a:txBody>
                  <a:tcPr marL="2858" marR="2858" marT="2858" marB="0" anchor="ctr">
                    <a:noFill/>
                  </a:tcPr>
                </a:tc>
                <a:tc>
                  <a:txBody>
                    <a:bodyPr/>
                    <a:lstStyle/>
                    <a:p>
                      <a:pPr algn="ctr">
                        <a:defRPr sz="600">
                          <a:latin typeface="Nexa Book"/>
                        </a:defRPr>
                      </a:pPr>
                      <a:r>
                        <a:rPr sz="600">
                          <a:latin typeface="Nexa Book"/>
                        </a:rPr>
                        <a:t>2'706</a:t>
                      </a:r>
                    </a:p>
                  </a:txBody>
                  <a:tcPr marL="2858" marR="2858" marT="2858" marB="0" anchor="ctr">
                    <a:noFill/>
                  </a:tcPr>
                </a:tc>
                <a:tc>
                  <a:txBody>
                    <a:bodyPr/>
                    <a:lstStyle/>
                    <a:p>
                      <a:pPr algn="ctr">
                        <a:defRPr sz="600">
                          <a:latin typeface="Nexa Book"/>
                        </a:defRPr>
                      </a:pPr>
                      <a:r>
                        <a:rPr sz="600">
                          <a:latin typeface="Nexa Book"/>
                        </a:rPr>
                        <a:t>594%</a:t>
                      </a:r>
                    </a:p>
                  </a:txBody>
                  <a:tcPr marL="2858" marR="2858" marT="2858" marB="0" anchor="ctr">
                    <a:noFill/>
                  </a:tcPr>
                </a:tc>
                <a:tc>
                  <a:txBody>
                    <a:bodyPr/>
                    <a:lstStyle/>
                    <a:p>
                      <a:pPr algn="ctr">
                        <a:defRPr sz="600">
                          <a:latin typeface="Nexa Book"/>
                        </a:defRPr>
                      </a:pPr>
                      <a:r>
                        <a:rPr sz="600">
                          <a:latin typeface="Nexa Book"/>
                        </a:rPr>
                        <a:t>825%</a:t>
                      </a:r>
                    </a:p>
                  </a:txBody>
                  <a:tcPr marL="2858" marR="2858" marT="2858" marB="0" anchor="ctr">
                    <a:noFill/>
                  </a:tcPr>
                </a:tc>
                <a:tc>
                  <a:txBody>
                    <a:bodyPr/>
                    <a:lstStyle/>
                    <a:p>
                      <a:pPr algn="ctr">
                        <a:defRPr sz="600">
                          <a:latin typeface="Nexa Book"/>
                        </a:defRPr>
                      </a:pPr>
                      <a:r>
                        <a:rPr sz="600">
                          <a:latin typeface="Nexa Book"/>
                        </a:rPr>
                        <a:t>2447</a:t>
                      </a:r>
                    </a:p>
                  </a:txBody>
                  <a:tcPr marL="2858" marR="2858" marT="2858" marB="0" anchor="ctr">
                    <a:noFill/>
                  </a:tcPr>
                </a:tc>
                <a:tc>
                  <a:txBody>
                    <a:bodyPr/>
                    <a:lstStyle/>
                    <a:p>
                      <a:pPr algn="ctr">
                        <a:defRPr sz="600">
                          <a:latin typeface="Nexa Book"/>
                        </a:defRPr>
                      </a:pPr>
                      <a:r>
                        <a:rPr sz="600">
                          <a:latin typeface="Nexa Book"/>
                        </a:rPr>
                        <a:t>27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7.06</a:t>
                      </a:r>
                    </a:p>
                  </a:txBody>
                  <a:tcPr marL="2858" marR="2858" marT="2858" marB="0" anchor="ctr">
                    <a:noFill/>
                  </a:tcPr>
                </a:tc>
                <a:tc>
                  <a:txBody>
                    <a:bodyPr/>
                    <a:lstStyle/>
                    <a:p>
                      <a:pPr algn="ctr">
                        <a:defRPr sz="600">
                          <a:latin typeface="Nexa Book"/>
                        </a:defRPr>
                      </a:pPr>
                      <a:r>
                        <a:rPr sz="600">
                          <a:latin typeface="Nexa Book"/>
                        </a:rPr>
                        <a:t> 26.34</a:t>
                      </a:r>
                    </a:p>
                  </a:txBody>
                  <a:tcPr marL="2858" marR="2858" marT="2858" marB="0" anchor="ctr">
                    <a:noFill/>
                  </a:tcPr>
                </a:tc>
                <a:tc>
                  <a:txBody>
                    <a:bodyPr/>
                    <a:lstStyle/>
                    <a:p>
                      <a:pPr algn="ctr">
                        <a:defRPr sz="600">
                          <a:latin typeface="Nexa Book"/>
                        </a:defRPr>
                      </a:pPr>
                      <a:r>
                        <a:rPr sz="600">
                          <a:latin typeface="Nexa Book"/>
                        </a:rPr>
                        <a:t>6'822</a:t>
                      </a:r>
                    </a:p>
                  </a:txBody>
                  <a:tcPr marL="2858" marR="2858" marT="2858" marB="0" anchor="ctr">
                    <a:noFill/>
                  </a:tcPr>
                </a:tc>
                <a:tc>
                  <a:txBody>
                    <a:bodyPr/>
                    <a:lstStyle/>
                    <a:p>
                      <a:pPr algn="ctr">
                        <a:defRPr sz="600">
                          <a:latin typeface="Nexa Book"/>
                        </a:defRPr>
                      </a:pPr>
                      <a:r>
                        <a:rPr sz="600">
                          <a:latin typeface="Nexa Book"/>
                        </a:rPr>
                        <a:t>985%</a:t>
                      </a:r>
                    </a:p>
                  </a:txBody>
                  <a:tcPr marL="2858" marR="2858" marT="2858" marB="0" anchor="ctr">
                    <a:noFill/>
                  </a:tcPr>
                </a:tc>
                <a:tc>
                  <a:txBody>
                    <a:bodyPr/>
                    <a:lstStyle/>
                    <a:p>
                      <a:pPr algn="ctr">
                        <a:defRPr sz="600">
                          <a:latin typeface="Nexa Book"/>
                        </a:defRPr>
                      </a:pPr>
                      <a:r>
                        <a:rPr sz="600">
                          <a:latin typeface="Nexa Book"/>
                        </a:rPr>
                        <a:t>1525%</a:t>
                      </a:r>
                    </a:p>
                  </a:txBody>
                  <a:tcPr marL="2858" marR="2858" marT="2858" marB="0" anchor="ctr">
                    <a:noFill/>
                  </a:tcPr>
                </a:tc>
                <a:tc>
                  <a:txBody>
                    <a:bodyPr/>
                    <a:lstStyle/>
                    <a:p>
                      <a:pPr algn="ctr">
                        <a:defRPr sz="600">
                          <a:latin typeface="Nexa Book"/>
                        </a:defRPr>
                      </a:pPr>
                      <a:r>
                        <a:rPr sz="600">
                          <a:latin typeface="Nexa Book"/>
                        </a:rPr>
                        <a:t>6227</a:t>
                      </a:r>
                    </a:p>
                  </a:txBody>
                  <a:tcPr marL="2858" marR="2858" marT="2858" marB="0" anchor="ctr">
                    <a:noFill/>
                  </a:tcPr>
                </a:tc>
                <a:tc>
                  <a:txBody>
                    <a:bodyPr/>
                    <a:lstStyle/>
                    <a:p>
                      <a:pPr algn="ctr">
                        <a:defRPr sz="600">
                          <a:latin typeface="Nexa Book"/>
                        </a:defRPr>
                      </a:pPr>
                      <a:r>
                        <a:rPr sz="600">
                          <a:latin typeface="Nexa Book"/>
                        </a:rPr>
                        <a:t>183%</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41.35</a:t>
                      </a:r>
                    </a:p>
                  </a:txBody>
                  <a:tcPr marL="2858" marR="2858" marT="2858" marB="0" anchor="ctr">
                    <a:noFill/>
                  </a:tcPr>
                </a:tc>
                <a:tc>
                  <a:txBody>
                    <a:bodyPr/>
                    <a:lstStyle/>
                    <a:p>
                      <a:pPr algn="ctr">
                        <a:defRPr sz="600">
                          <a:latin typeface="Nexa Book"/>
                        </a:defRPr>
                      </a:pPr>
                      <a:r>
                        <a:rPr sz="600">
                          <a:latin typeface="Nexa Book"/>
                        </a:rPr>
                        <a:t> 29.95</a:t>
                      </a:r>
                    </a:p>
                  </a:txBody>
                  <a:tcPr marL="2858" marR="2858" marT="2858" marB="0" anchor="ctr">
                    <a:noFill/>
                  </a:tcPr>
                </a:tc>
                <a:tc>
                  <a:txBody>
                    <a:bodyPr/>
                    <a:lstStyle/>
                    <a:p>
                      <a:pPr algn="ctr">
                        <a:defRPr sz="600">
                          <a:latin typeface="Nexa Book"/>
                        </a:defRPr>
                      </a:pPr>
                      <a:r>
                        <a:rPr sz="600">
                          <a:latin typeface="Nexa Book"/>
                        </a:rPr>
                        <a:t>8'447</a:t>
                      </a:r>
                    </a:p>
                  </a:txBody>
                  <a:tcPr marL="2858" marR="2858" marT="2858" marB="0" anchor="ctr">
                    <a:noFill/>
                  </a:tcPr>
                </a:tc>
                <a:tc>
                  <a:txBody>
                    <a:bodyPr/>
                    <a:lstStyle/>
                    <a:p>
                      <a:pPr algn="ctr">
                        <a:defRPr sz="600">
                          <a:latin typeface="Nexa Book"/>
                        </a:defRPr>
                      </a:pPr>
                      <a:r>
                        <a:rPr sz="600">
                          <a:latin typeface="Nexa Book"/>
                        </a:rPr>
                        <a:t>631%</a:t>
                      </a:r>
                    </a:p>
                  </a:txBody>
                  <a:tcPr marL="2858" marR="2858" marT="2858" marB="0" anchor="ctr">
                    <a:noFill/>
                  </a:tcPr>
                </a:tc>
                <a:tc>
                  <a:txBody>
                    <a:bodyPr/>
                    <a:lstStyle/>
                    <a:p>
                      <a:pPr algn="ctr">
                        <a:defRPr sz="600">
                          <a:latin typeface="Nexa Book"/>
                        </a:defRPr>
                      </a:pPr>
                      <a:r>
                        <a:rPr sz="600">
                          <a:latin typeface="Nexa Book"/>
                        </a:rPr>
                        <a:t>910%</a:t>
                      </a:r>
                    </a:p>
                  </a:txBody>
                  <a:tcPr marL="2858" marR="2858" marT="2858" marB="0" anchor="ctr">
                    <a:noFill/>
                  </a:tcPr>
                </a:tc>
                <a:tc>
                  <a:txBody>
                    <a:bodyPr/>
                    <a:lstStyle/>
                    <a:p>
                      <a:pPr algn="ctr">
                        <a:defRPr sz="600">
                          <a:latin typeface="Nexa Book"/>
                        </a:defRPr>
                      </a:pPr>
                      <a:r>
                        <a:rPr sz="600">
                          <a:latin typeface="Nexa Book"/>
                        </a:rPr>
                        <a:t>7291</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 37.02</a:t>
                      </a:r>
                    </a:p>
                  </a:txBody>
                  <a:tcPr marL="2858" marR="2858" marT="2858" marB="0" anchor="ctr">
                    <a:noFill/>
                  </a:tcPr>
                </a:tc>
                <a:tc>
                  <a:txBody>
                    <a:bodyPr/>
                    <a:lstStyle/>
                    <a:p>
                      <a:pPr algn="ctr">
                        <a:defRPr sz="600">
                          <a:latin typeface="Nexa Book"/>
                        </a:defRPr>
                      </a:pPr>
                      <a:r>
                        <a:rPr sz="600">
                          <a:latin typeface="Nexa Book"/>
                        </a:rPr>
                        <a:t> 26.43</a:t>
                      </a:r>
                    </a:p>
                  </a:txBody>
                  <a:tcPr marL="2858" marR="2858" marT="2858" marB="0" anchor="ctr">
                    <a:noFill/>
                  </a:tcPr>
                </a:tc>
                <a:tc>
                  <a:txBody>
                    <a:bodyPr/>
                    <a:lstStyle/>
                    <a:p>
                      <a:pPr algn="ctr">
                        <a:defRPr sz="600">
                          <a:latin typeface="Nexa Book"/>
                        </a:defRPr>
                      </a:pPr>
                      <a:r>
                        <a:rPr sz="600">
                          <a:latin typeface="Nexa Book"/>
                        </a:rPr>
                        <a:t>56'718</a:t>
                      </a:r>
                    </a:p>
                  </a:txBody>
                  <a:tcPr marL="2858" marR="2858" marT="2858" marB="0" anchor="ctr">
                    <a:noFill/>
                  </a:tcPr>
                </a:tc>
                <a:tc>
                  <a:txBody>
                    <a:bodyPr/>
                    <a:lstStyle/>
                    <a:p>
                      <a:pPr algn="ctr">
                        <a:defRPr sz="600">
                          <a:latin typeface="Nexa Book"/>
                        </a:defRPr>
                      </a:pPr>
                      <a:r>
                        <a:rPr sz="600">
                          <a:latin typeface="Nexa Book"/>
                        </a:rPr>
                        <a:t>715%</a:t>
                      </a:r>
                    </a:p>
                  </a:txBody>
                  <a:tcPr marL="2858" marR="2858" marT="2858" marB="0" anchor="ctr">
                    <a:noFill/>
                  </a:tcPr>
                </a:tc>
                <a:tc>
                  <a:txBody>
                    <a:bodyPr/>
                    <a:lstStyle/>
                    <a:p>
                      <a:pPr algn="ctr">
                        <a:defRPr sz="600">
                          <a:latin typeface="Nexa Book"/>
                        </a:defRPr>
                      </a:pPr>
                      <a:r>
                        <a:rPr sz="600">
                          <a:latin typeface="Nexa Book"/>
                        </a:rPr>
                        <a:t>1021%</a:t>
                      </a:r>
                    </a:p>
                  </a:txBody>
                  <a:tcPr marL="2858" marR="2858" marT="2858" marB="0" anchor="ctr">
                    <a:noFill/>
                  </a:tcPr>
                </a:tc>
                <a:tc>
                  <a:txBody>
                    <a:bodyPr/>
                    <a:lstStyle/>
                    <a:p>
                      <a:pPr algn="ctr">
                        <a:defRPr sz="600">
                          <a:latin typeface="Nexa Book"/>
                        </a:defRPr>
                      </a:pPr>
                      <a:r>
                        <a:rPr sz="600">
                          <a:latin typeface="Nexa Book"/>
                        </a:rPr>
                        <a:t>52407</a:t>
                      </a:r>
                    </a:p>
                  </a:txBody>
                  <a:tcPr marL="2858" marR="2858" marT="2858" marB="0" anchor="ctr">
                    <a:noFill/>
                  </a:tcPr>
                </a:tc>
                <a:tc>
                  <a:txBody>
                    <a:bodyPr/>
                    <a:lstStyle/>
                    <a:p>
                      <a:pPr algn="ctr">
                        <a:defRPr sz="600">
                          <a:latin typeface="Nexa Book"/>
                        </a:defRPr>
                      </a:pPr>
                      <a:r>
                        <a:rPr sz="600">
                          <a:latin typeface="Nexa Book"/>
                        </a:rPr>
                        <a:t>23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581348364"/>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Champagnes  |  NICOLAS RHO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8.00</a:t>
                      </a:r>
                    </a:p>
                  </a:txBody>
                  <a:tcPr marL="2858" marR="2858" marT="2858" marB="0" anchor="ctr">
                    <a:noFill/>
                  </a:tcPr>
                </a:tc>
                <a:tc>
                  <a:txBody>
                    <a:bodyPr/>
                    <a:lstStyle/>
                    <a:p>
                      <a:pPr algn="ctr">
                        <a:defRPr sz="600">
                          <a:latin typeface="Nexa Book"/>
                        </a:defRPr>
                      </a:pPr>
                      <a:r>
                        <a:rPr sz="600">
                          <a:latin typeface="Nexa Book"/>
                        </a:rPr>
                        <a:t>1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5.60</a:t>
                      </a:r>
                    </a:p>
                  </a:txBody>
                  <a:tcPr marL="2858" marR="2858" marT="2858" marB="0" anchor="ctr">
                    <a:noFill/>
                  </a:tcPr>
                </a:tc>
                <a:tc>
                  <a:txBody>
                    <a:bodyPr/>
                    <a:lstStyle/>
                    <a:p>
                      <a:pPr algn="ctr">
                        <a:defRPr sz="600">
                          <a:latin typeface="Nexa Book"/>
                        </a:defRPr>
                      </a:pPr>
                      <a:r>
                        <a:rPr sz="600">
                          <a:latin typeface="Nexa Book"/>
                        </a:rPr>
                        <a:t>128</a:t>
                      </a:r>
                    </a:p>
                  </a:txBody>
                  <a:tcPr marL="2858" marR="2858" marT="2858" marB="0" anchor="ctr">
                    <a:noFill/>
                  </a:tcPr>
                </a:tc>
                <a:tc>
                  <a:txBody>
                    <a:bodyPr/>
                    <a:lstStyle/>
                    <a:p>
                      <a:pPr algn="ctr">
                        <a:defRPr sz="600">
                          <a:latin typeface="Nexa Book"/>
                        </a:defRPr>
                      </a:pPr>
                      <a:r>
                        <a:rPr sz="600">
                          <a:latin typeface="Nexa Book"/>
                        </a:rPr>
                        <a:t>7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54</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37.14</a:t>
                      </a:r>
                    </a:p>
                  </a:txBody>
                  <a:tcPr marL="2858" marR="2858" marT="2858" marB="0" anchor="ctr">
                    <a:noFill/>
                  </a:tcPr>
                </a:tc>
                <a:tc>
                  <a:txBody>
                    <a:bodyPr/>
                    <a:lstStyle/>
                    <a:p>
                      <a:pPr algn="ctr">
                        <a:defRPr sz="600">
                          <a:latin typeface="Nexa Book"/>
                        </a:defRPr>
                      </a:pPr>
                      <a:r>
                        <a:rPr sz="600">
                          <a:latin typeface="Nexa Book"/>
                        </a:rPr>
                        <a:t> 25.86</a:t>
                      </a:r>
                    </a:p>
                  </a:txBody>
                  <a:tcPr marL="2858" marR="2858" marT="2858" marB="0" anchor="ctr">
                    <a:noFill/>
                  </a:tcPr>
                </a:tc>
                <a:tc>
                  <a:txBody>
                    <a:bodyPr/>
                    <a:lstStyle/>
                    <a:p>
                      <a:pPr algn="ctr">
                        <a:defRPr sz="600">
                          <a:latin typeface="Nexa Book"/>
                        </a:defRPr>
                      </a:pPr>
                      <a:r>
                        <a:rPr sz="600">
                          <a:latin typeface="Nexa Book"/>
                        </a:rPr>
                        <a:t>181</a:t>
                      </a:r>
                    </a:p>
                  </a:txBody>
                  <a:tcPr marL="2858" marR="2858" marT="2858" marB="0" anchor="ctr">
                    <a:noFill/>
                  </a:tcPr>
                </a:tc>
                <a:tc>
                  <a:txBody>
                    <a:bodyPr/>
                    <a:lstStyle/>
                    <a:p>
                      <a:pPr algn="ctr">
                        <a:defRPr sz="600">
                          <a:latin typeface="Nexa Book"/>
                        </a:defRPr>
                      </a:pPr>
                      <a:r>
                        <a:rPr sz="600">
                          <a:latin typeface="Nexa Book"/>
                        </a:rPr>
                        <a:t>62%</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37.04</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796</a:t>
                      </a:r>
                    </a:p>
                  </a:txBody>
                  <a:tcPr marL="2858" marR="2858" marT="2858" marB="0" anchor="ctr">
                    <a:noFill/>
                  </a:tcPr>
                </a:tc>
                <a:tc>
                  <a:txBody>
                    <a:bodyPr/>
                    <a:lstStyle/>
                    <a:p>
                      <a:pPr algn="ctr">
                        <a:defRPr sz="600">
                          <a:latin typeface="Nexa Book"/>
                        </a:defRPr>
                      </a:pPr>
                      <a:r>
                        <a:rPr sz="600">
                          <a:latin typeface="Nexa Book"/>
                        </a:rPr>
                        <a:t>255%</a:t>
                      </a:r>
                    </a:p>
                  </a:txBody>
                  <a:tcPr marL="2858" marR="2858" marT="2858" marB="0" anchor="ctr">
                    <a:noFill/>
                  </a:tcPr>
                </a:tc>
                <a:tc>
                  <a:txBody>
                    <a:bodyPr/>
                    <a:lstStyle/>
                    <a:p>
                      <a:pPr algn="ctr">
                        <a:defRPr sz="600">
                          <a:latin typeface="Nexa Book"/>
                        </a:defRPr>
                      </a:pPr>
                      <a:r>
                        <a:rPr sz="600">
                          <a:latin typeface="Nexa Book"/>
                        </a:rPr>
                        <a:t>283%</a:t>
                      </a:r>
                    </a:p>
                  </a:txBody>
                  <a:tcPr marL="2858" marR="2858" marT="2858" marB="0" anchor="ctr">
                    <a:noFill/>
                  </a:tcPr>
                </a:tc>
                <a:tc>
                  <a:txBody>
                    <a:bodyPr/>
                    <a:lstStyle/>
                    <a:p>
                      <a:pPr algn="ctr">
                        <a:defRPr sz="600">
                          <a:latin typeface="Nexa Book"/>
                        </a:defRPr>
                      </a:pPr>
                      <a:r>
                        <a:rPr sz="600">
                          <a:latin typeface="Nexa Book"/>
                        </a:rPr>
                        <a:t>572</a:t>
                      </a:r>
                    </a:p>
                  </a:txBody>
                  <a:tcPr marL="2858" marR="2858" marT="2858" marB="0" anchor="ctr">
                    <a:noFill/>
                  </a:tcPr>
                </a:tc>
                <a:tc>
                  <a:txBody>
                    <a:bodyPr/>
                    <a:lstStyle/>
                    <a:p>
                      <a:pPr algn="ctr">
                        <a:defRPr sz="600">
                          <a:latin typeface="Nexa Book"/>
                        </a:defRPr>
                      </a:pPr>
                      <a:r>
                        <a:rPr sz="600">
                          <a:latin typeface="Nexa Book"/>
                        </a:rPr>
                        <a:t>91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2'248</a:t>
                      </a:r>
                    </a:p>
                  </a:txBody>
                  <a:tcPr marL="2858" marR="2858" marT="2858" marB="0" anchor="ctr">
                    <a:noFill/>
                  </a:tcPr>
                </a:tc>
                <a:tc>
                  <a:txBody>
                    <a:bodyPr/>
                    <a:lstStyle/>
                    <a:p>
                      <a:pPr algn="ctr">
                        <a:defRPr sz="600">
                          <a:latin typeface="Nexa Book"/>
                        </a:defRPr>
                      </a:pPr>
                      <a:r>
                        <a:rPr sz="600">
                          <a:latin typeface="Nexa Book"/>
                        </a:rPr>
                        <a:t>1246%</a:t>
                      </a:r>
                    </a:p>
                  </a:txBody>
                  <a:tcPr marL="2858" marR="2858" marT="2858" marB="0" anchor="ctr">
                    <a:noFill/>
                  </a:tcPr>
                </a:tc>
                <a:tc>
                  <a:txBody>
                    <a:bodyPr/>
                    <a:lstStyle/>
                    <a:p>
                      <a:pPr algn="ctr">
                        <a:defRPr sz="600">
                          <a:latin typeface="Nexa Book"/>
                        </a:defRPr>
                      </a:pPr>
                      <a:r>
                        <a:rPr sz="600">
                          <a:latin typeface="Nexa Book"/>
                        </a:rPr>
                        <a:t>1767%</a:t>
                      </a:r>
                    </a:p>
                  </a:txBody>
                  <a:tcPr marL="2858" marR="2858" marT="2858" marB="0" anchor="ctr">
                    <a:noFill/>
                  </a:tcPr>
                </a:tc>
                <a:tc>
                  <a:txBody>
                    <a:bodyPr/>
                    <a:lstStyle/>
                    <a:p>
                      <a:pPr algn="ctr">
                        <a:defRPr sz="600">
                          <a:latin typeface="Nexa Book"/>
                        </a:defRPr>
                      </a:pPr>
                      <a:r>
                        <a:rPr sz="600">
                          <a:latin typeface="Nexa Book"/>
                        </a:rPr>
                        <a:t>2081</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5402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7%</a:t>
                      </a:r>
                    </a:p>
                  </a:txBody>
                  <a:tcPr marL="2858" marR="2858" marT="2858" marB="0" anchor="ctr">
                    <a:noFill/>
                  </a:tcPr>
                </a:tc>
                <a:tc>
                  <a:txBody>
                    <a:bodyPr/>
                    <a:lstStyle/>
                    <a:p>
                      <a:pPr algn="ctr">
                        <a:defRPr sz="600">
                          <a:latin typeface="Nexa Book"/>
                        </a:defRPr>
                      </a:pPr>
                      <a:r>
                        <a:rPr sz="600">
                          <a:latin typeface="Nexa Book"/>
                        </a:rPr>
                        <a:t> 37.12</a:t>
                      </a:r>
                    </a:p>
                  </a:txBody>
                  <a:tcPr marL="2858" marR="2858" marT="2858" marB="0" anchor="ctr">
                    <a:noFill/>
                  </a:tcPr>
                </a:tc>
                <a:tc>
                  <a:txBody>
                    <a:bodyPr/>
                    <a:lstStyle/>
                    <a:p>
                      <a:pPr algn="ctr">
                        <a:defRPr sz="600">
                          <a:latin typeface="Nexa Book"/>
                        </a:defRPr>
                      </a:pPr>
                      <a:r>
                        <a:rPr sz="600">
                          <a:latin typeface="Nexa Book"/>
                        </a:rPr>
                        <a:t> 26.68</a:t>
                      </a:r>
                    </a:p>
                  </a:txBody>
                  <a:tcPr marL="2858" marR="2858" marT="2858" marB="0" anchor="ctr">
                    <a:noFill/>
                  </a:tcPr>
                </a:tc>
                <a:tc>
                  <a:txBody>
                    <a:bodyPr/>
                    <a:lstStyle/>
                    <a:p>
                      <a:pPr algn="ctr">
                        <a:defRPr sz="600">
                          <a:latin typeface="Nexa Book"/>
                        </a:defRPr>
                      </a:pPr>
                      <a:r>
                        <a:rPr sz="600">
                          <a:latin typeface="Nexa Book"/>
                        </a:rPr>
                        <a:t>6'189</a:t>
                      </a:r>
                    </a:p>
                  </a:txBody>
                  <a:tcPr marL="2858" marR="2858" marT="2858" marB="0" anchor="ctr">
                    <a:noFill/>
                  </a:tcPr>
                </a:tc>
                <a:tc>
                  <a:txBody>
                    <a:bodyPr/>
                    <a:lstStyle/>
                    <a:p>
                      <a:pPr algn="ctr">
                        <a:defRPr sz="600">
                          <a:latin typeface="Nexa Book"/>
                        </a:defRPr>
                      </a:pPr>
                      <a:r>
                        <a:rPr sz="600">
                          <a:latin typeface="Nexa Book"/>
                        </a:rPr>
                        <a:t>588%</a:t>
                      </a:r>
                    </a:p>
                  </a:txBody>
                  <a:tcPr marL="2858" marR="2858" marT="2858" marB="0" anchor="ctr">
                    <a:noFill/>
                  </a:tcPr>
                </a:tc>
                <a:tc>
                  <a:txBody>
                    <a:bodyPr/>
                    <a:lstStyle/>
                    <a:p>
                      <a:pPr algn="ctr">
                        <a:defRPr sz="600">
                          <a:latin typeface="Nexa Book"/>
                        </a:defRPr>
                      </a:pPr>
                      <a:r>
                        <a:rPr sz="600">
                          <a:latin typeface="Nexa Book"/>
                        </a:rPr>
                        <a:t>837%</a:t>
                      </a:r>
                    </a:p>
                  </a:txBody>
                  <a:tcPr marL="2858" marR="2858" marT="2858" marB="0" anchor="ctr">
                    <a:noFill/>
                  </a:tcPr>
                </a:tc>
                <a:tc>
                  <a:txBody>
                    <a:bodyPr/>
                    <a:lstStyle/>
                    <a:p>
                      <a:pPr algn="ctr">
                        <a:defRPr sz="600">
                          <a:latin typeface="Nexa Book"/>
                        </a:defRPr>
                      </a:pPr>
                      <a:r>
                        <a:rPr sz="600">
                          <a:latin typeface="Nexa Book"/>
                        </a:rPr>
                        <a:t>5448</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375584359"/>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Champagnes  |  NICOLAS ES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7.08</a:t>
                      </a:r>
                    </a:p>
                  </a:txBody>
                  <a:tcPr marL="2858" marR="2858" marT="2858" marB="0" anchor="ctr">
                    <a:noFill/>
                  </a:tcPr>
                </a:tc>
                <a:tc>
                  <a:txBody>
                    <a:bodyPr/>
                    <a:lstStyle/>
                    <a:p>
                      <a:pPr algn="ctr">
                        <a:defRPr sz="600">
                          <a:latin typeface="Nexa Book"/>
                        </a:defRPr>
                      </a:pPr>
                      <a:r>
                        <a:rPr sz="600">
                          <a:latin typeface="Nexa Book"/>
                        </a:rPr>
                        <a:t>352</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233%</a:t>
                      </a:r>
                    </a:p>
                  </a:txBody>
                  <a:tcPr marL="2858" marR="2858" marT="2858" marB="0" anchor="ctr">
                    <a:noFill/>
                  </a:tcPr>
                </a:tc>
                <a:tc>
                  <a:txBody>
                    <a:bodyPr/>
                    <a:lstStyle/>
                    <a:p>
                      <a:pPr algn="ctr">
                        <a:defRPr sz="600">
                          <a:latin typeface="Nexa Book"/>
                        </a:defRPr>
                      </a:pPr>
                      <a:r>
                        <a:rPr sz="600">
                          <a:latin typeface="Nexa Book"/>
                        </a:rPr>
                        <a:t>202</a:t>
                      </a:r>
                    </a:p>
                  </a:txBody>
                  <a:tcPr marL="2858" marR="2858" marT="2858" marB="0" anchor="ctr">
                    <a:noFill/>
                  </a:tcPr>
                </a:tc>
                <a:tc>
                  <a:txBody>
                    <a:bodyPr/>
                    <a:lstStyle/>
                    <a:p>
                      <a:pPr algn="ctr">
                        <a:defRPr sz="600">
                          <a:latin typeface="Nexa Book"/>
                        </a:defRPr>
                      </a:pPr>
                      <a:r>
                        <a:rPr sz="600">
                          <a:latin typeface="Nexa Book"/>
                        </a:rPr>
                        <a:t>13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330</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200%</a:t>
                      </a:r>
                    </a:p>
                  </a:txBody>
                  <a:tcPr marL="2858" marR="2858" marT="2858" marB="0" anchor="ctr">
                    <a:noFill/>
                  </a:tcPr>
                </a:tc>
                <a:tc>
                  <a:txBody>
                    <a:bodyPr/>
                    <a:lstStyle/>
                    <a:p>
                      <a:pPr algn="ctr">
                        <a:defRPr sz="600">
                          <a:latin typeface="Nexa Book"/>
                        </a:defRPr>
                      </a:pPr>
                      <a:r>
                        <a:rPr sz="600">
                          <a:latin typeface="Nexa Book"/>
                        </a:rPr>
                        <a:t>204</a:t>
                      </a:r>
                    </a:p>
                  </a:txBody>
                  <a:tcPr marL="2858" marR="2858" marT="2858" marB="0" anchor="ctr">
                    <a:noFill/>
                  </a:tcPr>
                </a:tc>
                <a:tc>
                  <a:txBody>
                    <a:bodyPr/>
                    <a:lstStyle/>
                    <a:p>
                      <a:pPr algn="ctr">
                        <a:defRPr sz="600">
                          <a:latin typeface="Nexa Book"/>
                        </a:defRPr>
                      </a:pPr>
                      <a:r>
                        <a:rPr sz="600">
                          <a:latin typeface="Nexa Book"/>
                        </a:rPr>
                        <a:t>425%</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37.18</a:t>
                      </a:r>
                    </a:p>
                  </a:txBody>
                  <a:tcPr marL="2858" marR="2858" marT="2858" marB="0" anchor="ctr">
                    <a:noFill/>
                  </a:tcPr>
                </a:tc>
                <a:tc>
                  <a:txBody>
                    <a:bodyPr/>
                    <a:lstStyle/>
                    <a:p>
                      <a:pPr algn="ctr">
                        <a:defRPr sz="600">
                          <a:latin typeface="Nexa Book"/>
                        </a:defRPr>
                      </a:pPr>
                      <a:r>
                        <a:rPr sz="600">
                          <a:latin typeface="Nexa Book"/>
                        </a:rPr>
                        <a:t> 25.67</a:t>
                      </a:r>
                    </a:p>
                  </a:txBody>
                  <a:tcPr marL="2858" marR="2858" marT="2858" marB="0" anchor="ctr">
                    <a:noFill/>
                  </a:tcPr>
                </a:tc>
                <a:tc>
                  <a:txBody>
                    <a:bodyPr/>
                    <a:lstStyle/>
                    <a:p>
                      <a:pPr algn="ctr">
                        <a:defRPr sz="600">
                          <a:latin typeface="Nexa Book"/>
                        </a:defRPr>
                      </a:pPr>
                      <a:r>
                        <a:rPr sz="600">
                          <a:latin typeface="Nexa Book"/>
                        </a:rPr>
                        <a:t>308</a:t>
                      </a:r>
                    </a:p>
                  </a:txBody>
                  <a:tcPr marL="2858" marR="2858" marT="2858" marB="0" anchor="ctr">
                    <a:noFill/>
                  </a:tcPr>
                </a:tc>
                <a:tc>
                  <a:txBody>
                    <a:bodyPr/>
                    <a:lstStyle/>
                    <a:p>
                      <a:pPr algn="ctr">
                        <a:defRPr sz="600">
                          <a:latin typeface="Nexa Book"/>
                        </a:defRPr>
                      </a:pPr>
                      <a:r>
                        <a:rPr sz="600">
                          <a:latin typeface="Nexa Book"/>
                        </a:rPr>
                        <a:t>711%</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794%</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 37.19</a:t>
                      </a:r>
                    </a:p>
                  </a:txBody>
                  <a:tcPr marL="2858" marR="2858" marT="2858" marB="0" anchor="ctr">
                    <a:noFill/>
                  </a:tcPr>
                </a:tc>
                <a:tc>
                  <a:txBody>
                    <a:bodyPr/>
                    <a:lstStyle/>
                    <a:p>
                      <a:pPr algn="ctr">
                        <a:defRPr sz="600">
                          <a:latin typeface="Nexa Book"/>
                        </a:defRPr>
                      </a:pPr>
                      <a:r>
                        <a:rPr sz="600">
                          <a:latin typeface="Nexa Book"/>
                        </a:rPr>
                        <a:t> 26.87</a:t>
                      </a:r>
                    </a:p>
                  </a:txBody>
                  <a:tcPr marL="2858" marR="2858" marT="2858" marB="0" anchor="ctr">
                    <a:noFill/>
                  </a:tcPr>
                </a:tc>
                <a:tc>
                  <a:txBody>
                    <a:bodyPr/>
                    <a:lstStyle/>
                    <a:p>
                      <a:pPr algn="ctr">
                        <a:defRPr sz="600">
                          <a:latin typeface="Nexa Book"/>
                        </a:defRPr>
                      </a:pPr>
                      <a:r>
                        <a:rPr sz="600">
                          <a:latin typeface="Nexa Book"/>
                        </a:rPr>
                        <a:t>1'397</a:t>
                      </a:r>
                    </a:p>
                  </a:txBody>
                  <a:tcPr marL="2858" marR="2858" marT="2858" marB="0" anchor="ctr">
                    <a:noFill/>
                  </a:tcPr>
                </a:tc>
                <a:tc>
                  <a:txBody>
                    <a:bodyPr/>
                    <a:lstStyle/>
                    <a:p>
                      <a:pPr algn="ctr">
                        <a:defRPr sz="600">
                          <a:latin typeface="Nexa Book"/>
                        </a:defRPr>
                      </a:pPr>
                      <a:r>
                        <a:rPr sz="600">
                          <a:latin typeface="Nexa Book"/>
                        </a:rPr>
                        <a:t>437%</a:t>
                      </a:r>
                    </a:p>
                  </a:txBody>
                  <a:tcPr marL="2858" marR="2858" marT="2858" marB="0" anchor="ctr">
                    <a:noFill/>
                  </a:tcPr>
                </a:tc>
                <a:tc>
                  <a:txBody>
                    <a:bodyPr/>
                    <a:lstStyle/>
                    <a:p>
                      <a:pPr algn="ctr">
                        <a:defRPr sz="600">
                          <a:latin typeface="Nexa Book"/>
                        </a:defRPr>
                      </a:pPr>
                      <a:r>
                        <a:rPr sz="600">
                          <a:latin typeface="Nexa Book"/>
                        </a:rPr>
                        <a:t>875%</a:t>
                      </a:r>
                    </a:p>
                  </a:txBody>
                  <a:tcPr marL="2858" marR="2858" marT="2858" marB="0" anchor="ctr">
                    <a:noFill/>
                  </a:tcPr>
                </a:tc>
                <a:tc>
                  <a:txBody>
                    <a:bodyPr/>
                    <a:lstStyle/>
                    <a:p>
                      <a:pPr algn="ctr">
                        <a:defRPr sz="600">
                          <a:latin typeface="Nexa Book"/>
                        </a:defRPr>
                      </a:pPr>
                      <a:r>
                        <a:rPr sz="600">
                          <a:latin typeface="Nexa Book"/>
                        </a:rPr>
                        <a:t>113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968892013"/>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Champagnes  |  CA D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3</a:t>
                      </a:r>
                    </a:p>
                  </a:txBody>
                  <a:tcPr marL="2858" marR="2858" marT="2858" marB="0" anchor="ctr">
                    <a:noFill/>
                  </a:tcPr>
                </a:tc>
                <a:tc>
                  <a:txBody>
                    <a:bodyPr/>
                    <a:lstStyle/>
                    <a:p>
                      <a:pPr algn="ctr">
                        <a:defRPr sz="600">
                          <a:latin typeface="Nexa Book"/>
                        </a:defRPr>
                      </a:pPr>
                      <a:r>
                        <a:rPr sz="600">
                          <a:latin typeface="Nexa Book"/>
                        </a:rPr>
                        <a:t>642</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186</a:t>
                      </a:r>
                    </a:p>
                  </a:txBody>
                  <a:tcPr marL="2858" marR="2858" marT="2858" marB="0" anchor="ctr">
                    <a:noFill/>
                  </a:tcPr>
                </a:tc>
                <a:tc>
                  <a:txBody>
                    <a:bodyPr/>
                    <a:lstStyle/>
                    <a:p>
                      <a:pPr algn="ctr">
                        <a:defRPr sz="600">
                          <a:latin typeface="Nexa Book"/>
                        </a:defRPr>
                      </a:pPr>
                      <a:r>
                        <a:rPr sz="600">
                          <a:latin typeface="Nexa Book"/>
                        </a:rPr>
                        <a:t>94%</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1.51</a:t>
                      </a:r>
                    </a:p>
                  </a:txBody>
                  <a:tcPr marL="2858" marR="2858" marT="2858" marB="0" anchor="ctr">
                    <a:noFill/>
                  </a:tcPr>
                </a:tc>
                <a:tc>
                  <a:txBody>
                    <a:bodyPr/>
                    <a:lstStyle/>
                    <a:p>
                      <a:pPr algn="ctr">
                        <a:defRPr sz="600">
                          <a:latin typeface="Nexa Book"/>
                        </a:defRPr>
                      </a:pPr>
                      <a:r>
                        <a:rPr sz="600">
                          <a:latin typeface="Nexa Book"/>
                        </a:rPr>
                        <a:t> 30.57</a:t>
                      </a:r>
                    </a:p>
                  </a:txBody>
                  <a:tcPr marL="2858" marR="2858" marT="2858" marB="0" anchor="ctr">
                    <a:noFill/>
                  </a:tcPr>
                </a:tc>
                <a:tc>
                  <a:txBody>
                    <a:bodyPr/>
                    <a:lstStyle/>
                    <a:p>
                      <a:pPr algn="ctr">
                        <a:defRPr sz="600">
                          <a:latin typeface="Nexa Book"/>
                        </a:defRPr>
                      </a:pPr>
                      <a:r>
                        <a:rPr sz="600">
                          <a:latin typeface="Nexa Book"/>
                        </a:rPr>
                        <a:t>428</a:t>
                      </a:r>
                    </a:p>
                  </a:txBody>
                  <a:tcPr marL="2858" marR="2858" marT="2858" marB="0" anchor="ctr">
                    <a:noFill/>
                  </a:tcPr>
                </a:tc>
                <a:tc>
                  <a:txBody>
                    <a:bodyPr/>
                    <a:lstStyle/>
                    <a:p>
                      <a:pPr algn="ctr">
                        <a:defRPr sz="600">
                          <a:latin typeface="Nexa Book"/>
                        </a:defRPr>
                      </a:pPr>
                      <a:r>
                        <a:rPr sz="600">
                          <a:latin typeface="Nexa Book"/>
                        </a:rPr>
                        <a:t>104%</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18</a:t>
                      </a:r>
                    </a:p>
                  </a:txBody>
                  <a:tcPr marL="2858" marR="2858" marT="2858" marB="0" anchor="ctr">
                    <a:noFill/>
                  </a:tcPr>
                </a:tc>
                <a:tc>
                  <a:txBody>
                    <a:bodyPr/>
                    <a:lstStyle/>
                    <a:p>
                      <a:pPr algn="ctr">
                        <a:defRPr sz="600">
                          <a:latin typeface="Nexa Book"/>
                        </a:defRPr>
                      </a:pPr>
                      <a:r>
                        <a:rPr sz="600">
                          <a:latin typeface="Nexa Book"/>
                        </a:rPr>
                        <a:t>641%</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41.78</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350%</a:t>
                      </a:r>
                    </a:p>
                  </a:txBody>
                  <a:tcPr marL="2858" marR="2858" marT="2858" marB="0" anchor="ctr">
                    <a:noFill/>
                  </a:tcPr>
                </a:tc>
                <a:tc>
                  <a:txBody>
                    <a:bodyPr/>
                    <a:lstStyle/>
                    <a:p>
                      <a:pPr algn="ctr">
                        <a:defRPr sz="600">
                          <a:latin typeface="Nexa Book"/>
                        </a:defRPr>
                      </a:pPr>
                      <a:r>
                        <a:rPr sz="600">
                          <a:latin typeface="Nexa Book"/>
                        </a:rPr>
                        <a:t>328</a:t>
                      </a:r>
                    </a:p>
                  </a:txBody>
                  <a:tcPr marL="2858" marR="2858" marT="2858" marB="0" anchor="ctr">
                    <a:noFill/>
                  </a:tcPr>
                </a:tc>
                <a:tc>
                  <a:txBody>
                    <a:bodyPr/>
                    <a:lstStyle/>
                    <a:p>
                      <a:pPr algn="ctr">
                        <a:defRPr sz="600">
                          <a:latin typeface="Nexa Book"/>
                        </a:defRPr>
                      </a:pPr>
                      <a:r>
                        <a:rPr sz="600">
                          <a:latin typeface="Nexa Book"/>
                        </a:rPr>
                        <a:t>192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 37.19</a:t>
                      </a:r>
                    </a:p>
                  </a:txBody>
                  <a:tcPr marL="2858" marR="2858" marT="2858" marB="0" anchor="ctr">
                    <a:noFill/>
                  </a:tcPr>
                </a:tc>
                <a:tc>
                  <a:txBody>
                    <a:bodyPr/>
                    <a:lstStyle/>
                    <a:p>
                      <a:pPr algn="ctr">
                        <a:defRPr sz="600">
                          <a:latin typeface="Nexa Book"/>
                        </a:defRPr>
                      </a:pPr>
                      <a:r>
                        <a:rPr sz="600">
                          <a:latin typeface="Nexa Book"/>
                        </a:rPr>
                        <a:t> 25.85</a:t>
                      </a:r>
                    </a:p>
                  </a:txBody>
                  <a:tcPr marL="2858" marR="2858" marT="2858" marB="0" anchor="ctr">
                    <a:noFill/>
                  </a:tcPr>
                </a:tc>
                <a:tc>
                  <a:txBody>
                    <a:bodyPr/>
                    <a:lstStyle/>
                    <a:p>
                      <a:pPr algn="ctr">
                        <a:defRPr sz="600">
                          <a:latin typeface="Nexa Book"/>
                        </a:defRPr>
                      </a:pPr>
                      <a:r>
                        <a:rPr sz="600">
                          <a:latin typeface="Nexa Book"/>
                        </a:rPr>
                        <a:t>1'008</a:t>
                      </a:r>
                    </a:p>
                  </a:txBody>
                  <a:tcPr marL="2858" marR="2858" marT="2858" marB="0" anchor="ctr">
                    <a:noFill/>
                  </a:tcPr>
                </a:tc>
                <a:tc>
                  <a:txBody>
                    <a:bodyPr/>
                    <a:lstStyle/>
                    <a:p>
                      <a:pPr algn="ctr">
                        <a:defRPr sz="600">
                          <a:latin typeface="Nexa Book"/>
                        </a:defRPr>
                      </a:pPr>
                      <a:r>
                        <a:rPr sz="600">
                          <a:latin typeface="Nexa Book"/>
                        </a:rPr>
                        <a:t>800%</a:t>
                      </a:r>
                    </a:p>
                  </a:txBody>
                  <a:tcPr marL="2858" marR="2858" marT="2858" marB="0" anchor="ctr">
                    <a:noFill/>
                  </a:tcPr>
                </a:tc>
                <a:tc>
                  <a:txBody>
                    <a:bodyPr/>
                    <a:lstStyle/>
                    <a:p>
                      <a:pPr algn="ctr">
                        <a:defRPr sz="600">
                          <a:latin typeface="Nexa Book"/>
                        </a:defRPr>
                      </a:pPr>
                      <a:r>
                        <a:rPr sz="600">
                          <a:latin typeface="Nexa Book"/>
                        </a:rPr>
                        <a:t>867%</a:t>
                      </a:r>
                    </a:p>
                  </a:txBody>
                  <a:tcPr marL="2858" marR="2858" marT="2858" marB="0" anchor="ctr">
                    <a:noFill/>
                  </a:tcPr>
                </a:tc>
                <a:tc>
                  <a:txBody>
                    <a:bodyPr/>
                    <a:lstStyle/>
                    <a:p>
                      <a:pPr algn="ctr">
                        <a:defRPr sz="600">
                          <a:latin typeface="Nexa Book"/>
                        </a:defRPr>
                      </a:pPr>
                      <a:r>
                        <a:rPr sz="600">
                          <a:latin typeface="Nexa Book"/>
                        </a:rPr>
                        <a:t>896</a:t>
                      </a:r>
                    </a:p>
                  </a:txBody>
                  <a:tcPr marL="2858" marR="2858" marT="2858" marB="0" anchor="ctr">
                    <a:noFill/>
                  </a:tcPr>
                </a:tc>
                <a:tc>
                  <a:txBody>
                    <a:bodyPr/>
                    <a:lstStyle/>
                    <a:p>
                      <a:pPr algn="ctr">
                        <a:defRPr sz="600">
                          <a:latin typeface="Nexa Book"/>
                        </a:defRPr>
                      </a:pPr>
                      <a:r>
                        <a:rPr sz="600">
                          <a:latin typeface="Nexa Book"/>
                        </a:rPr>
                        <a:t>120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ETUI 1CT X 750ML</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18</a:t>
                      </a:r>
                    </a:p>
                  </a:txBody>
                  <a:tcPr marL="2858" marR="2858" marT="2858" marB="0" anchor="ctr">
                    <a:noFill/>
                  </a:tcPr>
                </a:tc>
                <a:tc>
                  <a:txBody>
                    <a:bodyPr/>
                    <a:lstStyle/>
                    <a:p>
                      <a:pPr algn="ctr">
                        <a:defRPr sz="600">
                          <a:latin typeface="Nexa Book"/>
                        </a:defRPr>
                      </a:pPr>
                      <a:r>
                        <a:rPr sz="600">
                          <a:latin typeface="Nexa Book"/>
                        </a:rPr>
                        <a:t> 25.76</a:t>
                      </a:r>
                    </a:p>
                  </a:txBody>
                  <a:tcPr marL="2858" marR="2858" marT="2858" marB="0" anchor="ctr">
                    <a:noFill/>
                  </a:tcPr>
                </a:tc>
                <a:tc>
                  <a:txBody>
                    <a:bodyPr/>
                    <a:lstStyle/>
                    <a:p>
                      <a:pPr algn="ctr">
                        <a:defRPr sz="600">
                          <a:latin typeface="Nexa Book"/>
                        </a:defRPr>
                      </a:pPr>
                      <a:r>
                        <a:rPr sz="600">
                          <a:latin typeface="Nexa Book"/>
                        </a:rPr>
                        <a:t>1'417</a:t>
                      </a:r>
                    </a:p>
                  </a:txBody>
                  <a:tcPr marL="2858" marR="2858" marT="2858" marB="0" anchor="ctr">
                    <a:noFill/>
                  </a:tcPr>
                </a:tc>
                <a:tc>
                  <a:txBody>
                    <a:bodyPr/>
                    <a:lstStyle/>
                    <a:p>
                      <a:pPr algn="ctr">
                        <a:defRPr sz="600">
                          <a:latin typeface="Nexa Book"/>
                        </a:defRPr>
                      </a:pPr>
                      <a:r>
                        <a:rPr sz="600">
                          <a:latin typeface="Nexa Book"/>
                        </a:rPr>
                        <a:t>932%</a:t>
                      </a:r>
                    </a:p>
                  </a:txBody>
                  <a:tcPr marL="2858" marR="2858" marT="2858" marB="0" anchor="ctr">
                    <a:noFill/>
                  </a:tcPr>
                </a:tc>
                <a:tc>
                  <a:txBody>
                    <a:bodyPr/>
                    <a:lstStyle/>
                    <a:p>
                      <a:pPr algn="ctr">
                        <a:defRPr sz="600">
                          <a:latin typeface="Nexa Book"/>
                        </a:defRPr>
                      </a:pPr>
                      <a:r>
                        <a:rPr sz="600">
                          <a:latin typeface="Nexa Book"/>
                        </a:rPr>
                        <a:t>1367%</a:t>
                      </a:r>
                    </a:p>
                  </a:txBody>
                  <a:tcPr marL="2858" marR="2858" marT="2858" marB="0" anchor="ctr">
                    <a:noFill/>
                  </a:tcPr>
                </a:tc>
                <a:tc>
                  <a:txBody>
                    <a:bodyPr/>
                    <a:lstStyle/>
                    <a:p>
                      <a:pPr algn="ctr">
                        <a:defRPr sz="600">
                          <a:latin typeface="Nexa Book"/>
                        </a:defRPr>
                      </a:pPr>
                      <a:r>
                        <a:rPr sz="600">
                          <a:latin typeface="Nexa Book"/>
                        </a:rPr>
                        <a:t>1380</a:t>
                      </a:r>
                    </a:p>
                  </a:txBody>
                  <a:tcPr marL="2858" marR="2858" marT="2858" marB="0" anchor="ctr">
                    <a:noFill/>
                  </a:tcPr>
                </a:tc>
                <a:tc>
                  <a:txBody>
                    <a:bodyPr/>
                    <a:lstStyle/>
                    <a:p>
                      <a:pPr algn="ctr">
                        <a:defRPr sz="600">
                          <a:latin typeface="Nexa Book"/>
                        </a:defRPr>
                      </a:pPr>
                      <a:r>
                        <a:rPr sz="600">
                          <a:latin typeface="Nexa Book"/>
                        </a:rPr>
                        <a:t>211%</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 CRU BS 1CT X 750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 37.09</a:t>
                      </a:r>
                    </a:p>
                  </a:txBody>
                  <a:tcPr marL="2858" marR="2858" marT="2858" marB="0" anchor="ctr">
                    <a:noFill/>
                  </a:tcPr>
                </a:tc>
                <a:tc>
                  <a:txBody>
                    <a:bodyPr/>
                    <a:lstStyle/>
                    <a:p>
                      <a:pPr algn="ctr">
                        <a:defRPr sz="600">
                          <a:latin typeface="Nexa Book"/>
                        </a:defRPr>
                      </a:pPr>
                      <a:r>
                        <a:rPr sz="600">
                          <a:latin typeface="Nexa Book"/>
                        </a:rPr>
                        <a:t> 26.54</a:t>
                      </a:r>
                    </a:p>
                  </a:txBody>
                  <a:tcPr marL="2858" marR="2858" marT="2858" marB="0" anchor="ctr">
                    <a:noFill/>
                  </a:tcPr>
                </a:tc>
                <a:tc>
                  <a:txBody>
                    <a:bodyPr/>
                    <a:lstStyle/>
                    <a:p>
                      <a:pPr algn="ctr">
                        <a:defRPr sz="600">
                          <a:latin typeface="Nexa Book"/>
                        </a:defRPr>
                      </a:pPr>
                      <a:r>
                        <a:rPr sz="600">
                          <a:latin typeface="Nexa Book"/>
                        </a:rPr>
                        <a:t>3'370</a:t>
                      </a:r>
                    </a:p>
                  </a:txBody>
                  <a:tcPr marL="2858" marR="2858" marT="2858" marB="0" anchor="ctr">
                    <a:noFill/>
                  </a:tcPr>
                </a:tc>
                <a:tc>
                  <a:txBody>
                    <a:bodyPr/>
                    <a:lstStyle/>
                    <a:p>
                      <a:pPr algn="ctr">
                        <a:defRPr sz="600">
                          <a:latin typeface="Nexa Book"/>
                        </a:defRPr>
                      </a:pPr>
                      <a:r>
                        <a:rPr sz="600">
                          <a:latin typeface="Nexa Book"/>
                        </a:rPr>
                        <a:t>726%</a:t>
                      </a:r>
                    </a:p>
                  </a:txBody>
                  <a:tcPr marL="2858" marR="2858" marT="2858" marB="0" anchor="ctr">
                    <a:noFill/>
                  </a:tcPr>
                </a:tc>
                <a:tc>
                  <a:txBody>
                    <a:bodyPr/>
                    <a:lstStyle/>
                    <a:p>
                      <a:pPr algn="ctr">
                        <a:defRPr sz="600">
                          <a:latin typeface="Nexa Book"/>
                        </a:defRPr>
                      </a:pPr>
                      <a:r>
                        <a:rPr sz="600">
                          <a:latin typeface="Nexa Book"/>
                        </a:rPr>
                        <a:t>956%</a:t>
                      </a:r>
                    </a:p>
                  </a:txBody>
                  <a:tcPr marL="2858" marR="2858" marT="2858" marB="0" anchor="ctr">
                    <a:noFill/>
                  </a:tcPr>
                </a:tc>
                <a:tc>
                  <a:txBody>
                    <a:bodyPr/>
                    <a:lstStyle/>
                    <a:p>
                      <a:pPr algn="ctr">
                        <a:defRPr sz="600">
                          <a:latin typeface="Nexa Book"/>
                        </a:defRPr>
                      </a:pPr>
                      <a:r>
                        <a:rPr sz="600">
                          <a:latin typeface="Nexa Book"/>
                        </a:rPr>
                        <a:t>2962</a:t>
                      </a:r>
                    </a:p>
                  </a:txBody>
                  <a:tcPr marL="2858" marR="2858" marT="2858" marB="0" anchor="ctr">
                    <a:noFill/>
                  </a:tcPr>
                </a:tc>
                <a:tc>
                  <a:txBody>
                    <a:bodyPr/>
                    <a:lstStyle/>
                    <a:p>
                      <a:pPr algn="ctr">
                        <a:defRPr sz="600">
                          <a:latin typeface="Nexa Book"/>
                        </a:defRPr>
                      </a:pPr>
                      <a:r>
                        <a:rPr sz="600">
                          <a:latin typeface="Nexa Book"/>
                        </a:rPr>
                        <a:t>316%</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3'836</a:t>
                      </a:r>
                    </a:p>
                  </a:txBody>
                  <a:tcPr marL="2858" marR="2858" marT="2858" marB="0" anchor="ctr">
                    <a:noFill/>
                  </a:tcPr>
                </a:tc>
                <a:tc>
                  <a:txBody>
                    <a:bodyPr/>
                    <a:lstStyle/>
                    <a:p>
                      <a:pPr algn="ctr">
                        <a:defRPr sz="600">
                          <a:latin typeface="Nexa Book"/>
                        </a:defRPr>
                      </a:pPr>
                      <a:r>
                        <a:rPr sz="600">
                          <a:latin typeface="Nexa Book"/>
                        </a:rPr>
                        <a:t>524%</a:t>
                      </a:r>
                    </a:p>
                  </a:txBody>
                  <a:tcPr marL="2858" marR="2858" marT="2858" marB="0" anchor="ctr">
                    <a:noFill/>
                  </a:tcPr>
                </a:tc>
                <a:tc>
                  <a:txBody>
                    <a:bodyPr/>
                    <a:lstStyle/>
                    <a:p>
                      <a:pPr algn="ctr">
                        <a:defRPr sz="600">
                          <a:latin typeface="Nexa Book"/>
                        </a:defRPr>
                      </a:pPr>
                      <a:r>
                        <a:rPr sz="600">
                          <a:latin typeface="Nexa Book"/>
                        </a:rPr>
                        <a:t>870%</a:t>
                      </a:r>
                    </a:p>
                  </a:txBody>
                  <a:tcPr marL="2858" marR="2858" marT="2858" marB="0" anchor="ctr">
                    <a:noFill/>
                  </a:tcPr>
                </a:tc>
                <a:tc>
                  <a:txBody>
                    <a:bodyPr/>
                    <a:lstStyle/>
                    <a:p>
                      <a:pPr algn="ctr">
                        <a:defRPr sz="600">
                          <a:latin typeface="Nexa Book"/>
                        </a:defRPr>
                      </a:pPr>
                      <a:r>
                        <a:rPr sz="600">
                          <a:latin typeface="Nexa Book"/>
                        </a:rPr>
                        <a:t>3256</a:t>
                      </a:r>
                    </a:p>
                  </a:txBody>
                  <a:tcPr marL="2858" marR="2858" marT="2858" marB="0" anchor="ctr">
                    <a:noFill/>
                  </a:tcPr>
                </a:tc>
                <a:tc>
                  <a:txBody>
                    <a:bodyPr/>
                    <a:lstStyle/>
                    <a:p>
                      <a:pPr algn="ctr">
                        <a:defRPr sz="600">
                          <a:latin typeface="Nexa Book"/>
                        </a:defRPr>
                      </a:pPr>
                      <a:r>
                        <a:rPr sz="600">
                          <a:latin typeface="Nexa Book"/>
                        </a:rPr>
                        <a:t>153%</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405165">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 37.26</a:t>
                      </a:r>
                    </a:p>
                  </a:txBody>
                  <a:tcPr marL="2858" marR="2858" marT="2858" marB="0" anchor="ctr">
                    <a:noFill/>
                  </a:tcPr>
                </a:tc>
                <a:tc>
                  <a:txBody>
                    <a:bodyPr/>
                    <a:lstStyle/>
                    <a:p>
                      <a:pPr algn="ctr">
                        <a:defRPr sz="600">
                          <a:latin typeface="Nexa Book"/>
                        </a:defRPr>
                      </a:pPr>
                      <a:r>
                        <a:rPr sz="600">
                          <a:latin typeface="Nexa Book"/>
                        </a:rPr>
                        <a:t> 26.53</a:t>
                      </a:r>
                    </a:p>
                  </a:txBody>
                  <a:tcPr marL="2858" marR="2858" marT="2858" marB="0" anchor="ctr">
                    <a:noFill/>
                  </a:tcPr>
                </a:tc>
                <a:tc>
                  <a:txBody>
                    <a:bodyPr/>
                    <a:lstStyle/>
                    <a:p>
                      <a:pPr algn="ctr">
                        <a:defRPr sz="600">
                          <a:latin typeface="Nexa Book"/>
                        </a:defRPr>
                      </a:pPr>
                      <a:r>
                        <a:rPr sz="600">
                          <a:latin typeface="Nexa Book"/>
                        </a:rPr>
                        <a:t>21'864</a:t>
                      </a:r>
                    </a:p>
                  </a:txBody>
                  <a:tcPr marL="2858" marR="2858" marT="2858" marB="0" anchor="ctr">
                    <a:noFill/>
                  </a:tcPr>
                </a:tc>
                <a:tc>
                  <a:txBody>
                    <a:bodyPr/>
                    <a:lstStyle/>
                    <a:p>
                      <a:pPr algn="ctr">
                        <a:defRPr sz="600">
                          <a:latin typeface="Nexa Book"/>
                        </a:defRPr>
                      </a:pPr>
                      <a:r>
                        <a:rPr sz="600">
                          <a:latin typeface="Nexa Book"/>
                        </a:rPr>
                        <a:t>690%</a:t>
                      </a:r>
                    </a:p>
                  </a:txBody>
                  <a:tcPr marL="2858" marR="2858" marT="2858" marB="0" anchor="ctr">
                    <a:noFill/>
                  </a:tcPr>
                </a:tc>
                <a:tc>
                  <a:txBody>
                    <a:bodyPr/>
                    <a:lstStyle/>
                    <a:p>
                      <a:pPr algn="ctr">
                        <a:defRPr sz="600">
                          <a:latin typeface="Nexa Book"/>
                        </a:defRPr>
                      </a:pPr>
                      <a:r>
                        <a:rPr sz="600">
                          <a:latin typeface="Nexa Book"/>
                        </a:rPr>
                        <a:t>972%</a:t>
                      </a:r>
                    </a:p>
                  </a:txBody>
                  <a:tcPr marL="2858" marR="2858" marT="2858" marB="0" anchor="ctr">
                    <a:noFill/>
                  </a:tcPr>
                </a:tc>
                <a:tc>
                  <a:txBody>
                    <a:bodyPr/>
                    <a:lstStyle/>
                    <a:p>
                      <a:pPr algn="ctr">
                        <a:defRPr sz="600">
                          <a:latin typeface="Nexa Book"/>
                        </a:defRPr>
                      </a:pPr>
                      <a:r>
                        <a:rPr sz="600">
                          <a:latin typeface="Nexa Book"/>
                        </a:rPr>
                        <a:t>20970</a:t>
                      </a:r>
                    </a:p>
                  </a:txBody>
                  <a:tcPr marL="2858" marR="2858" marT="2858" marB="0" anchor="ctr">
                    <a:noFill/>
                  </a:tcPr>
                </a:tc>
                <a:tc>
                  <a:txBody>
                    <a:bodyPr/>
                    <a:lstStyle/>
                    <a:p>
                      <a:pPr algn="ctr">
                        <a:defRPr sz="600">
                          <a:latin typeface="Nexa Book"/>
                        </a:defRPr>
                      </a:pPr>
                      <a:r>
                        <a:rPr sz="600">
                          <a:latin typeface="Nexa Book"/>
                        </a:rPr>
                        <a:t>235%</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48125820"/>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ruts  |  NICOLA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37.17</a:t>
                      </a:r>
                    </a:p>
                  </a:txBody>
                  <a:tcPr marL="2858" marR="2858" marT="2858" marB="0" anchor="ctr">
                    <a:noFill/>
                  </a:tcPr>
                </a:tc>
                <a:tc>
                  <a:txBody>
                    <a:bodyPr/>
                    <a:lstStyle/>
                    <a:p>
                      <a:pPr algn="ctr">
                        <a:defRPr sz="600">
                          <a:latin typeface="Nexa Book"/>
                        </a:defRPr>
                      </a:pPr>
                      <a:r>
                        <a:rPr sz="600">
                          <a:latin typeface="Nexa Book"/>
                        </a:rPr>
                        <a:t> 25.82</a:t>
                      </a:r>
                    </a:p>
                  </a:txBody>
                  <a:tcPr marL="2858" marR="2858" marT="2858" marB="0" anchor="ctr">
                    <a:noFill/>
                  </a:tcPr>
                </a:tc>
                <a:tc>
                  <a:txBody>
                    <a:bodyPr/>
                    <a:lstStyle/>
                    <a:p>
                      <a:pPr algn="ctr">
                        <a:defRPr sz="600">
                          <a:latin typeface="Nexa Book"/>
                        </a:defRPr>
                      </a:pPr>
                      <a:r>
                        <a:rPr sz="600">
                          <a:latin typeface="Nexa Book"/>
                        </a:rPr>
                        <a:t>3'563</a:t>
                      </a:r>
                    </a:p>
                  </a:txBody>
                  <a:tcPr marL="2858" marR="2858" marT="2858" marB="0" anchor="ctr">
                    <a:noFill/>
                  </a:tcPr>
                </a:tc>
                <a:tc>
                  <a:txBody>
                    <a:bodyPr/>
                    <a:lstStyle/>
                    <a:p>
                      <a:pPr algn="ctr">
                        <a:defRPr sz="600">
                          <a:latin typeface="Nexa Book"/>
                        </a:defRPr>
                      </a:pPr>
                      <a:r>
                        <a:rPr sz="600">
                          <a:latin typeface="Nexa Book"/>
                        </a:rPr>
                        <a:t>500%</a:t>
                      </a:r>
                    </a:p>
                  </a:txBody>
                  <a:tcPr marL="2858" marR="2858" marT="2858" marB="0" anchor="ctr">
                    <a:noFill/>
                  </a:tcPr>
                </a:tc>
                <a:tc>
                  <a:txBody>
                    <a:bodyPr/>
                    <a:lstStyle/>
                    <a:p>
                      <a:pPr algn="ctr">
                        <a:defRPr sz="600">
                          <a:latin typeface="Nexa Book"/>
                        </a:defRPr>
                      </a:pPr>
                      <a:r>
                        <a:rPr sz="600">
                          <a:latin typeface="Nexa Book"/>
                        </a:rPr>
                        <a:t>700%</a:t>
                      </a:r>
                    </a:p>
                  </a:txBody>
                  <a:tcPr marL="2858" marR="2858" marT="2858" marB="0" anchor="ctr">
                    <a:noFill/>
                  </a:tcPr>
                </a:tc>
                <a:tc>
                  <a:txBody>
                    <a:bodyPr/>
                    <a:lstStyle/>
                    <a:p>
                      <a:pPr algn="ctr">
                        <a:defRPr sz="600">
                          <a:latin typeface="Nexa Book"/>
                        </a:defRPr>
                      </a:pPr>
                      <a:r>
                        <a:rPr sz="600">
                          <a:latin typeface="Nexa Book"/>
                        </a:rPr>
                        <a:t>2969</a:t>
                      </a:r>
                    </a:p>
                  </a:txBody>
                  <a:tcPr marL="2858" marR="2858" marT="2858" marB="0" anchor="ctr">
                    <a:noFill/>
                  </a:tcPr>
                </a:tc>
                <a:tc>
                  <a:txBody>
                    <a:bodyPr/>
                    <a:lstStyle/>
                    <a:p>
                      <a:pPr algn="ctr">
                        <a:defRPr sz="600">
                          <a:latin typeface="Nexa Book"/>
                        </a:defRPr>
                      </a:pPr>
                      <a:r>
                        <a:rPr sz="600">
                          <a:latin typeface="Nexa Book"/>
                        </a:rPr>
                        <a:t>250%</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37.37</a:t>
                      </a:r>
                    </a:p>
                  </a:txBody>
                  <a:tcPr marL="2858" marR="2858" marT="2858" marB="0" anchor="ctr">
                    <a:noFill/>
                  </a:tcPr>
                </a:tc>
                <a:tc>
                  <a:txBody>
                    <a:bodyPr/>
                    <a:lstStyle/>
                    <a:p>
                      <a:pPr algn="ctr">
                        <a:defRPr sz="600">
                          <a:latin typeface="Nexa Book"/>
                        </a:defRPr>
                      </a:pPr>
                      <a:r>
                        <a:rPr sz="600">
                          <a:latin typeface="Nexa Book"/>
                        </a:rPr>
                        <a:t> 26.44</a:t>
                      </a:r>
                    </a:p>
                  </a:txBody>
                  <a:tcPr marL="2858" marR="2858" marT="2858" marB="0" anchor="ctr">
                    <a:noFill/>
                  </a:tcPr>
                </a:tc>
                <a:tc>
                  <a:txBody>
                    <a:bodyPr/>
                    <a:lstStyle/>
                    <a:p>
                      <a:pPr algn="ctr">
                        <a:defRPr sz="600">
                          <a:latin typeface="Nexa Book"/>
                        </a:defRPr>
                      </a:pPr>
                      <a:r>
                        <a:rPr sz="600">
                          <a:latin typeface="Nexa Book"/>
                        </a:rPr>
                        <a:t>122'833</a:t>
                      </a:r>
                    </a:p>
                  </a:txBody>
                  <a:tcPr marL="2858" marR="2858" marT="2858" marB="0" anchor="ctr">
                    <a:noFill/>
                  </a:tcPr>
                </a:tc>
                <a:tc>
                  <a:txBody>
                    <a:bodyPr/>
                    <a:lstStyle/>
                    <a:p>
                      <a:pPr algn="ctr">
                        <a:defRPr sz="600">
                          <a:latin typeface="Nexa Book"/>
                        </a:defRPr>
                      </a:pPr>
                      <a:r>
                        <a:rPr sz="600">
                          <a:latin typeface="Nexa Book"/>
                        </a:rPr>
                        <a:t>746%</a:t>
                      </a:r>
                    </a:p>
                  </a:txBody>
                  <a:tcPr marL="2858" marR="2858" marT="2858" marB="0" anchor="ctr">
                    <a:noFill/>
                  </a:tcPr>
                </a:tc>
                <a:tc>
                  <a:txBody>
                    <a:bodyPr/>
                    <a:lstStyle/>
                    <a:p>
                      <a:pPr algn="ctr">
                        <a:defRPr sz="600">
                          <a:latin typeface="Nexa Book"/>
                        </a:defRPr>
                      </a:pPr>
                      <a:r>
                        <a:rPr sz="600">
                          <a:latin typeface="Nexa Book"/>
                        </a:rPr>
                        <a:t>1040%</a:t>
                      </a:r>
                    </a:p>
                  </a:txBody>
                  <a:tcPr marL="2858" marR="2858" marT="2858" marB="0" anchor="ctr">
                    <a:noFill/>
                  </a:tcPr>
                </a:tc>
                <a:tc>
                  <a:txBody>
                    <a:bodyPr/>
                    <a:lstStyle/>
                    <a:p>
                      <a:pPr algn="ctr">
                        <a:defRPr sz="600">
                          <a:latin typeface="Nexa Book"/>
                        </a:defRPr>
                      </a:pPr>
                      <a:r>
                        <a:rPr sz="600">
                          <a:latin typeface="Nexa Book"/>
                        </a:rPr>
                        <a:t>114045</a:t>
                      </a:r>
                    </a:p>
                  </a:txBody>
                  <a:tcPr marL="2858" marR="2858" marT="2858" marB="0" anchor="ctr">
                    <a:noFill/>
                  </a:tcPr>
                </a:tc>
                <a:tc>
                  <a:txBody>
                    <a:bodyPr/>
                    <a:lstStyle/>
                    <a:p>
                      <a:pPr algn="ctr">
                        <a:defRPr sz="600">
                          <a:latin typeface="Nexa Book"/>
                        </a:defRPr>
                      </a:pPr>
                      <a:r>
                        <a:rPr sz="600">
                          <a:latin typeface="Nexa Book"/>
                        </a:rPr>
                        <a:t>24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719585143"/>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osés  |  NICOLAS Q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41.61</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329%</a:t>
                      </a:r>
                    </a:p>
                  </a:txBody>
                  <a:tcPr marL="2858" marR="2858" marT="2858" marB="0" anchor="ctr">
                    <a:noFill/>
                  </a:tcPr>
                </a:tc>
                <a:tc>
                  <a:txBody>
                    <a:bodyPr/>
                    <a:lstStyle/>
                    <a:p>
                      <a:pPr algn="ctr">
                        <a:defRPr sz="600">
                          <a:latin typeface="Nexa Book"/>
                        </a:defRPr>
                      </a:pPr>
                      <a:r>
                        <a:rPr sz="600">
                          <a:latin typeface="Nexa Book"/>
                        </a:rPr>
                        <a:t>3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1588%</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0</a:t>
                      </a:r>
                    </a:p>
                  </a:txBody>
                  <a:tcPr marL="2858" marR="2858" marT="2858" marB="0" anchor="ctr">
                    <a:noFill/>
                  </a:tcPr>
                </a:tc>
                <a:tc>
                  <a:txBody>
                    <a:bodyPr/>
                    <a:lstStyle/>
                    <a:p>
                      <a:pPr algn="ctr">
                        <a:defRPr sz="600">
                          <a:latin typeface="Nexa Book"/>
                        </a:defRPr>
                      </a:pPr>
                      <a:r>
                        <a:rPr sz="600">
                          <a:latin typeface="Nexa Book"/>
                        </a:rPr>
                        <a:t>2'243</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14%</a:t>
                      </a:r>
                    </a:p>
                  </a:txBody>
                  <a:tcPr marL="2858" marR="2858" marT="2858" marB="0" anchor="ctr">
                    <a:noFill/>
                  </a:tcPr>
                </a:tc>
                <a:tc>
                  <a:txBody>
                    <a:bodyPr/>
                    <a:lstStyle/>
                    <a:p>
                      <a:pPr algn="ctr">
                        <a:defRPr sz="600">
                          <a:latin typeface="Nexa Book"/>
                        </a:defRPr>
                      </a:pPr>
                      <a:r>
                        <a:rPr sz="600">
                          <a:latin typeface="Nexa Book"/>
                        </a:rPr>
                        <a:t>827</a:t>
                      </a:r>
                    </a:p>
                  </a:txBody>
                  <a:tcPr marL="2858" marR="2858" marT="2858" marB="0" anchor="ctr">
                    <a:noFill/>
                  </a:tcPr>
                </a:tc>
                <a:tc>
                  <a:txBody>
                    <a:bodyPr/>
                    <a:lstStyle/>
                    <a:p>
                      <a:pPr algn="ctr">
                        <a:defRPr sz="600">
                          <a:latin typeface="Nexa Book"/>
                        </a:defRPr>
                      </a:pPr>
                      <a:r>
                        <a:rPr sz="600">
                          <a:latin typeface="Nexa Book"/>
                        </a:rPr>
                        <a:t>106%</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41.42</a:t>
                      </a:r>
                    </a:p>
                  </a:txBody>
                  <a:tcPr marL="2858" marR="2858" marT="2858" marB="0" anchor="ctr">
                    <a:noFill/>
                  </a:tcPr>
                </a:tc>
                <a:tc>
                  <a:txBody>
                    <a:bodyPr/>
                    <a:lstStyle/>
                    <a:p>
                      <a:pPr algn="ctr">
                        <a:defRPr sz="600">
                          <a:latin typeface="Nexa Book"/>
                        </a:defRPr>
                      </a:pPr>
                      <a:r>
                        <a:rPr sz="600">
                          <a:latin typeface="Nexa Book"/>
                        </a:rPr>
                        <a:t> 30.23</a:t>
                      </a:r>
                    </a:p>
                  </a:txBody>
                  <a:tcPr marL="2858" marR="2858" marT="2858" marB="0" anchor="ctr">
                    <a:noFill/>
                  </a:tcPr>
                </a:tc>
                <a:tc>
                  <a:txBody>
                    <a:bodyPr/>
                    <a:lstStyle/>
                    <a:p>
                      <a:pPr algn="ctr">
                        <a:defRPr sz="600">
                          <a:latin typeface="Nexa Book"/>
                        </a:defRPr>
                      </a:pPr>
                      <a:r>
                        <a:rPr sz="600">
                          <a:latin typeface="Nexa Book"/>
                        </a:rPr>
                        <a:t>1'058</a:t>
                      </a:r>
                    </a:p>
                  </a:txBody>
                  <a:tcPr marL="2858" marR="2858" marT="2858" marB="0" anchor="ctr">
                    <a:noFill/>
                  </a:tcPr>
                </a:tc>
                <a:tc>
                  <a:txBody>
                    <a:bodyPr/>
                    <a:lstStyle/>
                    <a:p>
                      <a:pPr algn="ctr">
                        <a:defRPr sz="600">
                          <a:latin typeface="Nexa Book"/>
                        </a:defRPr>
                      </a:pPr>
                      <a:r>
                        <a:rPr sz="600">
                          <a:latin typeface="Nexa Book"/>
                        </a:rPr>
                        <a:t>276%</a:t>
                      </a:r>
                    </a:p>
                  </a:txBody>
                  <a:tcPr marL="2858" marR="2858" marT="2858" marB="0" anchor="ctr">
                    <a:noFill/>
                  </a:tcPr>
                </a:tc>
                <a:tc>
                  <a:txBody>
                    <a:bodyPr/>
                    <a:lstStyle/>
                    <a:p>
                      <a:pPr algn="ctr">
                        <a:defRPr sz="600">
                          <a:latin typeface="Nexa Book"/>
                        </a:defRPr>
                      </a:pPr>
                      <a:r>
                        <a:rPr sz="600">
                          <a:latin typeface="Nexa Book"/>
                        </a:rPr>
                        <a:t>367%</a:t>
                      </a:r>
                    </a:p>
                  </a:txBody>
                  <a:tcPr marL="2858" marR="2858" marT="2858" marB="0" anchor="ctr">
                    <a:noFill/>
                  </a:tcPr>
                </a:tc>
                <a:tc>
                  <a:txBody>
                    <a:bodyPr/>
                    <a:lstStyle/>
                    <a:p>
                      <a:pPr algn="ctr">
                        <a:defRPr sz="600">
                          <a:latin typeface="Nexa Book"/>
                        </a:defRPr>
                      </a:pPr>
                      <a:r>
                        <a:rPr sz="600">
                          <a:latin typeface="Nexa Book"/>
                        </a:rPr>
                        <a:t>923</a:t>
                      </a:r>
                    </a:p>
                  </a:txBody>
                  <a:tcPr marL="2858" marR="2858" marT="2858" marB="0" anchor="ctr">
                    <a:noFill/>
                  </a:tcPr>
                </a:tc>
                <a:tc>
                  <a:txBody>
                    <a:bodyPr/>
                    <a:lstStyle/>
                    <a:p>
                      <a:pPr algn="ctr">
                        <a:defRPr sz="600">
                          <a:latin typeface="Nexa Book"/>
                        </a:defRPr>
                      </a:pPr>
                      <a:r>
                        <a:rPr sz="600">
                          <a:latin typeface="Nexa Book"/>
                        </a:rPr>
                        <a:t>277%</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 41.35</a:t>
                      </a:r>
                    </a:p>
                  </a:txBody>
                  <a:tcPr marL="2858" marR="2858" marT="2858" marB="0" anchor="ctr">
                    <a:noFill/>
                  </a:tcPr>
                </a:tc>
                <a:tc>
                  <a:txBody>
                    <a:bodyPr/>
                    <a:lstStyle/>
                    <a:p>
                      <a:pPr algn="ctr">
                        <a:defRPr sz="600">
                          <a:latin typeface="Nexa Book"/>
                        </a:defRPr>
                      </a:pPr>
                      <a:r>
                        <a:rPr sz="600">
                          <a:latin typeface="Nexa Book"/>
                        </a:rPr>
                        <a:t> 29.95</a:t>
                      </a:r>
                    </a:p>
                  </a:txBody>
                  <a:tcPr marL="2858" marR="2858" marT="2858" marB="0" anchor="ctr">
                    <a:noFill/>
                  </a:tcPr>
                </a:tc>
                <a:tc>
                  <a:txBody>
                    <a:bodyPr/>
                    <a:lstStyle/>
                    <a:p>
                      <a:pPr algn="ctr">
                        <a:defRPr sz="600">
                          <a:latin typeface="Nexa Book"/>
                        </a:defRPr>
                      </a:pPr>
                      <a:r>
                        <a:rPr sz="600">
                          <a:latin typeface="Nexa Book"/>
                        </a:rPr>
                        <a:t>8'447</a:t>
                      </a:r>
                    </a:p>
                  </a:txBody>
                  <a:tcPr marL="2858" marR="2858" marT="2858" marB="0" anchor="ctr">
                    <a:noFill/>
                  </a:tcPr>
                </a:tc>
                <a:tc>
                  <a:txBody>
                    <a:bodyPr/>
                    <a:lstStyle/>
                    <a:p>
                      <a:pPr algn="ctr">
                        <a:defRPr sz="600">
                          <a:latin typeface="Nexa Book"/>
                        </a:defRPr>
                      </a:pPr>
                      <a:r>
                        <a:rPr sz="600">
                          <a:latin typeface="Nexa Book"/>
                        </a:rPr>
                        <a:t>631%</a:t>
                      </a:r>
                    </a:p>
                  </a:txBody>
                  <a:tcPr marL="2858" marR="2858" marT="2858" marB="0" anchor="ctr">
                    <a:noFill/>
                  </a:tcPr>
                </a:tc>
                <a:tc>
                  <a:txBody>
                    <a:bodyPr/>
                    <a:lstStyle/>
                    <a:p>
                      <a:pPr algn="ctr">
                        <a:defRPr sz="600">
                          <a:latin typeface="Nexa Book"/>
                        </a:defRPr>
                      </a:pPr>
                      <a:r>
                        <a:rPr sz="600">
                          <a:latin typeface="Nexa Book"/>
                        </a:rPr>
                        <a:t>910%</a:t>
                      </a:r>
                    </a:p>
                  </a:txBody>
                  <a:tcPr marL="2858" marR="2858" marT="2858" marB="0" anchor="ctr">
                    <a:noFill/>
                  </a:tcPr>
                </a:tc>
                <a:tc>
                  <a:txBody>
                    <a:bodyPr/>
                    <a:lstStyle/>
                    <a:p>
                      <a:pPr algn="ctr">
                        <a:defRPr sz="600">
                          <a:latin typeface="Nexa Book"/>
                        </a:defRPr>
                      </a:pPr>
                      <a:r>
                        <a:rPr sz="600">
                          <a:latin typeface="Nexa Book"/>
                        </a:rPr>
                        <a:t>7291</a:t>
                      </a:r>
                    </a:p>
                  </a:txBody>
                  <a:tcPr marL="2858" marR="2858" marT="2858" marB="0" anchor="ctr">
                    <a:noFill/>
                  </a:tcPr>
                </a:tc>
                <a:tc>
                  <a:txBody>
                    <a:bodyPr/>
                    <a:lstStyle/>
                    <a:p>
                      <a:pPr algn="ctr">
                        <a:defRPr sz="600">
                          <a:latin typeface="Nexa Book"/>
                        </a:defRPr>
                      </a:pPr>
                      <a:r>
                        <a:rPr sz="600">
                          <a:latin typeface="Nexa Book"/>
                        </a:rPr>
                        <a:t>226%</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990412867"/>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ruts  |  NICOLAS VCN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37.10</a:t>
                      </a:r>
                    </a:p>
                  </a:txBody>
                  <a:tcPr marL="2858" marR="2858" marT="2858" marB="0" anchor="ctr">
                    <a:noFill/>
                  </a:tcPr>
                </a:tc>
                <a:tc>
                  <a:txBody>
                    <a:bodyPr/>
                    <a:lstStyle/>
                    <a:p>
                      <a:pPr algn="ctr">
                        <a:defRPr sz="600">
                          <a:latin typeface="Nexa Book"/>
                        </a:defRPr>
                      </a:pPr>
                      <a:r>
                        <a:rPr sz="600">
                          <a:latin typeface="Nexa Book"/>
                        </a:rPr>
                        <a:t> 25.82</a:t>
                      </a:r>
                    </a:p>
                  </a:txBody>
                  <a:tcPr marL="2858" marR="2858" marT="2858" marB="0" anchor="ctr">
                    <a:noFill/>
                  </a:tcPr>
                </a:tc>
                <a:tc>
                  <a:txBody>
                    <a:bodyPr/>
                    <a:lstStyle/>
                    <a:p>
                      <a:pPr algn="ctr">
                        <a:defRPr sz="600">
                          <a:latin typeface="Nexa Book"/>
                        </a:defRPr>
                      </a:pPr>
                      <a:r>
                        <a:rPr sz="600">
                          <a:latin typeface="Nexa Book"/>
                        </a:rPr>
                        <a:t>981</a:t>
                      </a:r>
                    </a:p>
                  </a:txBody>
                  <a:tcPr marL="2858" marR="2858" marT="2858" marB="0" anchor="ctr">
                    <a:noFill/>
                  </a:tcPr>
                </a:tc>
                <a:tc>
                  <a:txBody>
                    <a:bodyPr/>
                    <a:lstStyle/>
                    <a:p>
                      <a:pPr algn="ctr">
                        <a:defRPr sz="600">
                          <a:latin typeface="Nexa Book"/>
                        </a:defRPr>
                      </a:pPr>
                      <a:r>
                        <a:rPr sz="600">
                          <a:latin typeface="Nexa Book"/>
                        </a:rPr>
                        <a:t>1226%</a:t>
                      </a:r>
                    </a:p>
                  </a:txBody>
                  <a:tcPr marL="2858" marR="2858" marT="2858" marB="0" anchor="ctr">
                    <a:noFill/>
                  </a:tcPr>
                </a:tc>
                <a:tc>
                  <a:txBody>
                    <a:bodyPr/>
                    <a:lstStyle/>
                    <a:p>
                      <a:pPr algn="ctr">
                        <a:defRPr sz="600">
                          <a:latin typeface="Nexa Book"/>
                        </a:defRPr>
                      </a:pPr>
                      <a:r>
                        <a:rPr sz="600">
                          <a:latin typeface="Nexa Book"/>
                        </a:rPr>
                        <a:t>2700%</a:t>
                      </a:r>
                    </a:p>
                  </a:txBody>
                  <a:tcPr marL="2858" marR="2858" marT="2858" marB="0" anchor="ctr">
                    <a:noFill/>
                  </a:tcPr>
                </a:tc>
                <a:tc>
                  <a:txBody>
                    <a:bodyPr/>
                    <a:lstStyle/>
                    <a:p>
                      <a:pPr algn="ctr">
                        <a:defRPr sz="600">
                          <a:latin typeface="Nexa Book"/>
                        </a:defRPr>
                      </a:pPr>
                      <a:r>
                        <a:rPr sz="600">
                          <a:latin typeface="Nexa Book"/>
                        </a:rPr>
                        <a:t>90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r>
                        <a:rPr sz="600">
                          <a:latin typeface="Nexa Book"/>
                        </a:rPr>
                        <a:t> 38.58</a:t>
                      </a:r>
                    </a:p>
                  </a:txBody>
                  <a:tcPr marL="2858" marR="2858" marT="2858" marB="0" anchor="ctr">
                    <a:noFill/>
                  </a:tcPr>
                </a:tc>
                <a:tc>
                  <a:txBody>
                    <a:bodyPr/>
                    <a:lstStyle/>
                    <a:p>
                      <a:pPr algn="ctr">
                        <a:defRPr sz="600">
                          <a:latin typeface="Nexa Book"/>
                        </a:defRPr>
                      </a:pPr>
                      <a:r>
                        <a:rPr sz="600">
                          <a:latin typeface="Nexa Book"/>
                        </a:rPr>
                        <a:t> 26.47</a:t>
                      </a:r>
                    </a:p>
                  </a:txBody>
                  <a:tcPr marL="2858" marR="2858" marT="2858" marB="0" anchor="ctr">
                    <a:noFill/>
                  </a:tcPr>
                </a:tc>
                <a:tc>
                  <a:txBody>
                    <a:bodyPr/>
                    <a:lstStyle/>
                    <a:p>
                      <a:pPr algn="ctr">
                        <a:defRPr sz="600">
                          <a:latin typeface="Nexa Book"/>
                        </a:defRPr>
                      </a:pPr>
                      <a:r>
                        <a:rPr sz="600">
                          <a:latin typeface="Nexa Book"/>
                        </a:rPr>
                        <a:t>33'906</a:t>
                      </a:r>
                    </a:p>
                  </a:txBody>
                  <a:tcPr marL="2858" marR="2858" marT="2858" marB="0" anchor="ctr">
                    <a:noFill/>
                  </a:tcPr>
                </a:tc>
                <a:tc>
                  <a:txBody>
                    <a:bodyPr/>
                    <a:lstStyle/>
                    <a:p>
                      <a:pPr algn="ctr">
                        <a:defRPr sz="600">
                          <a:latin typeface="Nexa Book"/>
                        </a:defRPr>
                      </a:pPr>
                      <a:r>
                        <a:rPr sz="600">
                          <a:latin typeface="Nexa Book"/>
                        </a:rPr>
                        <a:t>1059%</a:t>
                      </a:r>
                    </a:p>
                  </a:txBody>
                  <a:tcPr marL="2858" marR="2858" marT="2858" marB="0" anchor="ctr">
                    <a:noFill/>
                  </a:tcPr>
                </a:tc>
                <a:tc>
                  <a:txBody>
                    <a:bodyPr/>
                    <a:lstStyle/>
                    <a:p>
                      <a:pPr algn="ctr">
                        <a:defRPr sz="600">
                          <a:latin typeface="Nexa Book"/>
                        </a:defRPr>
                      </a:pPr>
                      <a:r>
                        <a:rPr sz="600">
                          <a:latin typeface="Nexa Book"/>
                        </a:rPr>
                        <a:t>1503%</a:t>
                      </a:r>
                    </a:p>
                  </a:txBody>
                  <a:tcPr marL="2858" marR="2858" marT="2858" marB="0" anchor="ctr">
                    <a:noFill/>
                  </a:tcPr>
                </a:tc>
                <a:tc>
                  <a:txBody>
                    <a:bodyPr/>
                    <a:lstStyle/>
                    <a:p>
                      <a:pPr algn="ctr">
                        <a:defRPr sz="600">
                          <a:latin typeface="Nexa Book"/>
                        </a:defRPr>
                      </a:pPr>
                      <a:r>
                        <a:rPr sz="600">
                          <a:latin typeface="Nexa Book"/>
                        </a:rPr>
                        <a:t>31758</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215603012"/>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ruts  |  NICOLAS PA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 ETU 1CT X 750ML</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 37.31</a:t>
                      </a:r>
                    </a:p>
                  </a:txBody>
                  <a:tcPr marL="2858" marR="2858" marT="2858" marB="0" anchor="ctr">
                    <a:noFill/>
                  </a:tcPr>
                </a:tc>
                <a:tc>
                  <a:txBody>
                    <a:bodyPr/>
                    <a:lstStyle/>
                    <a:p>
                      <a:pPr algn="ctr">
                        <a:defRPr sz="600">
                          <a:latin typeface="Nexa Book"/>
                        </a:defRPr>
                      </a:pPr>
                      <a:r>
                        <a:rPr sz="600">
                          <a:latin typeface="Nexa Book"/>
                        </a:rPr>
                        <a:t> 25.85</a:t>
                      </a:r>
                    </a:p>
                  </a:txBody>
                  <a:tcPr marL="2858" marR="2858" marT="2858" marB="0" anchor="ctr">
                    <a:noFill/>
                  </a:tcPr>
                </a:tc>
                <a:tc>
                  <a:txBody>
                    <a:bodyPr/>
                    <a:lstStyle/>
                    <a:p>
                      <a:pPr algn="ctr">
                        <a:defRPr sz="600">
                          <a:latin typeface="Nexa Book"/>
                        </a:defRPr>
                      </a:pPr>
                      <a:r>
                        <a:rPr sz="600">
                          <a:latin typeface="Nexa Book"/>
                        </a:rPr>
                        <a:t>336</a:t>
                      </a:r>
                    </a:p>
                  </a:txBody>
                  <a:tcPr marL="2858" marR="2858" marT="2858" marB="0" anchor="ctr">
                    <a:noFill/>
                  </a:tcPr>
                </a:tc>
                <a:tc>
                  <a:txBody>
                    <a:bodyPr/>
                    <a:lstStyle/>
                    <a:p>
                      <a:pPr algn="ctr">
                        <a:defRPr sz="600">
                          <a:latin typeface="Nexa Book"/>
                        </a:defRPr>
                      </a:pPr>
                      <a:r>
                        <a:rPr sz="600">
                          <a:latin typeface="Nexa Book"/>
                        </a:rPr>
                        <a:t>354%</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262</a:t>
                      </a:r>
                    </a:p>
                  </a:txBody>
                  <a:tcPr marL="2858" marR="2858" marT="2858" marB="0" anchor="ctr">
                    <a:noFill/>
                  </a:tcPr>
                </a:tc>
                <a:tc>
                  <a:txBody>
                    <a:bodyPr/>
                    <a:lstStyle/>
                    <a:p>
                      <a:pPr algn="ctr">
                        <a:defRPr sz="600">
                          <a:latin typeface="Nexa Book"/>
                        </a:defRPr>
                      </a:pPr>
                      <a:r>
                        <a:rPr sz="600">
                          <a:latin typeface="Nexa Book"/>
                        </a:rPr>
                        <a:t>771%</a:t>
                      </a:r>
                    </a:p>
                  </a:txBody>
                  <a:tcPr marL="2858" marR="2858" marT="2858" marB="0" anchor="ctr">
                    <a:noFill/>
                  </a:tcPr>
                </a:tc>
                <a:tc>
                  <a:txBody>
                    <a:bodyPr/>
                    <a:lstStyle/>
                    <a:p>
                      <a:pPr algn="ctr">
                        <a:defRPr sz="600">
                          <a:latin typeface="Nexa Book"/>
                        </a:defRPr>
                      </a:pPr>
                      <a:r>
                        <a:rPr sz="600">
                          <a:latin typeface="Nexa Book"/>
                        </a:rPr>
                        <a:t>4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37.35</a:t>
                      </a:r>
                    </a:p>
                  </a:txBody>
                  <a:tcPr marL="2858" marR="2858" marT="2858" marB="0" anchor="ctr">
                    <a:noFill/>
                  </a:tcPr>
                </a:tc>
                <a:tc>
                  <a:txBody>
                    <a:bodyPr/>
                    <a:lstStyle/>
                    <a:p>
                      <a:pPr algn="ctr">
                        <a:defRPr sz="600">
                          <a:latin typeface="Nexa Book"/>
                        </a:defRPr>
                      </a:pPr>
                      <a:r>
                        <a:rPr sz="600">
                          <a:latin typeface="Nexa Book"/>
                        </a:rPr>
                        <a:t> 26.78</a:t>
                      </a:r>
                    </a:p>
                  </a:txBody>
                  <a:tcPr marL="2858" marR="2858" marT="2858" marB="0" anchor="ctr">
                    <a:noFill/>
                  </a:tcPr>
                </a:tc>
                <a:tc>
                  <a:txBody>
                    <a:bodyPr/>
                    <a:lstStyle/>
                    <a:p>
                      <a:pPr algn="ctr">
                        <a:defRPr sz="600">
                          <a:latin typeface="Nexa Book"/>
                        </a:defRPr>
                      </a:pPr>
                      <a:r>
                        <a:rPr sz="600">
                          <a:latin typeface="Nexa Book"/>
                        </a:rPr>
                        <a:t>8'461</a:t>
                      </a:r>
                    </a:p>
                  </a:txBody>
                  <a:tcPr marL="2858" marR="2858" marT="2858" marB="0" anchor="ctr">
                    <a:noFill/>
                  </a:tcPr>
                </a:tc>
                <a:tc>
                  <a:txBody>
                    <a:bodyPr/>
                    <a:lstStyle/>
                    <a:p>
                      <a:pPr algn="ctr">
                        <a:defRPr sz="600">
                          <a:latin typeface="Nexa Book"/>
                        </a:defRPr>
                      </a:pPr>
                      <a:r>
                        <a:rPr sz="600">
                          <a:latin typeface="Nexa Book"/>
                        </a:rPr>
                        <a:t>341%</a:t>
                      </a:r>
                    </a:p>
                  </a:txBody>
                  <a:tcPr marL="2858" marR="2858" marT="2858" marB="0" anchor="ctr">
                    <a:noFill/>
                  </a:tcPr>
                </a:tc>
                <a:tc>
                  <a:txBody>
                    <a:bodyPr/>
                    <a:lstStyle/>
                    <a:p>
                      <a:pPr algn="ctr">
                        <a:defRPr sz="600">
                          <a:latin typeface="Nexa Book"/>
                        </a:defRPr>
                      </a:pPr>
                      <a:r>
                        <a:rPr sz="600">
                          <a:latin typeface="Nexa Book"/>
                        </a:rPr>
                        <a:t>475%</a:t>
                      </a:r>
                    </a:p>
                  </a:txBody>
                  <a:tcPr marL="2858" marR="2858" marT="2858" marB="0" anchor="ctr">
                    <a:noFill/>
                  </a:tcPr>
                </a:tc>
                <a:tc>
                  <a:txBody>
                    <a:bodyPr/>
                    <a:lstStyle/>
                    <a:p>
                      <a:pPr algn="ctr">
                        <a:defRPr sz="600">
                          <a:latin typeface="Nexa Book"/>
                        </a:defRPr>
                      </a:pPr>
                      <a:r>
                        <a:rPr sz="600">
                          <a:latin typeface="Nexa Book"/>
                        </a:rPr>
                        <a:t>7200</a:t>
                      </a:r>
                    </a:p>
                  </a:txBody>
                  <a:tcPr marL="2858" marR="2858" marT="2858" marB="0" anchor="ctr">
                    <a:noFill/>
                  </a:tcPr>
                </a:tc>
                <a:tc>
                  <a:txBody>
                    <a:bodyPr/>
                    <a:lstStyle/>
                    <a:p>
                      <a:pPr algn="ctr">
                        <a:defRPr sz="600">
                          <a:latin typeface="Nexa Book"/>
                        </a:defRPr>
                      </a:pPr>
                      <a:r>
                        <a:rPr sz="600">
                          <a:latin typeface="Nexa Book"/>
                        </a:rPr>
                        <a:t>243%</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990369407"/>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osés  |  NICOLAS PAC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50</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42.00</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56</a:t>
                      </a:r>
                    </a:p>
                  </a:txBody>
                  <a:tcPr marL="2858" marR="2858" marT="2858" marB="0" anchor="ctr">
                    <a:noFill/>
                  </a:tcPr>
                </a:tc>
                <a:tc>
                  <a:txBody>
                    <a:bodyPr/>
                    <a:lstStyle/>
                    <a:p>
                      <a:pPr algn="ctr">
                        <a:defRPr sz="600">
                          <a:latin typeface="Nexa Book"/>
                        </a:defRPr>
                      </a:pPr>
                      <a:r>
                        <a:rPr sz="600">
                          <a:latin typeface="Nexa Book"/>
                        </a:rPr>
                        <a:t>2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 41.55</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1'320</a:t>
                      </a:r>
                    </a:p>
                  </a:txBody>
                  <a:tcPr marL="2858" marR="2858" marT="2858" marB="0" anchor="ctr">
                    <a:noFill/>
                  </a:tcPr>
                </a:tc>
                <a:tc>
                  <a:txBody>
                    <a:bodyPr/>
                    <a:lstStyle/>
                    <a:p>
                      <a:pPr algn="ctr">
                        <a:defRPr sz="600">
                          <a:latin typeface="Nexa Book"/>
                        </a:defRPr>
                      </a:pPr>
                      <a:r>
                        <a:rPr sz="600">
                          <a:latin typeface="Nexa Book"/>
                        </a:rPr>
                        <a:t>152%</a:t>
                      </a:r>
                    </a:p>
                  </a:txBody>
                  <a:tcPr marL="2858" marR="2858" marT="2858" marB="0" anchor="ctr">
                    <a:noFill/>
                  </a:tcPr>
                </a:tc>
                <a:tc>
                  <a:txBody>
                    <a:bodyPr/>
                    <a:lstStyle/>
                    <a:p>
                      <a:pPr algn="ctr">
                        <a:defRPr sz="600">
                          <a:latin typeface="Nexa Book"/>
                        </a:defRPr>
                      </a:pPr>
                      <a:r>
                        <a:rPr sz="600">
                          <a:latin typeface="Nexa Book"/>
                        </a:rPr>
                        <a:t>267%</a:t>
                      </a:r>
                    </a:p>
                  </a:txBody>
                  <a:tcPr marL="2858" marR="2858" marT="2858" marB="0" anchor="ctr">
                    <a:noFill/>
                  </a:tcPr>
                </a:tc>
                <a:tc>
                  <a:txBody>
                    <a:bodyPr/>
                    <a:lstStyle/>
                    <a:p>
                      <a:pPr algn="ctr">
                        <a:defRPr sz="600">
                          <a:latin typeface="Nexa Book"/>
                        </a:defRPr>
                      </a:pPr>
                      <a:r>
                        <a:rPr sz="600">
                          <a:latin typeface="Nexa Book"/>
                        </a:rPr>
                        <a:t>822</a:t>
                      </a:r>
                    </a:p>
                  </a:txBody>
                  <a:tcPr marL="2858" marR="2858" marT="2858" marB="0" anchor="ctr">
                    <a:noFill/>
                  </a:tcPr>
                </a:tc>
                <a:tc>
                  <a:txBody>
                    <a:bodyPr/>
                    <a:lstStyle/>
                    <a:p>
                      <a:pPr algn="ctr">
                        <a:defRPr sz="600">
                          <a:latin typeface="Nexa Book"/>
                        </a:defRPr>
                      </a:pPr>
                      <a:r>
                        <a:rPr sz="600">
                          <a:latin typeface="Nexa Book"/>
                        </a:rPr>
                        <a:t>137%</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39305805"/>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ruts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1ERE CUVEE 1CT X 750ML</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 41.76</a:t>
                      </a:r>
                    </a:p>
                  </a:txBody>
                  <a:tcPr marL="2858" marR="2858" marT="2858" marB="0" anchor="ctr">
                    <a:noFill/>
                  </a:tcPr>
                </a:tc>
                <a:tc>
                  <a:txBody>
                    <a:bodyPr/>
                    <a:lstStyle/>
                    <a:p>
                      <a:pPr algn="ctr">
                        <a:defRPr sz="600">
                          <a:latin typeface="Nexa Book"/>
                        </a:defRPr>
                      </a:pPr>
                      <a:r>
                        <a:rPr sz="600">
                          <a:latin typeface="Nexa Book"/>
                        </a:rPr>
                        <a:t> 26.57</a:t>
                      </a:r>
                    </a:p>
                  </a:txBody>
                  <a:tcPr marL="2858" marR="2858" marT="2858" marB="0" anchor="ctr">
                    <a:noFill/>
                  </a:tcPr>
                </a:tc>
                <a:tc>
                  <a:txBody>
                    <a:bodyPr/>
                    <a:lstStyle/>
                    <a:p>
                      <a:pPr algn="ctr">
                        <a:defRPr sz="600">
                          <a:latin typeface="Nexa Book"/>
                        </a:defRPr>
                      </a:pPr>
                      <a:r>
                        <a:rPr sz="600">
                          <a:latin typeface="Nexa Book"/>
                        </a:rPr>
                        <a:t>5'527</a:t>
                      </a:r>
                    </a:p>
                  </a:txBody>
                  <a:tcPr marL="2858" marR="2858" marT="2858" marB="0" anchor="ctr">
                    <a:noFill/>
                  </a:tcPr>
                </a:tc>
                <a:tc>
                  <a:txBody>
                    <a:bodyPr/>
                    <a:lstStyle/>
                    <a:p>
                      <a:pPr algn="ctr">
                        <a:defRPr sz="600">
                          <a:latin typeface="Nexa Book"/>
                        </a:defRPr>
                      </a:pPr>
                      <a:r>
                        <a:rPr sz="600">
                          <a:latin typeface="Nexa Book"/>
                        </a:rPr>
                        <a:t>789%</a:t>
                      </a:r>
                    </a:p>
                  </a:txBody>
                  <a:tcPr marL="2858" marR="2858" marT="2858" marB="0" anchor="ctr">
                    <a:noFill/>
                  </a:tcPr>
                </a:tc>
                <a:tc>
                  <a:txBody>
                    <a:bodyPr/>
                    <a:lstStyle/>
                    <a:p>
                      <a:pPr algn="ctr">
                        <a:defRPr sz="600">
                          <a:latin typeface="Nexa Book"/>
                        </a:defRPr>
                      </a:pPr>
                      <a:r>
                        <a:rPr sz="600">
                          <a:latin typeface="Nexa Book"/>
                        </a:rPr>
                        <a:t>1115%</a:t>
                      </a:r>
                    </a:p>
                  </a:txBody>
                  <a:tcPr marL="2858" marR="2858" marT="2858" marB="0" anchor="ctr">
                    <a:noFill/>
                  </a:tcPr>
                </a:tc>
                <a:tc>
                  <a:txBody>
                    <a:bodyPr/>
                    <a:lstStyle/>
                    <a:p>
                      <a:pPr algn="ctr">
                        <a:defRPr sz="600">
                          <a:latin typeface="Nexa Book"/>
                        </a:defRPr>
                      </a:pPr>
                      <a:r>
                        <a:rPr sz="600">
                          <a:latin typeface="Nexa Book"/>
                        </a:rPr>
                        <a:t>4972</a:t>
                      </a:r>
                    </a:p>
                  </a:txBody>
                  <a:tcPr marL="2858" marR="2858" marT="2858" marB="0" anchor="ctr">
                    <a:noFill/>
                  </a:tcPr>
                </a:tc>
                <a:tc>
                  <a:txBody>
                    <a:bodyPr/>
                    <a:lstStyle/>
                    <a:p>
                      <a:pPr algn="ctr">
                        <a:defRPr sz="600">
                          <a:latin typeface="Nexa Book"/>
                        </a:defRPr>
                      </a:pPr>
                      <a:r>
                        <a:rPr sz="600">
                          <a:latin typeface="Nexa Book"/>
                        </a:rPr>
                        <a:t>239%</a:t>
                      </a:r>
                    </a:p>
                  </a:txBody>
                  <a:tcPr marL="2858" marR="2858" marT="2858" marB="0" anchor="ctr">
                    <a:noFill/>
                  </a:tcPr>
                </a:tc>
                <a:tc>
                  <a:txBody>
                    <a:bodyPr/>
                    <a:lstStyle/>
                    <a:p>
                      <a:pPr algn="ctr">
                        <a:defRPr sz="600">
                          <a:latin typeface="Nexa Book"/>
                        </a:defRPr>
                      </a:pPr>
                      <a:r>
                        <a:rPr sz="600">
                          <a:latin typeface="Nexa Book"/>
                        </a:rPr>
                        <a:t>4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175546315"/>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osés  |  NICOLAS AQU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8.0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41.95</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4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 41.97</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780</a:t>
                      </a:r>
                    </a:p>
                  </a:txBody>
                  <a:tcPr marL="2858" marR="2858" marT="2858" marB="0" anchor="ctr">
                    <a:noFill/>
                  </a:tcPr>
                </a:tc>
                <a:tc>
                  <a:txBody>
                    <a:bodyPr/>
                    <a:lstStyle/>
                    <a:p>
                      <a:pPr algn="ctr">
                        <a:defRPr sz="600">
                          <a:latin typeface="Nexa Book"/>
                        </a:defRPr>
                      </a:pPr>
                      <a:r>
                        <a:rPr sz="600">
                          <a:latin typeface="Nexa Book"/>
                        </a:rPr>
                        <a:t>211%</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529</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124453046"/>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osés  |  CA A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73</a:t>
                      </a:r>
                    </a:p>
                  </a:txBody>
                  <a:tcPr marL="2858" marR="2858" marT="2858" marB="0" anchor="ctr">
                    <a:noFill/>
                  </a:tcPr>
                </a:tc>
                <a:tc>
                  <a:txBody>
                    <a:bodyPr/>
                    <a:lstStyle/>
                    <a:p>
                      <a:pPr algn="ctr">
                        <a:defRPr sz="600">
                          <a:latin typeface="Nexa Book"/>
                        </a:defRPr>
                      </a:pPr>
                      <a:r>
                        <a:rPr sz="600">
                          <a:latin typeface="Nexa Book"/>
                        </a:rPr>
                        <a:t>1'365</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r>
                        <a:rPr sz="600">
                          <a:latin typeface="Nexa Book"/>
                        </a:rPr>
                        <a:t>669</a:t>
                      </a:r>
                    </a:p>
                  </a:txBody>
                  <a:tcPr marL="2858" marR="2858" marT="2858" marB="0" anchor="ctr">
                    <a:noFill/>
                  </a:tcPr>
                </a:tc>
                <a:tc>
                  <a:txBody>
                    <a:bodyPr/>
                    <a:lstStyle/>
                    <a:p>
                      <a:pPr algn="ctr">
                        <a:defRPr sz="600">
                          <a:latin typeface="Nexa Book"/>
                        </a:defRPr>
                      </a:pPr>
                      <a:r>
                        <a:rPr sz="600">
                          <a:latin typeface="Nexa Book"/>
                        </a:rPr>
                        <a:t>102%</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 41.67</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660</a:t>
                      </a:r>
                    </a:p>
                  </a:txBody>
                  <a:tcPr marL="2858" marR="2858" marT="2858" marB="0" anchor="ctr">
                    <a:noFill/>
                  </a:tcPr>
                </a:tc>
                <a:tc>
                  <a:txBody>
                    <a:bodyPr/>
                    <a:lstStyle/>
                    <a:p>
                      <a:pPr algn="ctr">
                        <a:defRPr sz="600">
                          <a:latin typeface="Nexa Book"/>
                        </a:defRPr>
                      </a:pPr>
                      <a:r>
                        <a:rPr sz="600">
                          <a:latin typeface="Nexa Book"/>
                        </a:rPr>
                        <a:t>224%</a:t>
                      </a:r>
                    </a:p>
                  </a:txBody>
                  <a:tcPr marL="2858" marR="2858" marT="2858" marB="0" anchor="ctr">
                    <a:noFill/>
                  </a:tcPr>
                </a:tc>
                <a:tc>
                  <a:txBody>
                    <a:bodyPr/>
                    <a:lstStyle/>
                    <a:p>
                      <a:pPr algn="ctr">
                        <a:defRPr sz="600">
                          <a:latin typeface="Nexa Book"/>
                        </a:defRPr>
                      </a:pPr>
                      <a:r>
                        <a:rPr sz="600">
                          <a:latin typeface="Nexa Book"/>
                        </a:rPr>
                        <a:t>178%</a:t>
                      </a:r>
                    </a:p>
                  </a:txBody>
                  <a:tcPr marL="2858" marR="2858" marT="2858" marB="0" anchor="ctr">
                    <a:noFill/>
                  </a:tcPr>
                </a:tc>
                <a:tc>
                  <a:txBody>
                    <a:bodyPr/>
                    <a:lstStyle/>
                    <a:p>
                      <a:pPr algn="ctr">
                        <a:defRPr sz="600">
                          <a:latin typeface="Nexa Book"/>
                        </a:defRPr>
                      </a:pPr>
                      <a:r>
                        <a:rPr sz="600">
                          <a:latin typeface="Nexa Book"/>
                        </a:rPr>
                        <a:t>931</a:t>
                      </a:r>
                    </a:p>
                  </a:txBody>
                  <a:tcPr marL="2858" marR="2858" marT="2858" marB="0" anchor="ctr">
                    <a:noFill/>
                  </a:tcPr>
                </a:tc>
                <a:tc>
                  <a:txBody>
                    <a:bodyPr/>
                    <a:lstStyle/>
                    <a:p>
                      <a:pPr algn="ctr">
                        <a:defRPr sz="600">
                          <a:latin typeface="Nexa Book"/>
                        </a:defRPr>
                      </a:pPr>
                      <a:r>
                        <a:rPr sz="600">
                          <a:latin typeface="Nexa Book"/>
                        </a:rPr>
                        <a:t>740%</a:t>
                      </a:r>
                    </a:p>
                  </a:txBody>
                  <a:tcPr marL="2858" marR="2858" marT="2858" marB="0" anchor="ctr">
                    <a:noFill/>
                  </a:tcPr>
                </a:tc>
                <a:tc>
                  <a:txBody>
                    <a:bodyPr/>
                    <a:lstStyle/>
                    <a:p>
                      <a:pPr algn="ctr">
                        <a:defRPr sz="600">
                          <a:latin typeface="Nexa Book"/>
                        </a:defRPr>
                      </a:pPr>
                      <a:r>
                        <a:rPr sz="600">
                          <a:latin typeface="Nexa Book"/>
                        </a:rPr>
                        <a:t>4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41.47</a:t>
                      </a:r>
                    </a:p>
                  </a:txBody>
                  <a:tcPr marL="2858" marR="2858" marT="2858" marB="0" anchor="ctr">
                    <a:noFill/>
                  </a:tcPr>
                </a:tc>
                <a:tc>
                  <a:txBody>
                    <a:bodyPr/>
                    <a:lstStyle/>
                    <a:p>
                      <a:pPr algn="ctr">
                        <a:defRPr sz="600">
                          <a:latin typeface="Nexa Book"/>
                        </a:defRPr>
                      </a:pPr>
                      <a:r>
                        <a:rPr sz="600">
                          <a:latin typeface="Nexa Book"/>
                        </a:rPr>
                        <a:t> 29.98</a:t>
                      </a:r>
                    </a:p>
                  </a:txBody>
                  <a:tcPr marL="2858" marR="2858" marT="2858" marB="0" anchor="ctr">
                    <a:noFill/>
                  </a:tcPr>
                </a:tc>
                <a:tc>
                  <a:txBody>
                    <a:bodyPr/>
                    <a:lstStyle/>
                    <a:p>
                      <a:pPr algn="ctr">
                        <a:defRPr sz="600">
                          <a:latin typeface="Nexa Book"/>
                        </a:defRPr>
                      </a:pPr>
                      <a:r>
                        <a:rPr sz="600">
                          <a:latin typeface="Nexa Book"/>
                        </a:rPr>
                        <a:t>5'277</a:t>
                      </a:r>
                    </a:p>
                  </a:txBody>
                  <a:tcPr marL="2858" marR="2858" marT="2858" marB="0" anchor="ctr">
                    <a:noFill/>
                  </a:tcPr>
                </a:tc>
                <a:tc>
                  <a:txBody>
                    <a:bodyPr/>
                    <a:lstStyle/>
                    <a:p>
                      <a:pPr algn="ctr">
                        <a:defRPr sz="600">
                          <a:latin typeface="Nexa Book"/>
                        </a:defRPr>
                      </a:pPr>
                      <a:r>
                        <a:rPr sz="600">
                          <a:latin typeface="Nexa Book"/>
                        </a:rPr>
                        <a:t>459%</a:t>
                      </a:r>
                    </a:p>
                  </a:txBody>
                  <a:tcPr marL="2858" marR="2858" marT="2858" marB="0" anchor="ctr">
                    <a:noFill/>
                  </a:tcPr>
                </a:tc>
                <a:tc>
                  <a:txBody>
                    <a:bodyPr/>
                    <a:lstStyle/>
                    <a:p>
                      <a:pPr algn="ctr">
                        <a:defRPr sz="600">
                          <a:latin typeface="Nexa Book"/>
                        </a:defRPr>
                      </a:pPr>
                      <a:r>
                        <a:rPr sz="600">
                          <a:latin typeface="Nexa Book"/>
                        </a:rPr>
                        <a:t>682%</a:t>
                      </a:r>
                    </a:p>
                  </a:txBody>
                  <a:tcPr marL="2858" marR="2858" marT="2858" marB="0" anchor="ctr">
                    <a:noFill/>
                  </a:tcPr>
                </a:tc>
                <a:tc>
                  <a:txBody>
                    <a:bodyPr/>
                    <a:lstStyle/>
                    <a:p>
                      <a:pPr algn="ctr">
                        <a:defRPr sz="600">
                          <a:latin typeface="Nexa Book"/>
                        </a:defRPr>
                      </a:pPr>
                      <a:r>
                        <a:rPr sz="600">
                          <a:latin typeface="Nexa Book"/>
                        </a:rPr>
                        <a:t>4366</a:t>
                      </a:r>
                    </a:p>
                  </a:txBody>
                  <a:tcPr marL="2858" marR="2858" marT="2858" marB="0" anchor="ctr">
                    <a:noFill/>
                  </a:tcPr>
                </a:tc>
                <a:tc>
                  <a:txBody>
                    <a:bodyPr/>
                    <a:lstStyle/>
                    <a:p>
                      <a:pPr algn="ctr">
                        <a:defRPr sz="600">
                          <a:latin typeface="Nexa Book"/>
                        </a:defRPr>
                      </a:pPr>
                      <a:r>
                        <a:rPr sz="600">
                          <a:latin typeface="Nexa Book"/>
                        </a:rPr>
                        <a:t>206%</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2465473"/>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1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osés  |  CA D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1/2 CHAMP NICOLAS ROSE 1E C BS 1CT X 375ML</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24.00</a:t>
                      </a:r>
                    </a:p>
                  </a:txBody>
                  <a:tcPr marL="2858" marR="2858" marT="2858" marB="0" anchor="ctr">
                    <a:noFill/>
                  </a:tcPr>
                </a:tc>
                <a:tc>
                  <a:txBody>
                    <a:bodyPr/>
                    <a:lstStyle/>
                    <a:p>
                      <a:pPr algn="ctr">
                        <a:defRPr sz="600">
                          <a:latin typeface="Nexa Book"/>
                        </a:defRPr>
                      </a:pPr>
                      <a:r>
                        <a:rPr sz="600">
                          <a:latin typeface="Nexa Book"/>
                        </a:rPr>
                        <a:t> 17.83</a:t>
                      </a:r>
                    </a:p>
                  </a:txBody>
                  <a:tcPr marL="2858" marR="2858" marT="2858" marB="0" anchor="ctr">
                    <a:noFill/>
                  </a:tcPr>
                </a:tc>
                <a:tc>
                  <a:txBody>
                    <a:bodyPr/>
                    <a:lstStyle/>
                    <a:p>
                      <a:pPr algn="ctr">
                        <a:defRPr sz="600">
                          <a:latin typeface="Nexa Book"/>
                        </a:defRPr>
                      </a:pPr>
                      <a:r>
                        <a:rPr sz="600">
                          <a:latin typeface="Nexa Book"/>
                        </a:rPr>
                        <a:t>642</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75%</a:t>
                      </a:r>
                    </a:p>
                  </a:txBody>
                  <a:tcPr marL="2858" marR="2858" marT="2858" marB="0" anchor="ctr">
                    <a:noFill/>
                  </a:tcPr>
                </a:tc>
                <a:tc>
                  <a:txBody>
                    <a:bodyPr/>
                    <a:lstStyle/>
                    <a:p>
                      <a:pPr algn="ctr">
                        <a:defRPr sz="600">
                          <a:latin typeface="Nexa Book"/>
                        </a:defRPr>
                      </a:pPr>
                      <a:r>
                        <a:rPr sz="600">
                          <a:latin typeface="Nexa Book"/>
                        </a:rPr>
                        <a:t>186</a:t>
                      </a:r>
                    </a:p>
                  </a:txBody>
                  <a:tcPr marL="2858" marR="2858" marT="2858" marB="0" anchor="ctr">
                    <a:noFill/>
                  </a:tcPr>
                </a:tc>
                <a:tc>
                  <a:txBody>
                    <a:bodyPr/>
                    <a:lstStyle/>
                    <a:p>
                      <a:pPr algn="ctr">
                        <a:defRPr sz="600">
                          <a:latin typeface="Nexa Book"/>
                        </a:defRPr>
                      </a:pPr>
                      <a:r>
                        <a:rPr sz="600">
                          <a:latin typeface="Nexa Book"/>
                        </a:rPr>
                        <a:t>94%</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ET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 41.51</a:t>
                      </a:r>
                    </a:p>
                  </a:txBody>
                  <a:tcPr marL="2858" marR="2858" marT="2858" marB="0" anchor="ctr">
                    <a:noFill/>
                  </a:tcPr>
                </a:tc>
                <a:tc>
                  <a:txBody>
                    <a:bodyPr/>
                    <a:lstStyle/>
                    <a:p>
                      <a:pPr algn="ctr">
                        <a:defRPr sz="600">
                          <a:latin typeface="Nexa Book"/>
                        </a:defRPr>
                      </a:pPr>
                      <a:r>
                        <a:rPr sz="600">
                          <a:latin typeface="Nexa Book"/>
                        </a:rPr>
                        <a:t> 30.57</a:t>
                      </a:r>
                    </a:p>
                  </a:txBody>
                  <a:tcPr marL="2858" marR="2858" marT="2858" marB="0" anchor="ctr">
                    <a:noFill/>
                  </a:tcPr>
                </a:tc>
                <a:tc>
                  <a:txBody>
                    <a:bodyPr/>
                    <a:lstStyle/>
                    <a:p>
                      <a:pPr algn="ctr">
                        <a:defRPr sz="600">
                          <a:latin typeface="Nexa Book"/>
                        </a:defRPr>
                      </a:pPr>
                      <a:r>
                        <a:rPr sz="600">
                          <a:latin typeface="Nexa Book"/>
                        </a:rPr>
                        <a:t>428</a:t>
                      </a:r>
                    </a:p>
                  </a:txBody>
                  <a:tcPr marL="2858" marR="2858" marT="2858" marB="0" anchor="ctr">
                    <a:noFill/>
                  </a:tcPr>
                </a:tc>
                <a:tc>
                  <a:txBody>
                    <a:bodyPr/>
                    <a:lstStyle/>
                    <a:p>
                      <a:pPr algn="ctr">
                        <a:defRPr sz="600">
                          <a:latin typeface="Nexa Book"/>
                        </a:defRPr>
                      </a:pPr>
                      <a:r>
                        <a:rPr sz="600">
                          <a:latin typeface="Nexa Book"/>
                        </a:rPr>
                        <a:t>104%</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18</a:t>
                      </a:r>
                    </a:p>
                  </a:txBody>
                  <a:tcPr marL="2858" marR="2858" marT="2858" marB="0" anchor="ctr">
                    <a:noFill/>
                  </a:tcPr>
                </a:tc>
                <a:tc>
                  <a:txBody>
                    <a:bodyPr/>
                    <a:lstStyle/>
                    <a:p>
                      <a:pPr algn="ctr">
                        <a:defRPr sz="600">
                          <a:latin typeface="Nexa Book"/>
                        </a:defRPr>
                      </a:pPr>
                      <a:r>
                        <a:rPr sz="600">
                          <a:latin typeface="Nexa Book"/>
                        </a:rPr>
                        <a:t>641%</a:t>
                      </a:r>
                    </a:p>
                  </a:txBody>
                  <a:tcPr marL="2858" marR="2858" marT="2858" marB="0" anchor="ctr">
                    <a:noFill/>
                  </a:tcPr>
                </a:tc>
                <a:tc>
                  <a:txBody>
                    <a:bodyPr/>
                    <a:lstStyle/>
                    <a:p>
                      <a:pPr algn="ctr">
                        <a:defRPr sz="600">
                          <a:latin typeface="Nexa Book"/>
                        </a:defRPr>
                      </a:pPr>
                      <a:r>
                        <a:rPr sz="600">
                          <a:latin typeface="Nexa Book"/>
                        </a:rPr>
                        <a:t>4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 C BS 1CT X 750ML</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 41.78</a:t>
                      </a:r>
                    </a:p>
                  </a:txBody>
                  <a:tcPr marL="2858" marR="2858" marT="2858" marB="0" anchor="ctr">
                    <a:noFill/>
                  </a:tcPr>
                </a:tc>
                <a:tc>
                  <a:txBody>
                    <a:bodyPr/>
                    <a:lstStyle/>
                    <a:p>
                      <a:pPr algn="ctr">
                        <a:defRPr sz="600">
                          <a:latin typeface="Nexa Book"/>
                        </a:defRPr>
                      </a:pPr>
                      <a:r>
                        <a:rPr sz="600">
                          <a:latin typeface="Nexa Book"/>
                        </a:rPr>
                        <a:t> 30.00</a:t>
                      </a:r>
                    </a:p>
                  </a:txBody>
                  <a:tcPr marL="2858" marR="2858" marT="2858" marB="0" anchor="ctr">
                    <a:noFill/>
                  </a:tcPr>
                </a:tc>
                <a:tc>
                  <a:txBody>
                    <a:bodyPr/>
                    <a:lstStyle/>
                    <a:p>
                      <a:pPr algn="ctr">
                        <a:defRPr sz="600">
                          <a:latin typeface="Nexa Book"/>
                        </a:defRPr>
                      </a:pPr>
                      <a:r>
                        <a:rPr sz="600">
                          <a:latin typeface="Nexa Book"/>
                        </a:rPr>
                        <a:t>270</a:t>
                      </a:r>
                    </a:p>
                  </a:txBody>
                  <a:tcPr marL="2858" marR="2858" marT="2858" marB="0" anchor="ctr">
                    <a:noFill/>
                  </a:tcPr>
                </a:tc>
                <a:tc>
                  <a:txBody>
                    <a:bodyPr/>
                    <a:lstStyle/>
                    <a:p>
                      <a:pPr algn="ctr">
                        <a:defRPr sz="600">
                          <a:latin typeface="Nexa Book"/>
                        </a:defRPr>
                      </a:pPr>
                      <a:r>
                        <a:rPr sz="600">
                          <a:latin typeface="Nexa Book"/>
                        </a:rPr>
                        <a:t>400%</a:t>
                      </a:r>
                    </a:p>
                  </a:txBody>
                  <a:tcPr marL="2858" marR="2858" marT="2858" marB="0" anchor="ctr">
                    <a:noFill/>
                  </a:tcPr>
                </a:tc>
                <a:tc>
                  <a:txBody>
                    <a:bodyPr/>
                    <a:lstStyle/>
                    <a:p>
                      <a:pPr algn="ctr">
                        <a:defRPr sz="600">
                          <a:latin typeface="Nexa Book"/>
                        </a:defRPr>
                      </a:pPr>
                      <a:r>
                        <a:rPr sz="600">
                          <a:latin typeface="Nexa Book"/>
                        </a:rPr>
                        <a:t>350%</a:t>
                      </a:r>
                    </a:p>
                  </a:txBody>
                  <a:tcPr marL="2858" marR="2858" marT="2858" marB="0" anchor="ctr">
                    <a:noFill/>
                  </a:tcPr>
                </a:tc>
                <a:tc>
                  <a:txBody>
                    <a:bodyPr/>
                    <a:lstStyle/>
                    <a:p>
                      <a:pPr algn="ctr">
                        <a:defRPr sz="600">
                          <a:latin typeface="Nexa Book"/>
                        </a:defRPr>
                      </a:pPr>
                      <a:r>
                        <a:rPr sz="600">
                          <a:latin typeface="Nexa Book"/>
                        </a:rPr>
                        <a:t>328</a:t>
                      </a:r>
                    </a:p>
                  </a:txBody>
                  <a:tcPr marL="2858" marR="2858" marT="2858" marB="0" anchor="ctr">
                    <a:noFill/>
                  </a:tcPr>
                </a:tc>
                <a:tc>
                  <a:txBody>
                    <a:bodyPr/>
                    <a:lstStyle/>
                    <a:p>
                      <a:pPr algn="ctr">
                        <a:defRPr sz="600">
                          <a:latin typeface="Nexa Book"/>
                        </a:defRPr>
                      </a:pPr>
                      <a:r>
                        <a:rPr sz="600">
                          <a:latin typeface="Nexa Book"/>
                        </a:rPr>
                        <a:t>1929%</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Nicolas</a:t>
                      </a:r>
                    </a:p>
                  </a:txBody>
                  <a:tcPr marL="2858" marR="2858" marT="2858" marB="0" anchor="ctr">
                    <a:noFill/>
                  </a:tcPr>
                </a:tc>
                <a:tc>
                  <a:txBody>
                    <a:bodyPr/>
                    <a:lstStyle/>
                    <a:p>
                      <a:pPr algn="l">
                        <a:defRPr sz="600">
                          <a:latin typeface="Nexa Book"/>
                        </a:defRPr>
                      </a:pPr>
                      <a:r>
                        <a:rPr sz="600">
                          <a:latin typeface="Nexa Book"/>
                        </a:rPr>
                        <a:t>CHAMPAGNE NICOLAS ROSE 1ERE CU 1CT X 750ML</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41.54</a:t>
                      </a:r>
                    </a:p>
                  </a:txBody>
                  <a:tcPr marL="2858" marR="2858" marT="2858" marB="0" anchor="ctr">
                    <a:noFill/>
                  </a:tcPr>
                </a:tc>
                <a:tc>
                  <a:txBody>
                    <a:bodyPr/>
                    <a:lstStyle/>
                    <a:p>
                      <a:pPr algn="ctr">
                        <a:defRPr sz="600">
                          <a:latin typeface="Nexa Book"/>
                        </a:defRPr>
                      </a:pPr>
                      <a:r>
                        <a:rPr sz="600">
                          <a:latin typeface="Nexa Book"/>
                        </a:rPr>
                        <a:t> 29.97</a:t>
                      </a:r>
                    </a:p>
                  </a:txBody>
                  <a:tcPr marL="2858" marR="2858" marT="2858" marB="0" anchor="ctr">
                    <a:noFill/>
                  </a:tcPr>
                </a:tc>
                <a:tc>
                  <a:txBody>
                    <a:bodyPr/>
                    <a:lstStyle/>
                    <a:p>
                      <a:pPr algn="ctr">
                        <a:defRPr sz="600">
                          <a:latin typeface="Nexa Book"/>
                        </a:defRPr>
                      </a:pPr>
                      <a:r>
                        <a:rPr sz="600">
                          <a:latin typeface="Nexa Book"/>
                        </a:rPr>
                        <a:t>3'836</a:t>
                      </a:r>
                    </a:p>
                  </a:txBody>
                  <a:tcPr marL="2858" marR="2858" marT="2858" marB="0" anchor="ctr">
                    <a:noFill/>
                  </a:tcPr>
                </a:tc>
                <a:tc>
                  <a:txBody>
                    <a:bodyPr/>
                    <a:lstStyle/>
                    <a:p>
                      <a:pPr algn="ctr">
                        <a:defRPr sz="600">
                          <a:latin typeface="Nexa Book"/>
                        </a:defRPr>
                      </a:pPr>
                      <a:r>
                        <a:rPr sz="600">
                          <a:latin typeface="Nexa Book"/>
                        </a:rPr>
                        <a:t>524%</a:t>
                      </a:r>
                    </a:p>
                  </a:txBody>
                  <a:tcPr marL="2858" marR="2858" marT="2858" marB="0" anchor="ctr">
                    <a:noFill/>
                  </a:tcPr>
                </a:tc>
                <a:tc>
                  <a:txBody>
                    <a:bodyPr/>
                    <a:lstStyle/>
                    <a:p>
                      <a:pPr algn="ctr">
                        <a:defRPr sz="600">
                          <a:latin typeface="Nexa Book"/>
                        </a:defRPr>
                      </a:pPr>
                      <a:r>
                        <a:rPr sz="600">
                          <a:latin typeface="Nexa Book"/>
                        </a:rPr>
                        <a:t>870%</a:t>
                      </a:r>
                    </a:p>
                  </a:txBody>
                  <a:tcPr marL="2858" marR="2858" marT="2858" marB="0" anchor="ctr">
                    <a:noFill/>
                  </a:tcPr>
                </a:tc>
                <a:tc>
                  <a:txBody>
                    <a:bodyPr/>
                    <a:lstStyle/>
                    <a:p>
                      <a:pPr algn="ctr">
                        <a:defRPr sz="600">
                          <a:latin typeface="Nexa Book"/>
                        </a:defRPr>
                      </a:pPr>
                      <a:r>
                        <a:rPr sz="600">
                          <a:latin typeface="Nexa Book"/>
                        </a:rPr>
                        <a:t>3256</a:t>
                      </a:r>
                    </a:p>
                  </a:txBody>
                  <a:tcPr marL="2858" marR="2858" marT="2858" marB="0" anchor="ctr">
                    <a:noFill/>
                  </a:tcPr>
                </a:tc>
                <a:tc>
                  <a:txBody>
                    <a:bodyPr/>
                    <a:lstStyle/>
                    <a:p>
                      <a:pPr algn="ctr">
                        <a:defRPr sz="600">
                          <a:latin typeface="Nexa Book"/>
                        </a:defRPr>
                      </a:pPr>
                      <a:r>
                        <a:rPr sz="600">
                          <a:latin typeface="Nexa Book"/>
                        </a:rPr>
                        <a:t>153%</a:t>
                      </a:r>
                    </a:p>
                  </a:txBody>
                  <a:tcPr marL="2858" marR="2858" marT="2858" marB="0" anchor="ctr">
                    <a:noFill/>
                  </a:tcPr>
                </a:tc>
                <a:tc>
                  <a:txBody>
                    <a:bodyPr/>
                    <a:lstStyle/>
                    <a:p>
                      <a:pPr algn="ctr">
                        <a:defRPr sz="600">
                          <a:latin typeface="Nexa Book"/>
                        </a:defRPr>
                      </a:pPr>
                      <a:r>
                        <a:rPr sz="600">
                          <a:latin typeface="Nexa Book"/>
                        </a:rPr>
                        <a:t>4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36F3077A-6CBA-D472-A259-6BBD6C3925E5}"/>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037797000"/>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8525611"/>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QCN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985057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VCN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5959256"/>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QCA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0520660"/>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CCP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611140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1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ousseux Bourgogne | NICOLAS QCA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926895290"/>
              </p:ext>
            </p:extLst>
          </p:nvPr>
        </p:nvGraphicFramePr>
        <p:xfrm>
          <a:off x="509016" y="1140560"/>
          <a:ext cx="8129015" cy="3591917"/>
        </p:xfrm>
        <a:graphic>
          <a:graphicData uri="http://schemas.openxmlformats.org/drawingml/2006/table">
            <a:tbl>
              <a:tblPr firstRow="1" bandRow="1">
                <a:tableStyleId>{5C22544A-7EE6-4342-B048-85BDC9FD1C3A}</a:tableStyleId>
              </a:tblPr>
              <a:tblGrid>
                <a:gridCol w="1625803">
                  <a:extLst>
                    <a:ext uri="{9D8B030D-6E8A-4147-A177-3AD203B41FA5}">
                      <a16:colId xmlns:a16="http://schemas.microsoft.com/office/drawing/2014/main" val="654108321"/>
                    </a:ext>
                  </a:extLst>
                </a:gridCol>
                <a:gridCol w="1625803">
                  <a:extLst>
                    <a:ext uri="{9D8B030D-6E8A-4147-A177-3AD203B41FA5}">
                      <a16:colId xmlns:a16="http://schemas.microsoft.com/office/drawing/2014/main" val="2577239026"/>
                    </a:ext>
                  </a:extLst>
                </a:gridCol>
                <a:gridCol w="1625803">
                  <a:extLst>
                    <a:ext uri="{9D8B030D-6E8A-4147-A177-3AD203B41FA5}">
                      <a16:colId xmlns:a16="http://schemas.microsoft.com/office/drawing/2014/main" val="1241509968"/>
                    </a:ext>
                  </a:extLst>
                </a:gridCol>
                <a:gridCol w="1625803">
                  <a:extLst>
                    <a:ext uri="{9D8B030D-6E8A-4147-A177-3AD203B41FA5}">
                      <a16:colId xmlns:a16="http://schemas.microsoft.com/office/drawing/2014/main" val="857200868"/>
                    </a:ext>
                  </a:extLst>
                </a:gridCol>
                <a:gridCol w="1625803">
                  <a:extLst>
                    <a:ext uri="{9D8B030D-6E8A-4147-A177-3AD203B41FA5}">
                      <a16:colId xmlns:a16="http://schemas.microsoft.com/office/drawing/2014/main" val="1067236688"/>
                    </a:ext>
                  </a:extLst>
                </a:gridCol>
              </a:tblGrid>
              <a:tr h="352153">
                <a:tc>
                  <a:txBody>
                    <a:bodyPr/>
                    <a:lstStyle/>
                    <a:p>
                      <a:pPr algn="ctr" fontAlgn="b"/>
                      <a:r>
                        <a:rPr lang="en-US" sz="900" b="0" kern="1200" dirty="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Patriarch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7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4199198413"/>
              </p:ext>
            </p:extLst>
          </p:nvPr>
        </p:nvGraphicFramePr>
        <p:xfrm>
          <a:off x="5386455" y="1487345"/>
          <a:ext cx="161225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672525934"/>
              </p:ext>
            </p:extLst>
          </p:nvPr>
        </p:nvGraphicFramePr>
        <p:xfrm>
          <a:off x="7014699" y="1498814"/>
          <a:ext cx="1612256"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7322876"/>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1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NICOLAS AQU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Malard Nicolas</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Effervescent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Champagn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22672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Sophie  ZIMMERMANN</cp:lastModifiedBy>
  <cp:revision>61</cp:revision>
  <dcterms:created xsi:type="dcterms:W3CDTF">2024-07-08T12:46:55Z</dcterms:created>
  <dcterms:modified xsi:type="dcterms:W3CDTF">2025-09-19T06:45:46Z</dcterms:modified>
</cp:coreProperties>
</file>